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Lst>
  <p:notesMasterIdLst>
    <p:notesMasterId r:id="rId22"/>
  </p:notesMasterIdLst>
  <p:sldIdLst>
    <p:sldId id="292" r:id="rId2"/>
    <p:sldId id="288" r:id="rId3"/>
    <p:sldId id="417" r:id="rId4"/>
    <p:sldId id="404" r:id="rId5"/>
    <p:sldId id="405" r:id="rId6"/>
    <p:sldId id="411" r:id="rId7"/>
    <p:sldId id="407" r:id="rId8"/>
    <p:sldId id="418" r:id="rId9"/>
    <p:sldId id="416" r:id="rId10"/>
    <p:sldId id="383" r:id="rId11"/>
    <p:sldId id="414" r:id="rId12"/>
    <p:sldId id="413" r:id="rId13"/>
    <p:sldId id="386" r:id="rId14"/>
    <p:sldId id="410" r:id="rId15"/>
    <p:sldId id="415" r:id="rId16"/>
    <p:sldId id="419" r:id="rId17"/>
    <p:sldId id="390" r:id="rId18"/>
    <p:sldId id="408" r:id="rId19"/>
    <p:sldId id="285" r:id="rId20"/>
    <p:sldId id="336" r:id="rId21"/>
  </p:sldIdLst>
  <p:sldSz cx="9906000" cy="6858000" type="A4"/>
  <p:notesSz cx="6799263" cy="9929813"/>
  <p:defaultTextStyle>
    <a:defPPr>
      <a:defRPr lang="en-GB"/>
    </a:defPPr>
    <a:lvl1pPr algn="l" rtl="0" eaLnBrk="0" fontAlgn="base" hangingPunct="0">
      <a:spcBef>
        <a:spcPct val="0"/>
      </a:spcBef>
      <a:spcAft>
        <a:spcPct val="0"/>
      </a:spcAft>
      <a:defRPr kern="1200">
        <a:solidFill>
          <a:schemeClr val="tx1"/>
        </a:solidFill>
        <a:latin typeface="Frutiger"/>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Frutiger"/>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Frutiger"/>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Frutiger"/>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Frutiger"/>
        <a:ea typeface="+mn-ea"/>
        <a:cs typeface="Arial" panose="020B0604020202020204" pitchFamily="34" charset="0"/>
      </a:defRPr>
    </a:lvl5pPr>
    <a:lvl6pPr marL="2286000" algn="l" defTabSz="914400" rtl="0" eaLnBrk="1" latinLnBrk="0" hangingPunct="1">
      <a:defRPr kern="1200">
        <a:solidFill>
          <a:schemeClr val="tx1"/>
        </a:solidFill>
        <a:latin typeface="Frutiger"/>
        <a:ea typeface="+mn-ea"/>
        <a:cs typeface="Arial" panose="020B0604020202020204" pitchFamily="34" charset="0"/>
      </a:defRPr>
    </a:lvl6pPr>
    <a:lvl7pPr marL="2743200" algn="l" defTabSz="914400" rtl="0" eaLnBrk="1" latinLnBrk="0" hangingPunct="1">
      <a:defRPr kern="1200">
        <a:solidFill>
          <a:schemeClr val="tx1"/>
        </a:solidFill>
        <a:latin typeface="Frutiger"/>
        <a:ea typeface="+mn-ea"/>
        <a:cs typeface="Arial" panose="020B0604020202020204" pitchFamily="34" charset="0"/>
      </a:defRPr>
    </a:lvl7pPr>
    <a:lvl8pPr marL="3200400" algn="l" defTabSz="914400" rtl="0" eaLnBrk="1" latinLnBrk="0" hangingPunct="1">
      <a:defRPr kern="1200">
        <a:solidFill>
          <a:schemeClr val="tx1"/>
        </a:solidFill>
        <a:latin typeface="Frutiger"/>
        <a:ea typeface="+mn-ea"/>
        <a:cs typeface="Arial" panose="020B0604020202020204" pitchFamily="34" charset="0"/>
      </a:defRPr>
    </a:lvl8pPr>
    <a:lvl9pPr marL="3657600" algn="l" defTabSz="914400" rtl="0" eaLnBrk="1" latinLnBrk="0" hangingPunct="1">
      <a:defRPr kern="1200">
        <a:solidFill>
          <a:schemeClr val="tx1"/>
        </a:solidFill>
        <a:latin typeface="Frutiger"/>
        <a:ea typeface="+mn-ea"/>
        <a:cs typeface="Arial" panose="020B0604020202020204" pitchFamily="34" charset="0"/>
      </a:defRPr>
    </a:lvl9pPr>
  </p:defaultTextStyle>
  <p:extLst>
    <p:ext uri="{EFAFB233-063F-42B5-8137-9DF3F51BA10A}">
      <p15:sldGuideLst xmlns:p15="http://schemas.microsoft.com/office/powerpoint/2012/main">
        <p15:guide id="1" orient="horz" pos="2160">
          <p15:clr>
            <a:srgbClr val="A4A3A4"/>
          </p15:clr>
        </p15:guide>
        <p15:guide id="2" orient="horz" pos="73">
          <p15:clr>
            <a:srgbClr val="A4A3A4"/>
          </p15:clr>
        </p15:guide>
        <p15:guide id="3" orient="horz" pos="3884">
          <p15:clr>
            <a:srgbClr val="A4A3A4"/>
          </p15:clr>
        </p15:guide>
        <p15:guide id="4" pos="3120">
          <p15:clr>
            <a:srgbClr val="A4A3A4"/>
          </p15:clr>
        </p15:guide>
        <p15:guide id="5" pos="436">
          <p15:clr>
            <a:srgbClr val="A4A3A4"/>
          </p15:clr>
        </p15:guide>
        <p15:guide id="6" pos="5093">
          <p15:clr>
            <a:srgbClr val="A4A3A4"/>
          </p15:clr>
        </p15:guide>
        <p15:guide id="7" pos="6227">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DD04A"/>
    <a:srgbClr val="1A647B"/>
    <a:srgbClr val="ABC111"/>
    <a:srgbClr val="9E3667"/>
    <a:srgbClr val="E59D27"/>
    <a:srgbClr val="1BB3BC"/>
    <a:srgbClr val="0080AA"/>
    <a:srgbClr val="7BB9C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94680" autoAdjust="0"/>
  </p:normalViewPr>
  <p:slideViewPr>
    <p:cSldViewPr snapToGrid="0">
      <p:cViewPr varScale="1">
        <p:scale>
          <a:sx n="110" d="100"/>
          <a:sy n="110" d="100"/>
        </p:scale>
        <p:origin x="570" y="108"/>
      </p:cViewPr>
      <p:guideLst>
        <p:guide orient="horz" pos="2160"/>
        <p:guide orient="horz" pos="73"/>
        <p:guide orient="horz" pos="3884"/>
        <p:guide pos="3120"/>
        <p:guide pos="436"/>
        <p:guide pos="5093"/>
        <p:guide pos="6227"/>
      </p:guideLst>
    </p:cSldViewPr>
  </p:slideViewPr>
  <p:notesTextViewPr>
    <p:cViewPr>
      <p:scale>
        <a:sx n="3" d="2"/>
        <a:sy n="3" d="2"/>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oleObject" Target="Book2"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Book2"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Book2"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C:\Users\t690395\AppData\Local\Microsoft\Windows\INetCache\Content.Outlook\PU52ZXKO\Bndes%20vs%20Mercado%20de%20Capitais.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file:///\\bsbrsp86\ASSET_MESA_RV\Bndes%20vs%20Mercado%20de%20Capitais.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file:///\\bsbrsp86\ASSET_MESA_RV\Lucas\Retail%20Data.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file:///\\bsbrsp86\ASSET_MESA_RV\Lucas\Retail%20Data.xlsx"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file:///\\bsbrsp86\ASSET_MESA_RV\Fabricio\Apresentacoes%20de%20fund\Selecao%20Top.xlsx" TargetMode="External"/><Relationship Id="rId2" Type="http://schemas.microsoft.com/office/2011/relationships/chartColorStyle" Target="colors8.xml"/><Relationship Id="rId1" Type="http://schemas.microsoft.com/office/2011/relationships/chartStyle" Target="style8.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spPr>
            <a:ln w="28575" cap="rnd">
              <a:solidFill>
                <a:schemeClr val="accent1"/>
              </a:solidFill>
              <a:round/>
            </a:ln>
            <a:effectLst/>
          </c:spPr>
          <c:marker>
            <c:symbol val="none"/>
          </c:marker>
          <c:cat>
            <c:numRef>
              <c:f>Sheet1!$A$7:$A$1437</c:f>
              <c:numCache>
                <c:formatCode>m/d/yyyy</c:formatCode>
                <c:ptCount val="1431"/>
                <c:pt idx="0">
                  <c:v>41640</c:v>
                </c:pt>
                <c:pt idx="1">
                  <c:v>41641</c:v>
                </c:pt>
                <c:pt idx="2">
                  <c:v>41642</c:v>
                </c:pt>
                <c:pt idx="3">
                  <c:v>41645</c:v>
                </c:pt>
                <c:pt idx="4">
                  <c:v>41646</c:v>
                </c:pt>
                <c:pt idx="5">
                  <c:v>41647</c:v>
                </c:pt>
                <c:pt idx="6">
                  <c:v>41648</c:v>
                </c:pt>
                <c:pt idx="7">
                  <c:v>41649</c:v>
                </c:pt>
                <c:pt idx="8">
                  <c:v>41652</c:v>
                </c:pt>
                <c:pt idx="9">
                  <c:v>41653</c:v>
                </c:pt>
                <c:pt idx="10">
                  <c:v>41654</c:v>
                </c:pt>
                <c:pt idx="11">
                  <c:v>41655</c:v>
                </c:pt>
                <c:pt idx="12">
                  <c:v>41656</c:v>
                </c:pt>
                <c:pt idx="13">
                  <c:v>41659</c:v>
                </c:pt>
                <c:pt idx="14">
                  <c:v>41660</c:v>
                </c:pt>
                <c:pt idx="15">
                  <c:v>41661</c:v>
                </c:pt>
                <c:pt idx="16">
                  <c:v>41662</c:v>
                </c:pt>
                <c:pt idx="17">
                  <c:v>41663</c:v>
                </c:pt>
                <c:pt idx="18">
                  <c:v>41666</c:v>
                </c:pt>
                <c:pt idx="19">
                  <c:v>41667</c:v>
                </c:pt>
                <c:pt idx="20">
                  <c:v>41668</c:v>
                </c:pt>
                <c:pt idx="21">
                  <c:v>41669</c:v>
                </c:pt>
                <c:pt idx="22">
                  <c:v>41670</c:v>
                </c:pt>
                <c:pt idx="23">
                  <c:v>41673</c:v>
                </c:pt>
                <c:pt idx="24">
                  <c:v>41674</c:v>
                </c:pt>
                <c:pt idx="25">
                  <c:v>41675</c:v>
                </c:pt>
                <c:pt idx="26">
                  <c:v>41676</c:v>
                </c:pt>
                <c:pt idx="27">
                  <c:v>41677</c:v>
                </c:pt>
                <c:pt idx="28">
                  <c:v>41680</c:v>
                </c:pt>
                <c:pt idx="29">
                  <c:v>41681</c:v>
                </c:pt>
                <c:pt idx="30">
                  <c:v>41682</c:v>
                </c:pt>
                <c:pt idx="31">
                  <c:v>41683</c:v>
                </c:pt>
                <c:pt idx="32">
                  <c:v>41684</c:v>
                </c:pt>
                <c:pt idx="33">
                  <c:v>41687</c:v>
                </c:pt>
                <c:pt idx="34">
                  <c:v>41688</c:v>
                </c:pt>
                <c:pt idx="35">
                  <c:v>41689</c:v>
                </c:pt>
                <c:pt idx="36">
                  <c:v>41690</c:v>
                </c:pt>
                <c:pt idx="37">
                  <c:v>41691</c:v>
                </c:pt>
                <c:pt idx="38">
                  <c:v>41694</c:v>
                </c:pt>
                <c:pt idx="39">
                  <c:v>41695</c:v>
                </c:pt>
                <c:pt idx="40">
                  <c:v>41696</c:v>
                </c:pt>
                <c:pt idx="41">
                  <c:v>41697</c:v>
                </c:pt>
                <c:pt idx="42">
                  <c:v>41698</c:v>
                </c:pt>
                <c:pt idx="43">
                  <c:v>41701</c:v>
                </c:pt>
                <c:pt idx="44">
                  <c:v>41702</c:v>
                </c:pt>
                <c:pt idx="45">
                  <c:v>41703</c:v>
                </c:pt>
                <c:pt idx="46">
                  <c:v>41704</c:v>
                </c:pt>
                <c:pt idx="47">
                  <c:v>41705</c:v>
                </c:pt>
                <c:pt idx="48">
                  <c:v>41708</c:v>
                </c:pt>
                <c:pt idx="49">
                  <c:v>41709</c:v>
                </c:pt>
                <c:pt idx="50">
                  <c:v>41710</c:v>
                </c:pt>
                <c:pt idx="51">
                  <c:v>41711</c:v>
                </c:pt>
                <c:pt idx="52">
                  <c:v>41712</c:v>
                </c:pt>
                <c:pt idx="53">
                  <c:v>41715</c:v>
                </c:pt>
                <c:pt idx="54">
                  <c:v>41716</c:v>
                </c:pt>
                <c:pt idx="55">
                  <c:v>41717</c:v>
                </c:pt>
                <c:pt idx="56">
                  <c:v>41718</c:v>
                </c:pt>
                <c:pt idx="57">
                  <c:v>41719</c:v>
                </c:pt>
                <c:pt idx="58">
                  <c:v>41722</c:v>
                </c:pt>
                <c:pt idx="59">
                  <c:v>41723</c:v>
                </c:pt>
                <c:pt idx="60">
                  <c:v>41724</c:v>
                </c:pt>
                <c:pt idx="61">
                  <c:v>41725</c:v>
                </c:pt>
                <c:pt idx="62">
                  <c:v>41726</c:v>
                </c:pt>
                <c:pt idx="63">
                  <c:v>41729</c:v>
                </c:pt>
                <c:pt idx="64">
                  <c:v>41730</c:v>
                </c:pt>
                <c:pt idx="65">
                  <c:v>41731</c:v>
                </c:pt>
                <c:pt idx="66">
                  <c:v>41732</c:v>
                </c:pt>
                <c:pt idx="67">
                  <c:v>41733</c:v>
                </c:pt>
                <c:pt idx="68">
                  <c:v>41736</c:v>
                </c:pt>
                <c:pt idx="69">
                  <c:v>41737</c:v>
                </c:pt>
                <c:pt idx="70">
                  <c:v>41738</c:v>
                </c:pt>
                <c:pt idx="71">
                  <c:v>41739</c:v>
                </c:pt>
                <c:pt idx="72">
                  <c:v>41740</c:v>
                </c:pt>
                <c:pt idx="73">
                  <c:v>41743</c:v>
                </c:pt>
                <c:pt idx="74">
                  <c:v>41744</c:v>
                </c:pt>
                <c:pt idx="75">
                  <c:v>41745</c:v>
                </c:pt>
                <c:pt idx="76">
                  <c:v>41746</c:v>
                </c:pt>
                <c:pt idx="77">
                  <c:v>41747</c:v>
                </c:pt>
                <c:pt idx="78">
                  <c:v>41750</c:v>
                </c:pt>
                <c:pt idx="79">
                  <c:v>41751</c:v>
                </c:pt>
                <c:pt idx="80">
                  <c:v>41752</c:v>
                </c:pt>
                <c:pt idx="81">
                  <c:v>41753</c:v>
                </c:pt>
                <c:pt idx="82">
                  <c:v>41754</c:v>
                </c:pt>
                <c:pt idx="83">
                  <c:v>41757</c:v>
                </c:pt>
                <c:pt idx="84">
                  <c:v>41758</c:v>
                </c:pt>
                <c:pt idx="85">
                  <c:v>41759</c:v>
                </c:pt>
                <c:pt idx="86">
                  <c:v>41760</c:v>
                </c:pt>
                <c:pt idx="87">
                  <c:v>41761</c:v>
                </c:pt>
                <c:pt idx="88">
                  <c:v>41764</c:v>
                </c:pt>
                <c:pt idx="89">
                  <c:v>41765</c:v>
                </c:pt>
                <c:pt idx="90">
                  <c:v>41766</c:v>
                </c:pt>
                <c:pt idx="91">
                  <c:v>41767</c:v>
                </c:pt>
                <c:pt idx="92">
                  <c:v>41768</c:v>
                </c:pt>
                <c:pt idx="93">
                  <c:v>41771</c:v>
                </c:pt>
                <c:pt idx="94">
                  <c:v>41772</c:v>
                </c:pt>
                <c:pt idx="95">
                  <c:v>41773</c:v>
                </c:pt>
                <c:pt idx="96">
                  <c:v>41774</c:v>
                </c:pt>
                <c:pt idx="97">
                  <c:v>41775</c:v>
                </c:pt>
                <c:pt idx="98">
                  <c:v>41778</c:v>
                </c:pt>
                <c:pt idx="99">
                  <c:v>41779</c:v>
                </c:pt>
                <c:pt idx="100">
                  <c:v>41780</c:v>
                </c:pt>
                <c:pt idx="101">
                  <c:v>41781</c:v>
                </c:pt>
                <c:pt idx="102">
                  <c:v>41782</c:v>
                </c:pt>
                <c:pt idx="103">
                  <c:v>41785</c:v>
                </c:pt>
                <c:pt idx="104">
                  <c:v>41786</c:v>
                </c:pt>
                <c:pt idx="105">
                  <c:v>41787</c:v>
                </c:pt>
                <c:pt idx="106">
                  <c:v>41788</c:v>
                </c:pt>
                <c:pt idx="107">
                  <c:v>41789</c:v>
                </c:pt>
                <c:pt idx="108">
                  <c:v>41792</c:v>
                </c:pt>
                <c:pt idx="109">
                  <c:v>41793</c:v>
                </c:pt>
                <c:pt idx="110">
                  <c:v>41794</c:v>
                </c:pt>
                <c:pt idx="111">
                  <c:v>41795</c:v>
                </c:pt>
                <c:pt idx="112">
                  <c:v>41796</c:v>
                </c:pt>
                <c:pt idx="113">
                  <c:v>41799</c:v>
                </c:pt>
                <c:pt idx="114">
                  <c:v>41800</c:v>
                </c:pt>
                <c:pt idx="115">
                  <c:v>41801</c:v>
                </c:pt>
                <c:pt idx="116">
                  <c:v>41802</c:v>
                </c:pt>
                <c:pt idx="117">
                  <c:v>41803</c:v>
                </c:pt>
                <c:pt idx="118">
                  <c:v>41806</c:v>
                </c:pt>
                <c:pt idx="119">
                  <c:v>41807</c:v>
                </c:pt>
                <c:pt idx="120">
                  <c:v>41808</c:v>
                </c:pt>
                <c:pt idx="121">
                  <c:v>41809</c:v>
                </c:pt>
                <c:pt idx="122">
                  <c:v>41810</c:v>
                </c:pt>
                <c:pt idx="123">
                  <c:v>41813</c:v>
                </c:pt>
                <c:pt idx="124">
                  <c:v>41814</c:v>
                </c:pt>
                <c:pt idx="125">
                  <c:v>41815</c:v>
                </c:pt>
                <c:pt idx="126">
                  <c:v>41816</c:v>
                </c:pt>
                <c:pt idx="127">
                  <c:v>41817</c:v>
                </c:pt>
                <c:pt idx="128">
                  <c:v>41820</c:v>
                </c:pt>
                <c:pt idx="129">
                  <c:v>41821</c:v>
                </c:pt>
                <c:pt idx="130">
                  <c:v>41822</c:v>
                </c:pt>
                <c:pt idx="131">
                  <c:v>41823</c:v>
                </c:pt>
                <c:pt idx="132">
                  <c:v>41824</c:v>
                </c:pt>
                <c:pt idx="133">
                  <c:v>41827</c:v>
                </c:pt>
                <c:pt idx="134">
                  <c:v>41828</c:v>
                </c:pt>
                <c:pt idx="135">
                  <c:v>41829</c:v>
                </c:pt>
                <c:pt idx="136">
                  <c:v>41830</c:v>
                </c:pt>
                <c:pt idx="137">
                  <c:v>41831</c:v>
                </c:pt>
                <c:pt idx="138">
                  <c:v>41834</c:v>
                </c:pt>
                <c:pt idx="139">
                  <c:v>41835</c:v>
                </c:pt>
                <c:pt idx="140">
                  <c:v>41836</c:v>
                </c:pt>
                <c:pt idx="141">
                  <c:v>41837</c:v>
                </c:pt>
                <c:pt idx="142">
                  <c:v>41838</c:v>
                </c:pt>
                <c:pt idx="143">
                  <c:v>41841</c:v>
                </c:pt>
                <c:pt idx="144">
                  <c:v>41842</c:v>
                </c:pt>
                <c:pt idx="145">
                  <c:v>41843</c:v>
                </c:pt>
                <c:pt idx="146">
                  <c:v>41844</c:v>
                </c:pt>
                <c:pt idx="147">
                  <c:v>41845</c:v>
                </c:pt>
                <c:pt idx="148">
                  <c:v>41848</c:v>
                </c:pt>
                <c:pt idx="149">
                  <c:v>41849</c:v>
                </c:pt>
                <c:pt idx="150">
                  <c:v>41850</c:v>
                </c:pt>
                <c:pt idx="151">
                  <c:v>41851</c:v>
                </c:pt>
                <c:pt idx="152">
                  <c:v>41852</c:v>
                </c:pt>
                <c:pt idx="153">
                  <c:v>41855</c:v>
                </c:pt>
                <c:pt idx="154">
                  <c:v>41856</c:v>
                </c:pt>
                <c:pt idx="155">
                  <c:v>41857</c:v>
                </c:pt>
                <c:pt idx="156">
                  <c:v>41858</c:v>
                </c:pt>
                <c:pt idx="157">
                  <c:v>41859</c:v>
                </c:pt>
                <c:pt idx="158">
                  <c:v>41862</c:v>
                </c:pt>
                <c:pt idx="159">
                  <c:v>41863</c:v>
                </c:pt>
                <c:pt idx="160">
                  <c:v>41864</c:v>
                </c:pt>
                <c:pt idx="161">
                  <c:v>41865</c:v>
                </c:pt>
                <c:pt idx="162">
                  <c:v>41866</c:v>
                </c:pt>
                <c:pt idx="163">
                  <c:v>41869</c:v>
                </c:pt>
                <c:pt idx="164">
                  <c:v>41870</c:v>
                </c:pt>
                <c:pt idx="165">
                  <c:v>41871</c:v>
                </c:pt>
                <c:pt idx="166">
                  <c:v>41872</c:v>
                </c:pt>
                <c:pt idx="167">
                  <c:v>41873</c:v>
                </c:pt>
                <c:pt idx="168">
                  <c:v>41876</c:v>
                </c:pt>
                <c:pt idx="169">
                  <c:v>41877</c:v>
                </c:pt>
                <c:pt idx="170">
                  <c:v>41878</c:v>
                </c:pt>
                <c:pt idx="171">
                  <c:v>41879</c:v>
                </c:pt>
                <c:pt idx="172">
                  <c:v>41880</c:v>
                </c:pt>
                <c:pt idx="173">
                  <c:v>41883</c:v>
                </c:pt>
                <c:pt idx="174">
                  <c:v>41884</c:v>
                </c:pt>
                <c:pt idx="175">
                  <c:v>41885</c:v>
                </c:pt>
                <c:pt idx="176">
                  <c:v>41886</c:v>
                </c:pt>
                <c:pt idx="177">
                  <c:v>41887</c:v>
                </c:pt>
                <c:pt idx="178">
                  <c:v>41890</c:v>
                </c:pt>
                <c:pt idx="179">
                  <c:v>41891</c:v>
                </c:pt>
                <c:pt idx="180">
                  <c:v>41892</c:v>
                </c:pt>
                <c:pt idx="181">
                  <c:v>41893</c:v>
                </c:pt>
                <c:pt idx="182">
                  <c:v>41894</c:v>
                </c:pt>
                <c:pt idx="183">
                  <c:v>41897</c:v>
                </c:pt>
                <c:pt idx="184">
                  <c:v>41898</c:v>
                </c:pt>
                <c:pt idx="185">
                  <c:v>41899</c:v>
                </c:pt>
                <c:pt idx="186">
                  <c:v>41900</c:v>
                </c:pt>
                <c:pt idx="187">
                  <c:v>41901</c:v>
                </c:pt>
                <c:pt idx="188">
                  <c:v>41904</c:v>
                </c:pt>
                <c:pt idx="189">
                  <c:v>41905</c:v>
                </c:pt>
                <c:pt idx="190">
                  <c:v>41906</c:v>
                </c:pt>
                <c:pt idx="191">
                  <c:v>41907</c:v>
                </c:pt>
                <c:pt idx="192">
                  <c:v>41908</c:v>
                </c:pt>
                <c:pt idx="193">
                  <c:v>41911</c:v>
                </c:pt>
                <c:pt idx="194">
                  <c:v>41912</c:v>
                </c:pt>
                <c:pt idx="195">
                  <c:v>41913</c:v>
                </c:pt>
                <c:pt idx="196">
                  <c:v>41914</c:v>
                </c:pt>
                <c:pt idx="197">
                  <c:v>41915</c:v>
                </c:pt>
                <c:pt idx="198">
                  <c:v>41918</c:v>
                </c:pt>
                <c:pt idx="199">
                  <c:v>41919</c:v>
                </c:pt>
                <c:pt idx="200">
                  <c:v>41920</c:v>
                </c:pt>
                <c:pt idx="201">
                  <c:v>41921</c:v>
                </c:pt>
                <c:pt idx="202">
                  <c:v>41922</c:v>
                </c:pt>
                <c:pt idx="203">
                  <c:v>41925</c:v>
                </c:pt>
                <c:pt idx="204">
                  <c:v>41926</c:v>
                </c:pt>
                <c:pt idx="205">
                  <c:v>41927</c:v>
                </c:pt>
                <c:pt idx="206">
                  <c:v>41928</c:v>
                </c:pt>
                <c:pt idx="207">
                  <c:v>41929</c:v>
                </c:pt>
                <c:pt idx="208">
                  <c:v>41932</c:v>
                </c:pt>
                <c:pt idx="209">
                  <c:v>41933</c:v>
                </c:pt>
                <c:pt idx="210">
                  <c:v>41934</c:v>
                </c:pt>
                <c:pt idx="211">
                  <c:v>41935</c:v>
                </c:pt>
                <c:pt idx="212">
                  <c:v>41936</c:v>
                </c:pt>
                <c:pt idx="213">
                  <c:v>41939</c:v>
                </c:pt>
                <c:pt idx="214">
                  <c:v>41940</c:v>
                </c:pt>
                <c:pt idx="215">
                  <c:v>41941</c:v>
                </c:pt>
                <c:pt idx="216">
                  <c:v>41942</c:v>
                </c:pt>
                <c:pt idx="217">
                  <c:v>41943</c:v>
                </c:pt>
                <c:pt idx="218">
                  <c:v>41946</c:v>
                </c:pt>
                <c:pt idx="219">
                  <c:v>41947</c:v>
                </c:pt>
                <c:pt idx="220">
                  <c:v>41948</c:v>
                </c:pt>
                <c:pt idx="221">
                  <c:v>41949</c:v>
                </c:pt>
                <c:pt idx="222">
                  <c:v>41950</c:v>
                </c:pt>
                <c:pt idx="223">
                  <c:v>41953</c:v>
                </c:pt>
                <c:pt idx="224">
                  <c:v>41954</c:v>
                </c:pt>
                <c:pt idx="225">
                  <c:v>41955</c:v>
                </c:pt>
                <c:pt idx="226">
                  <c:v>41956</c:v>
                </c:pt>
                <c:pt idx="227">
                  <c:v>41957</c:v>
                </c:pt>
                <c:pt idx="228">
                  <c:v>41960</c:v>
                </c:pt>
                <c:pt idx="229">
                  <c:v>41961</c:v>
                </c:pt>
                <c:pt idx="230">
                  <c:v>41962</c:v>
                </c:pt>
                <c:pt idx="231">
                  <c:v>41963</c:v>
                </c:pt>
                <c:pt idx="232">
                  <c:v>41964</c:v>
                </c:pt>
                <c:pt idx="233">
                  <c:v>41967</c:v>
                </c:pt>
                <c:pt idx="234">
                  <c:v>41968</c:v>
                </c:pt>
                <c:pt idx="235">
                  <c:v>41969</c:v>
                </c:pt>
                <c:pt idx="236">
                  <c:v>41970</c:v>
                </c:pt>
                <c:pt idx="237">
                  <c:v>41971</c:v>
                </c:pt>
                <c:pt idx="238">
                  <c:v>41974</c:v>
                </c:pt>
                <c:pt idx="239">
                  <c:v>41975</c:v>
                </c:pt>
                <c:pt idx="240">
                  <c:v>41976</c:v>
                </c:pt>
                <c:pt idx="241">
                  <c:v>41977</c:v>
                </c:pt>
                <c:pt idx="242">
                  <c:v>41978</c:v>
                </c:pt>
                <c:pt idx="243">
                  <c:v>41981</c:v>
                </c:pt>
                <c:pt idx="244">
                  <c:v>41982</c:v>
                </c:pt>
                <c:pt idx="245">
                  <c:v>41983</c:v>
                </c:pt>
                <c:pt idx="246">
                  <c:v>41984</c:v>
                </c:pt>
                <c:pt idx="247">
                  <c:v>41985</c:v>
                </c:pt>
                <c:pt idx="248">
                  <c:v>41988</c:v>
                </c:pt>
                <c:pt idx="249">
                  <c:v>41989</c:v>
                </c:pt>
                <c:pt idx="250">
                  <c:v>41990</c:v>
                </c:pt>
                <c:pt idx="251">
                  <c:v>41991</c:v>
                </c:pt>
                <c:pt idx="252">
                  <c:v>41992</c:v>
                </c:pt>
                <c:pt idx="253">
                  <c:v>41995</c:v>
                </c:pt>
                <c:pt idx="254">
                  <c:v>41996</c:v>
                </c:pt>
                <c:pt idx="255">
                  <c:v>41997</c:v>
                </c:pt>
                <c:pt idx="256">
                  <c:v>41998</c:v>
                </c:pt>
                <c:pt idx="257">
                  <c:v>41999</c:v>
                </c:pt>
                <c:pt idx="258">
                  <c:v>42002</c:v>
                </c:pt>
                <c:pt idx="259">
                  <c:v>42003</c:v>
                </c:pt>
                <c:pt idx="260">
                  <c:v>42004</c:v>
                </c:pt>
                <c:pt idx="261">
                  <c:v>42005</c:v>
                </c:pt>
                <c:pt idx="262">
                  <c:v>42006</c:v>
                </c:pt>
                <c:pt idx="263">
                  <c:v>42009</c:v>
                </c:pt>
                <c:pt idx="264">
                  <c:v>42010</c:v>
                </c:pt>
                <c:pt idx="265">
                  <c:v>42011</c:v>
                </c:pt>
                <c:pt idx="266">
                  <c:v>42012</c:v>
                </c:pt>
                <c:pt idx="267">
                  <c:v>42013</c:v>
                </c:pt>
                <c:pt idx="268">
                  <c:v>42016</c:v>
                </c:pt>
                <c:pt idx="269">
                  <c:v>42017</c:v>
                </c:pt>
                <c:pt idx="270">
                  <c:v>42018</c:v>
                </c:pt>
                <c:pt idx="271">
                  <c:v>42019</c:v>
                </c:pt>
                <c:pt idx="272">
                  <c:v>42020</c:v>
                </c:pt>
                <c:pt idx="273">
                  <c:v>42023</c:v>
                </c:pt>
                <c:pt idx="274">
                  <c:v>42024</c:v>
                </c:pt>
                <c:pt idx="275">
                  <c:v>42025</c:v>
                </c:pt>
                <c:pt idx="276">
                  <c:v>42026</c:v>
                </c:pt>
                <c:pt idx="277">
                  <c:v>42027</c:v>
                </c:pt>
                <c:pt idx="278">
                  <c:v>42030</c:v>
                </c:pt>
                <c:pt idx="279">
                  <c:v>42031</c:v>
                </c:pt>
                <c:pt idx="280">
                  <c:v>42032</c:v>
                </c:pt>
                <c:pt idx="281">
                  <c:v>42033</c:v>
                </c:pt>
                <c:pt idx="282">
                  <c:v>42034</c:v>
                </c:pt>
                <c:pt idx="283">
                  <c:v>42037</c:v>
                </c:pt>
                <c:pt idx="284">
                  <c:v>42038</c:v>
                </c:pt>
                <c:pt idx="285">
                  <c:v>42039</c:v>
                </c:pt>
                <c:pt idx="286">
                  <c:v>42040</c:v>
                </c:pt>
                <c:pt idx="287">
                  <c:v>42041</c:v>
                </c:pt>
                <c:pt idx="288">
                  <c:v>42044</c:v>
                </c:pt>
                <c:pt idx="289">
                  <c:v>42045</c:v>
                </c:pt>
                <c:pt idx="290">
                  <c:v>42046</c:v>
                </c:pt>
                <c:pt idx="291">
                  <c:v>42047</c:v>
                </c:pt>
                <c:pt idx="292">
                  <c:v>42048</c:v>
                </c:pt>
                <c:pt idx="293">
                  <c:v>42051</c:v>
                </c:pt>
                <c:pt idx="294">
                  <c:v>42052</c:v>
                </c:pt>
                <c:pt idx="295">
                  <c:v>42053</c:v>
                </c:pt>
                <c:pt idx="296">
                  <c:v>42054</c:v>
                </c:pt>
                <c:pt idx="297">
                  <c:v>42055</c:v>
                </c:pt>
                <c:pt idx="298">
                  <c:v>42058</c:v>
                </c:pt>
                <c:pt idx="299">
                  <c:v>42059</c:v>
                </c:pt>
                <c:pt idx="300">
                  <c:v>42060</c:v>
                </c:pt>
                <c:pt idx="301">
                  <c:v>42061</c:v>
                </c:pt>
                <c:pt idx="302">
                  <c:v>42062</c:v>
                </c:pt>
                <c:pt idx="303">
                  <c:v>42065</c:v>
                </c:pt>
                <c:pt idx="304">
                  <c:v>42066</c:v>
                </c:pt>
                <c:pt idx="305">
                  <c:v>42067</c:v>
                </c:pt>
                <c:pt idx="306">
                  <c:v>42068</c:v>
                </c:pt>
                <c:pt idx="307">
                  <c:v>42069</c:v>
                </c:pt>
                <c:pt idx="308">
                  <c:v>42072</c:v>
                </c:pt>
                <c:pt idx="309">
                  <c:v>42073</c:v>
                </c:pt>
                <c:pt idx="310">
                  <c:v>42074</c:v>
                </c:pt>
                <c:pt idx="311">
                  <c:v>42075</c:v>
                </c:pt>
                <c:pt idx="312">
                  <c:v>42076</c:v>
                </c:pt>
                <c:pt idx="313">
                  <c:v>42079</c:v>
                </c:pt>
                <c:pt idx="314">
                  <c:v>42080</c:v>
                </c:pt>
                <c:pt idx="315">
                  <c:v>42081</c:v>
                </c:pt>
                <c:pt idx="316">
                  <c:v>42082</c:v>
                </c:pt>
                <c:pt idx="317">
                  <c:v>42083</c:v>
                </c:pt>
                <c:pt idx="318">
                  <c:v>42086</c:v>
                </c:pt>
                <c:pt idx="319">
                  <c:v>42087</c:v>
                </c:pt>
                <c:pt idx="320">
                  <c:v>42088</c:v>
                </c:pt>
                <c:pt idx="321">
                  <c:v>42089</c:v>
                </c:pt>
                <c:pt idx="322">
                  <c:v>42090</c:v>
                </c:pt>
                <c:pt idx="323">
                  <c:v>42093</c:v>
                </c:pt>
                <c:pt idx="324">
                  <c:v>42094</c:v>
                </c:pt>
                <c:pt idx="325">
                  <c:v>42095</c:v>
                </c:pt>
                <c:pt idx="326">
                  <c:v>42096</c:v>
                </c:pt>
                <c:pt idx="327">
                  <c:v>42097</c:v>
                </c:pt>
                <c:pt idx="328">
                  <c:v>42100</c:v>
                </c:pt>
                <c:pt idx="329">
                  <c:v>42101</c:v>
                </c:pt>
                <c:pt idx="330">
                  <c:v>42102</c:v>
                </c:pt>
                <c:pt idx="331">
                  <c:v>42103</c:v>
                </c:pt>
                <c:pt idx="332">
                  <c:v>42104</c:v>
                </c:pt>
                <c:pt idx="333">
                  <c:v>42107</c:v>
                </c:pt>
                <c:pt idx="334">
                  <c:v>42108</c:v>
                </c:pt>
                <c:pt idx="335">
                  <c:v>42109</c:v>
                </c:pt>
                <c:pt idx="336">
                  <c:v>42110</c:v>
                </c:pt>
                <c:pt idx="337">
                  <c:v>42111</c:v>
                </c:pt>
                <c:pt idx="338">
                  <c:v>42114</c:v>
                </c:pt>
                <c:pt idx="339">
                  <c:v>42115</c:v>
                </c:pt>
                <c:pt idx="340">
                  <c:v>42116</c:v>
                </c:pt>
                <c:pt idx="341">
                  <c:v>42117</c:v>
                </c:pt>
                <c:pt idx="342">
                  <c:v>42118</c:v>
                </c:pt>
                <c:pt idx="343">
                  <c:v>42121</c:v>
                </c:pt>
                <c:pt idx="344">
                  <c:v>42122</c:v>
                </c:pt>
                <c:pt idx="345">
                  <c:v>42123</c:v>
                </c:pt>
                <c:pt idx="346">
                  <c:v>42124</c:v>
                </c:pt>
                <c:pt idx="347">
                  <c:v>42125</c:v>
                </c:pt>
                <c:pt idx="348">
                  <c:v>42128</c:v>
                </c:pt>
                <c:pt idx="349">
                  <c:v>42129</c:v>
                </c:pt>
                <c:pt idx="350">
                  <c:v>42130</c:v>
                </c:pt>
                <c:pt idx="351">
                  <c:v>42131</c:v>
                </c:pt>
                <c:pt idx="352">
                  <c:v>42132</c:v>
                </c:pt>
                <c:pt idx="353">
                  <c:v>42135</c:v>
                </c:pt>
                <c:pt idx="354">
                  <c:v>42136</c:v>
                </c:pt>
                <c:pt idx="355">
                  <c:v>42137</c:v>
                </c:pt>
                <c:pt idx="356">
                  <c:v>42138</c:v>
                </c:pt>
                <c:pt idx="357">
                  <c:v>42139</c:v>
                </c:pt>
                <c:pt idx="358">
                  <c:v>42142</c:v>
                </c:pt>
                <c:pt idx="359">
                  <c:v>42143</c:v>
                </c:pt>
                <c:pt idx="360">
                  <c:v>42144</c:v>
                </c:pt>
                <c:pt idx="361">
                  <c:v>42145</c:v>
                </c:pt>
                <c:pt idx="362">
                  <c:v>42146</c:v>
                </c:pt>
                <c:pt idx="363">
                  <c:v>42149</c:v>
                </c:pt>
                <c:pt idx="364">
                  <c:v>42150</c:v>
                </c:pt>
                <c:pt idx="365">
                  <c:v>42151</c:v>
                </c:pt>
                <c:pt idx="366">
                  <c:v>42152</c:v>
                </c:pt>
                <c:pt idx="367">
                  <c:v>42153</c:v>
                </c:pt>
                <c:pt idx="368">
                  <c:v>42156</c:v>
                </c:pt>
                <c:pt idx="369">
                  <c:v>42157</c:v>
                </c:pt>
                <c:pt idx="370">
                  <c:v>42158</c:v>
                </c:pt>
                <c:pt idx="371">
                  <c:v>42159</c:v>
                </c:pt>
                <c:pt idx="372">
                  <c:v>42160</c:v>
                </c:pt>
                <c:pt idx="373">
                  <c:v>42163</c:v>
                </c:pt>
                <c:pt idx="374">
                  <c:v>42164</c:v>
                </c:pt>
                <c:pt idx="375">
                  <c:v>42165</c:v>
                </c:pt>
                <c:pt idx="376">
                  <c:v>42166</c:v>
                </c:pt>
                <c:pt idx="377">
                  <c:v>42167</c:v>
                </c:pt>
                <c:pt idx="378">
                  <c:v>42170</c:v>
                </c:pt>
                <c:pt idx="379">
                  <c:v>42171</c:v>
                </c:pt>
                <c:pt idx="380">
                  <c:v>42172</c:v>
                </c:pt>
                <c:pt idx="381">
                  <c:v>42173</c:v>
                </c:pt>
                <c:pt idx="382">
                  <c:v>42174</c:v>
                </c:pt>
                <c:pt idx="383">
                  <c:v>42177</c:v>
                </c:pt>
                <c:pt idx="384">
                  <c:v>42178</c:v>
                </c:pt>
                <c:pt idx="385">
                  <c:v>42179</c:v>
                </c:pt>
                <c:pt idx="386">
                  <c:v>42180</c:v>
                </c:pt>
                <c:pt idx="387">
                  <c:v>42181</c:v>
                </c:pt>
                <c:pt idx="388">
                  <c:v>42184</c:v>
                </c:pt>
                <c:pt idx="389">
                  <c:v>42185</c:v>
                </c:pt>
                <c:pt idx="390">
                  <c:v>42186</c:v>
                </c:pt>
                <c:pt idx="391">
                  <c:v>42187</c:v>
                </c:pt>
                <c:pt idx="392">
                  <c:v>42188</c:v>
                </c:pt>
                <c:pt idx="393">
                  <c:v>42191</c:v>
                </c:pt>
                <c:pt idx="394">
                  <c:v>42192</c:v>
                </c:pt>
                <c:pt idx="395">
                  <c:v>42193</c:v>
                </c:pt>
                <c:pt idx="396">
                  <c:v>42194</c:v>
                </c:pt>
                <c:pt idx="397">
                  <c:v>42195</c:v>
                </c:pt>
                <c:pt idx="398">
                  <c:v>42198</c:v>
                </c:pt>
                <c:pt idx="399">
                  <c:v>42199</c:v>
                </c:pt>
                <c:pt idx="400">
                  <c:v>42200</c:v>
                </c:pt>
                <c:pt idx="401">
                  <c:v>42201</c:v>
                </c:pt>
                <c:pt idx="402">
                  <c:v>42202</c:v>
                </c:pt>
                <c:pt idx="403">
                  <c:v>42205</c:v>
                </c:pt>
                <c:pt idx="404">
                  <c:v>42206</c:v>
                </c:pt>
                <c:pt idx="405">
                  <c:v>42207</c:v>
                </c:pt>
                <c:pt idx="406">
                  <c:v>42208</c:v>
                </c:pt>
                <c:pt idx="407">
                  <c:v>42209</c:v>
                </c:pt>
                <c:pt idx="408">
                  <c:v>42212</c:v>
                </c:pt>
                <c:pt idx="409">
                  <c:v>42213</c:v>
                </c:pt>
                <c:pt idx="410">
                  <c:v>42214</c:v>
                </c:pt>
                <c:pt idx="411">
                  <c:v>42215</c:v>
                </c:pt>
                <c:pt idx="412">
                  <c:v>42216</c:v>
                </c:pt>
                <c:pt idx="413">
                  <c:v>42219</c:v>
                </c:pt>
                <c:pt idx="414">
                  <c:v>42220</c:v>
                </c:pt>
                <c:pt idx="415">
                  <c:v>42221</c:v>
                </c:pt>
                <c:pt idx="416">
                  <c:v>42222</c:v>
                </c:pt>
                <c:pt idx="417">
                  <c:v>42223</c:v>
                </c:pt>
                <c:pt idx="418">
                  <c:v>42226</c:v>
                </c:pt>
                <c:pt idx="419">
                  <c:v>42227</c:v>
                </c:pt>
                <c:pt idx="420">
                  <c:v>42228</c:v>
                </c:pt>
                <c:pt idx="421">
                  <c:v>42229</c:v>
                </c:pt>
                <c:pt idx="422">
                  <c:v>42230</c:v>
                </c:pt>
                <c:pt idx="423">
                  <c:v>42233</c:v>
                </c:pt>
                <c:pt idx="424">
                  <c:v>42234</c:v>
                </c:pt>
                <c:pt idx="425">
                  <c:v>42235</c:v>
                </c:pt>
                <c:pt idx="426">
                  <c:v>42236</c:v>
                </c:pt>
                <c:pt idx="427">
                  <c:v>42237</c:v>
                </c:pt>
                <c:pt idx="428">
                  <c:v>42240</c:v>
                </c:pt>
                <c:pt idx="429">
                  <c:v>42241</c:v>
                </c:pt>
                <c:pt idx="430">
                  <c:v>42242</c:v>
                </c:pt>
                <c:pt idx="431">
                  <c:v>42243</c:v>
                </c:pt>
                <c:pt idx="432">
                  <c:v>42244</c:v>
                </c:pt>
                <c:pt idx="433">
                  <c:v>42247</c:v>
                </c:pt>
                <c:pt idx="434">
                  <c:v>42248</c:v>
                </c:pt>
                <c:pt idx="435">
                  <c:v>42249</c:v>
                </c:pt>
                <c:pt idx="436">
                  <c:v>42250</c:v>
                </c:pt>
                <c:pt idx="437">
                  <c:v>42251</c:v>
                </c:pt>
                <c:pt idx="438">
                  <c:v>42254</c:v>
                </c:pt>
                <c:pt idx="439">
                  <c:v>42255</c:v>
                </c:pt>
                <c:pt idx="440">
                  <c:v>42256</c:v>
                </c:pt>
                <c:pt idx="441">
                  <c:v>42257</c:v>
                </c:pt>
                <c:pt idx="442">
                  <c:v>42258</c:v>
                </c:pt>
                <c:pt idx="443">
                  <c:v>42261</c:v>
                </c:pt>
                <c:pt idx="444">
                  <c:v>42262</c:v>
                </c:pt>
                <c:pt idx="445">
                  <c:v>42263</c:v>
                </c:pt>
                <c:pt idx="446">
                  <c:v>42264</c:v>
                </c:pt>
                <c:pt idx="447">
                  <c:v>42265</c:v>
                </c:pt>
                <c:pt idx="448">
                  <c:v>42268</c:v>
                </c:pt>
                <c:pt idx="449">
                  <c:v>42269</c:v>
                </c:pt>
                <c:pt idx="450">
                  <c:v>42270</c:v>
                </c:pt>
                <c:pt idx="451">
                  <c:v>42271</c:v>
                </c:pt>
                <c:pt idx="452">
                  <c:v>42272</c:v>
                </c:pt>
                <c:pt idx="453">
                  <c:v>42275</c:v>
                </c:pt>
                <c:pt idx="454">
                  <c:v>42276</c:v>
                </c:pt>
                <c:pt idx="455">
                  <c:v>42277</c:v>
                </c:pt>
                <c:pt idx="456">
                  <c:v>42278</c:v>
                </c:pt>
                <c:pt idx="457">
                  <c:v>42279</c:v>
                </c:pt>
                <c:pt idx="458">
                  <c:v>42282</c:v>
                </c:pt>
                <c:pt idx="459">
                  <c:v>42283</c:v>
                </c:pt>
                <c:pt idx="460">
                  <c:v>42284</c:v>
                </c:pt>
                <c:pt idx="461">
                  <c:v>42285</c:v>
                </c:pt>
                <c:pt idx="462">
                  <c:v>42286</c:v>
                </c:pt>
                <c:pt idx="463">
                  <c:v>42289</c:v>
                </c:pt>
                <c:pt idx="464">
                  <c:v>42290</c:v>
                </c:pt>
                <c:pt idx="465">
                  <c:v>42291</c:v>
                </c:pt>
                <c:pt idx="466">
                  <c:v>42292</c:v>
                </c:pt>
                <c:pt idx="467">
                  <c:v>42293</c:v>
                </c:pt>
                <c:pt idx="468">
                  <c:v>42296</c:v>
                </c:pt>
                <c:pt idx="469">
                  <c:v>42297</c:v>
                </c:pt>
                <c:pt idx="470">
                  <c:v>42298</c:v>
                </c:pt>
                <c:pt idx="471">
                  <c:v>42299</c:v>
                </c:pt>
                <c:pt idx="472">
                  <c:v>42300</c:v>
                </c:pt>
                <c:pt idx="473">
                  <c:v>42303</c:v>
                </c:pt>
                <c:pt idx="474">
                  <c:v>42304</c:v>
                </c:pt>
                <c:pt idx="475">
                  <c:v>42305</c:v>
                </c:pt>
                <c:pt idx="476">
                  <c:v>42306</c:v>
                </c:pt>
                <c:pt idx="477">
                  <c:v>42307</c:v>
                </c:pt>
                <c:pt idx="478">
                  <c:v>42310</c:v>
                </c:pt>
                <c:pt idx="479">
                  <c:v>42311</c:v>
                </c:pt>
                <c:pt idx="480">
                  <c:v>42312</c:v>
                </c:pt>
                <c:pt idx="481">
                  <c:v>42313</c:v>
                </c:pt>
                <c:pt idx="482">
                  <c:v>42314</c:v>
                </c:pt>
                <c:pt idx="483">
                  <c:v>42317</c:v>
                </c:pt>
                <c:pt idx="484">
                  <c:v>42318</c:v>
                </c:pt>
                <c:pt idx="485">
                  <c:v>42319</c:v>
                </c:pt>
                <c:pt idx="486">
                  <c:v>42320</c:v>
                </c:pt>
                <c:pt idx="487">
                  <c:v>42321</c:v>
                </c:pt>
                <c:pt idx="488">
                  <c:v>42324</c:v>
                </c:pt>
                <c:pt idx="489">
                  <c:v>42325</c:v>
                </c:pt>
                <c:pt idx="490">
                  <c:v>42326</c:v>
                </c:pt>
                <c:pt idx="491">
                  <c:v>42327</c:v>
                </c:pt>
                <c:pt idx="492">
                  <c:v>42328</c:v>
                </c:pt>
                <c:pt idx="493">
                  <c:v>42331</c:v>
                </c:pt>
                <c:pt idx="494">
                  <c:v>42332</c:v>
                </c:pt>
                <c:pt idx="495">
                  <c:v>42333</c:v>
                </c:pt>
                <c:pt idx="496">
                  <c:v>42334</c:v>
                </c:pt>
                <c:pt idx="497">
                  <c:v>42335</c:v>
                </c:pt>
                <c:pt idx="498">
                  <c:v>42338</c:v>
                </c:pt>
                <c:pt idx="499">
                  <c:v>42339</c:v>
                </c:pt>
                <c:pt idx="500">
                  <c:v>42340</c:v>
                </c:pt>
                <c:pt idx="501">
                  <c:v>42341</c:v>
                </c:pt>
                <c:pt idx="502">
                  <c:v>42342</c:v>
                </c:pt>
                <c:pt idx="503">
                  <c:v>42345</c:v>
                </c:pt>
                <c:pt idx="504">
                  <c:v>42346</c:v>
                </c:pt>
                <c:pt idx="505">
                  <c:v>42347</c:v>
                </c:pt>
                <c:pt idx="506">
                  <c:v>42348</c:v>
                </c:pt>
                <c:pt idx="507">
                  <c:v>42349</c:v>
                </c:pt>
                <c:pt idx="508">
                  <c:v>42352</c:v>
                </c:pt>
                <c:pt idx="509">
                  <c:v>42353</c:v>
                </c:pt>
                <c:pt idx="510">
                  <c:v>42354</c:v>
                </c:pt>
                <c:pt idx="511">
                  <c:v>42355</c:v>
                </c:pt>
                <c:pt idx="512">
                  <c:v>42356</c:v>
                </c:pt>
                <c:pt idx="513">
                  <c:v>42359</c:v>
                </c:pt>
                <c:pt idx="514">
                  <c:v>42360</c:v>
                </c:pt>
                <c:pt idx="515">
                  <c:v>42361</c:v>
                </c:pt>
                <c:pt idx="516">
                  <c:v>42362</c:v>
                </c:pt>
                <c:pt idx="517">
                  <c:v>42363</c:v>
                </c:pt>
                <c:pt idx="518">
                  <c:v>42366</c:v>
                </c:pt>
                <c:pt idx="519">
                  <c:v>42367</c:v>
                </c:pt>
                <c:pt idx="520">
                  <c:v>42368</c:v>
                </c:pt>
                <c:pt idx="521">
                  <c:v>42369</c:v>
                </c:pt>
                <c:pt idx="522">
                  <c:v>42370</c:v>
                </c:pt>
                <c:pt idx="523">
                  <c:v>42373</c:v>
                </c:pt>
                <c:pt idx="524">
                  <c:v>42374</c:v>
                </c:pt>
                <c:pt idx="525">
                  <c:v>42375</c:v>
                </c:pt>
                <c:pt idx="526">
                  <c:v>42376</c:v>
                </c:pt>
                <c:pt idx="527">
                  <c:v>42377</c:v>
                </c:pt>
                <c:pt idx="528">
                  <c:v>42380</c:v>
                </c:pt>
                <c:pt idx="529">
                  <c:v>42381</c:v>
                </c:pt>
                <c:pt idx="530">
                  <c:v>42382</c:v>
                </c:pt>
                <c:pt idx="531">
                  <c:v>42383</c:v>
                </c:pt>
                <c:pt idx="532">
                  <c:v>42384</c:v>
                </c:pt>
                <c:pt idx="533">
                  <c:v>42387</c:v>
                </c:pt>
                <c:pt idx="534">
                  <c:v>42388</c:v>
                </c:pt>
                <c:pt idx="535">
                  <c:v>42389</c:v>
                </c:pt>
                <c:pt idx="536">
                  <c:v>42390</c:v>
                </c:pt>
                <c:pt idx="537">
                  <c:v>42391</c:v>
                </c:pt>
                <c:pt idx="538">
                  <c:v>42394</c:v>
                </c:pt>
                <c:pt idx="539">
                  <c:v>42395</c:v>
                </c:pt>
                <c:pt idx="540">
                  <c:v>42396</c:v>
                </c:pt>
                <c:pt idx="541">
                  <c:v>42397</c:v>
                </c:pt>
                <c:pt idx="542">
                  <c:v>42398</c:v>
                </c:pt>
                <c:pt idx="543">
                  <c:v>42401</c:v>
                </c:pt>
                <c:pt idx="544">
                  <c:v>42402</c:v>
                </c:pt>
                <c:pt idx="545">
                  <c:v>42403</c:v>
                </c:pt>
                <c:pt idx="546">
                  <c:v>42404</c:v>
                </c:pt>
                <c:pt idx="547">
                  <c:v>42405</c:v>
                </c:pt>
                <c:pt idx="548">
                  <c:v>42408</c:v>
                </c:pt>
                <c:pt idx="549">
                  <c:v>42409</c:v>
                </c:pt>
                <c:pt idx="550">
                  <c:v>42410</c:v>
                </c:pt>
                <c:pt idx="551">
                  <c:v>42411</c:v>
                </c:pt>
                <c:pt idx="552">
                  <c:v>42412</c:v>
                </c:pt>
                <c:pt idx="553">
                  <c:v>42415</c:v>
                </c:pt>
                <c:pt idx="554">
                  <c:v>42416</c:v>
                </c:pt>
                <c:pt idx="555">
                  <c:v>42417</c:v>
                </c:pt>
                <c:pt idx="556">
                  <c:v>42418</c:v>
                </c:pt>
                <c:pt idx="557">
                  <c:v>42419</c:v>
                </c:pt>
                <c:pt idx="558">
                  <c:v>42422</c:v>
                </c:pt>
                <c:pt idx="559">
                  <c:v>42423</c:v>
                </c:pt>
                <c:pt idx="560">
                  <c:v>42424</c:v>
                </c:pt>
                <c:pt idx="561">
                  <c:v>42425</c:v>
                </c:pt>
                <c:pt idx="562">
                  <c:v>42426</c:v>
                </c:pt>
                <c:pt idx="563">
                  <c:v>42429</c:v>
                </c:pt>
                <c:pt idx="564">
                  <c:v>42430</c:v>
                </c:pt>
                <c:pt idx="565">
                  <c:v>42431</c:v>
                </c:pt>
                <c:pt idx="566">
                  <c:v>42432</c:v>
                </c:pt>
                <c:pt idx="567">
                  <c:v>42433</c:v>
                </c:pt>
                <c:pt idx="568">
                  <c:v>42436</c:v>
                </c:pt>
                <c:pt idx="569">
                  <c:v>42437</c:v>
                </c:pt>
                <c:pt idx="570">
                  <c:v>42438</c:v>
                </c:pt>
                <c:pt idx="571">
                  <c:v>42439</c:v>
                </c:pt>
                <c:pt idx="572">
                  <c:v>42440</c:v>
                </c:pt>
                <c:pt idx="573">
                  <c:v>42443</c:v>
                </c:pt>
                <c:pt idx="574">
                  <c:v>42444</c:v>
                </c:pt>
                <c:pt idx="575">
                  <c:v>42445</c:v>
                </c:pt>
                <c:pt idx="576">
                  <c:v>42446</c:v>
                </c:pt>
                <c:pt idx="577">
                  <c:v>42447</c:v>
                </c:pt>
                <c:pt idx="578">
                  <c:v>42450</c:v>
                </c:pt>
                <c:pt idx="579">
                  <c:v>42451</c:v>
                </c:pt>
                <c:pt idx="580">
                  <c:v>42452</c:v>
                </c:pt>
                <c:pt idx="581">
                  <c:v>42453</c:v>
                </c:pt>
                <c:pt idx="582">
                  <c:v>42454</c:v>
                </c:pt>
                <c:pt idx="583">
                  <c:v>42457</c:v>
                </c:pt>
                <c:pt idx="584">
                  <c:v>42458</c:v>
                </c:pt>
                <c:pt idx="585">
                  <c:v>42459</c:v>
                </c:pt>
                <c:pt idx="586">
                  <c:v>42460</c:v>
                </c:pt>
                <c:pt idx="587">
                  <c:v>42461</c:v>
                </c:pt>
                <c:pt idx="588">
                  <c:v>42464</c:v>
                </c:pt>
                <c:pt idx="589">
                  <c:v>42465</c:v>
                </c:pt>
                <c:pt idx="590">
                  <c:v>42466</c:v>
                </c:pt>
                <c:pt idx="591">
                  <c:v>42467</c:v>
                </c:pt>
                <c:pt idx="592">
                  <c:v>42468</c:v>
                </c:pt>
                <c:pt idx="593">
                  <c:v>42471</c:v>
                </c:pt>
                <c:pt idx="594">
                  <c:v>42472</c:v>
                </c:pt>
                <c:pt idx="595">
                  <c:v>42473</c:v>
                </c:pt>
                <c:pt idx="596">
                  <c:v>42474</c:v>
                </c:pt>
                <c:pt idx="597">
                  <c:v>42475</c:v>
                </c:pt>
                <c:pt idx="598">
                  <c:v>42478</c:v>
                </c:pt>
                <c:pt idx="599">
                  <c:v>42479</c:v>
                </c:pt>
                <c:pt idx="600">
                  <c:v>42480</c:v>
                </c:pt>
                <c:pt idx="601">
                  <c:v>42481</c:v>
                </c:pt>
                <c:pt idx="602">
                  <c:v>42482</c:v>
                </c:pt>
                <c:pt idx="603">
                  <c:v>42485</c:v>
                </c:pt>
                <c:pt idx="604">
                  <c:v>42486</c:v>
                </c:pt>
                <c:pt idx="605">
                  <c:v>42487</c:v>
                </c:pt>
                <c:pt idx="606">
                  <c:v>42488</c:v>
                </c:pt>
                <c:pt idx="607">
                  <c:v>42489</c:v>
                </c:pt>
                <c:pt idx="608">
                  <c:v>42492</c:v>
                </c:pt>
                <c:pt idx="609">
                  <c:v>42493</c:v>
                </c:pt>
                <c:pt idx="610">
                  <c:v>42494</c:v>
                </c:pt>
                <c:pt idx="611">
                  <c:v>42495</c:v>
                </c:pt>
                <c:pt idx="612">
                  <c:v>42496</c:v>
                </c:pt>
                <c:pt idx="613">
                  <c:v>42499</c:v>
                </c:pt>
                <c:pt idx="614">
                  <c:v>42500</c:v>
                </c:pt>
                <c:pt idx="615">
                  <c:v>42501</c:v>
                </c:pt>
                <c:pt idx="616">
                  <c:v>42502</c:v>
                </c:pt>
                <c:pt idx="617">
                  <c:v>42503</c:v>
                </c:pt>
                <c:pt idx="618">
                  <c:v>42506</c:v>
                </c:pt>
                <c:pt idx="619">
                  <c:v>42507</c:v>
                </c:pt>
                <c:pt idx="620">
                  <c:v>42508</c:v>
                </c:pt>
                <c:pt idx="621">
                  <c:v>42509</c:v>
                </c:pt>
                <c:pt idx="622">
                  <c:v>42510</c:v>
                </c:pt>
                <c:pt idx="623">
                  <c:v>42513</c:v>
                </c:pt>
                <c:pt idx="624">
                  <c:v>42514</c:v>
                </c:pt>
                <c:pt idx="625">
                  <c:v>42515</c:v>
                </c:pt>
                <c:pt idx="626">
                  <c:v>42516</c:v>
                </c:pt>
                <c:pt idx="627">
                  <c:v>42517</c:v>
                </c:pt>
                <c:pt idx="628">
                  <c:v>42520</c:v>
                </c:pt>
                <c:pt idx="629">
                  <c:v>42521</c:v>
                </c:pt>
                <c:pt idx="630">
                  <c:v>42522</c:v>
                </c:pt>
                <c:pt idx="631">
                  <c:v>42523</c:v>
                </c:pt>
                <c:pt idx="632">
                  <c:v>42524</c:v>
                </c:pt>
                <c:pt idx="633">
                  <c:v>42527</c:v>
                </c:pt>
                <c:pt idx="634">
                  <c:v>42528</c:v>
                </c:pt>
                <c:pt idx="635">
                  <c:v>42529</c:v>
                </c:pt>
                <c:pt idx="636">
                  <c:v>42530</c:v>
                </c:pt>
                <c:pt idx="637">
                  <c:v>42531</c:v>
                </c:pt>
                <c:pt idx="638">
                  <c:v>42534</c:v>
                </c:pt>
                <c:pt idx="639">
                  <c:v>42535</c:v>
                </c:pt>
                <c:pt idx="640">
                  <c:v>42536</c:v>
                </c:pt>
                <c:pt idx="641">
                  <c:v>42537</c:v>
                </c:pt>
                <c:pt idx="642">
                  <c:v>42538</c:v>
                </c:pt>
                <c:pt idx="643">
                  <c:v>42541</c:v>
                </c:pt>
                <c:pt idx="644">
                  <c:v>42542</c:v>
                </c:pt>
                <c:pt idx="645">
                  <c:v>42543</c:v>
                </c:pt>
                <c:pt idx="646">
                  <c:v>42544</c:v>
                </c:pt>
                <c:pt idx="647">
                  <c:v>42545</c:v>
                </c:pt>
                <c:pt idx="648">
                  <c:v>42548</c:v>
                </c:pt>
                <c:pt idx="649">
                  <c:v>42549</c:v>
                </c:pt>
                <c:pt idx="650">
                  <c:v>42550</c:v>
                </c:pt>
                <c:pt idx="651">
                  <c:v>42551</c:v>
                </c:pt>
                <c:pt idx="652">
                  <c:v>42552</c:v>
                </c:pt>
                <c:pt idx="653">
                  <c:v>42555</c:v>
                </c:pt>
                <c:pt idx="654">
                  <c:v>42556</c:v>
                </c:pt>
                <c:pt idx="655">
                  <c:v>42557</c:v>
                </c:pt>
                <c:pt idx="656">
                  <c:v>42558</c:v>
                </c:pt>
                <c:pt idx="657">
                  <c:v>42559</c:v>
                </c:pt>
                <c:pt idx="658">
                  <c:v>42562</c:v>
                </c:pt>
                <c:pt idx="659">
                  <c:v>42563</c:v>
                </c:pt>
                <c:pt idx="660">
                  <c:v>42564</c:v>
                </c:pt>
                <c:pt idx="661">
                  <c:v>42565</c:v>
                </c:pt>
                <c:pt idx="662">
                  <c:v>42566</c:v>
                </c:pt>
                <c:pt idx="663">
                  <c:v>42569</c:v>
                </c:pt>
                <c:pt idx="664">
                  <c:v>42570</c:v>
                </c:pt>
                <c:pt idx="665">
                  <c:v>42571</c:v>
                </c:pt>
                <c:pt idx="666">
                  <c:v>42572</c:v>
                </c:pt>
                <c:pt idx="667">
                  <c:v>42573</c:v>
                </c:pt>
                <c:pt idx="668">
                  <c:v>42576</c:v>
                </c:pt>
                <c:pt idx="669">
                  <c:v>42577</c:v>
                </c:pt>
                <c:pt idx="670">
                  <c:v>42578</c:v>
                </c:pt>
                <c:pt idx="671">
                  <c:v>42579</c:v>
                </c:pt>
                <c:pt idx="672">
                  <c:v>42580</c:v>
                </c:pt>
                <c:pt idx="673">
                  <c:v>42583</c:v>
                </c:pt>
                <c:pt idx="674">
                  <c:v>42584</c:v>
                </c:pt>
                <c:pt idx="675">
                  <c:v>42585</c:v>
                </c:pt>
                <c:pt idx="676">
                  <c:v>42586</c:v>
                </c:pt>
                <c:pt idx="677">
                  <c:v>42587</c:v>
                </c:pt>
                <c:pt idx="678">
                  <c:v>42590</c:v>
                </c:pt>
                <c:pt idx="679">
                  <c:v>42591</c:v>
                </c:pt>
                <c:pt idx="680">
                  <c:v>42592</c:v>
                </c:pt>
                <c:pt idx="681">
                  <c:v>42593</c:v>
                </c:pt>
                <c:pt idx="682">
                  <c:v>42594</c:v>
                </c:pt>
                <c:pt idx="683">
                  <c:v>42597</c:v>
                </c:pt>
                <c:pt idx="684">
                  <c:v>42598</c:v>
                </c:pt>
                <c:pt idx="685">
                  <c:v>42599</c:v>
                </c:pt>
                <c:pt idx="686">
                  <c:v>42600</c:v>
                </c:pt>
                <c:pt idx="687">
                  <c:v>42601</c:v>
                </c:pt>
                <c:pt idx="688">
                  <c:v>42604</c:v>
                </c:pt>
                <c:pt idx="689">
                  <c:v>42605</c:v>
                </c:pt>
                <c:pt idx="690">
                  <c:v>42606</c:v>
                </c:pt>
                <c:pt idx="691">
                  <c:v>42607</c:v>
                </c:pt>
                <c:pt idx="692">
                  <c:v>42608</c:v>
                </c:pt>
                <c:pt idx="693">
                  <c:v>42611</c:v>
                </c:pt>
                <c:pt idx="694">
                  <c:v>42612</c:v>
                </c:pt>
                <c:pt idx="695">
                  <c:v>42613</c:v>
                </c:pt>
                <c:pt idx="696">
                  <c:v>42614</c:v>
                </c:pt>
                <c:pt idx="697">
                  <c:v>42615</c:v>
                </c:pt>
                <c:pt idx="698">
                  <c:v>42618</c:v>
                </c:pt>
                <c:pt idx="699">
                  <c:v>42619</c:v>
                </c:pt>
                <c:pt idx="700">
                  <c:v>42620</c:v>
                </c:pt>
                <c:pt idx="701">
                  <c:v>42621</c:v>
                </c:pt>
                <c:pt idx="702">
                  <c:v>42622</c:v>
                </c:pt>
                <c:pt idx="703">
                  <c:v>42625</c:v>
                </c:pt>
                <c:pt idx="704">
                  <c:v>42626</c:v>
                </c:pt>
                <c:pt idx="705">
                  <c:v>42627</c:v>
                </c:pt>
                <c:pt idx="706">
                  <c:v>42628</c:v>
                </c:pt>
                <c:pt idx="707">
                  <c:v>42629</c:v>
                </c:pt>
                <c:pt idx="708">
                  <c:v>42632</c:v>
                </c:pt>
                <c:pt idx="709">
                  <c:v>42633</c:v>
                </c:pt>
                <c:pt idx="710">
                  <c:v>42634</c:v>
                </c:pt>
                <c:pt idx="711">
                  <c:v>42635</c:v>
                </c:pt>
                <c:pt idx="712">
                  <c:v>42636</c:v>
                </c:pt>
                <c:pt idx="713">
                  <c:v>42639</c:v>
                </c:pt>
                <c:pt idx="714">
                  <c:v>42640</c:v>
                </c:pt>
                <c:pt idx="715">
                  <c:v>42641</c:v>
                </c:pt>
                <c:pt idx="716">
                  <c:v>42642</c:v>
                </c:pt>
                <c:pt idx="717">
                  <c:v>42643</c:v>
                </c:pt>
                <c:pt idx="718">
                  <c:v>42646</c:v>
                </c:pt>
                <c:pt idx="719">
                  <c:v>42647</c:v>
                </c:pt>
                <c:pt idx="720">
                  <c:v>42648</c:v>
                </c:pt>
                <c:pt idx="721">
                  <c:v>42649</c:v>
                </c:pt>
                <c:pt idx="722">
                  <c:v>42650</c:v>
                </c:pt>
                <c:pt idx="723">
                  <c:v>42653</c:v>
                </c:pt>
                <c:pt idx="724">
                  <c:v>42654</c:v>
                </c:pt>
                <c:pt idx="725">
                  <c:v>42655</c:v>
                </c:pt>
                <c:pt idx="726">
                  <c:v>42656</c:v>
                </c:pt>
                <c:pt idx="727">
                  <c:v>42657</c:v>
                </c:pt>
                <c:pt idx="728">
                  <c:v>42660</c:v>
                </c:pt>
                <c:pt idx="729">
                  <c:v>42661</c:v>
                </c:pt>
                <c:pt idx="730">
                  <c:v>42662</c:v>
                </c:pt>
                <c:pt idx="731">
                  <c:v>42663</c:v>
                </c:pt>
                <c:pt idx="732">
                  <c:v>42664</c:v>
                </c:pt>
                <c:pt idx="733">
                  <c:v>42667</c:v>
                </c:pt>
                <c:pt idx="734">
                  <c:v>42668</c:v>
                </c:pt>
                <c:pt idx="735">
                  <c:v>42669</c:v>
                </c:pt>
                <c:pt idx="736">
                  <c:v>42670</c:v>
                </c:pt>
                <c:pt idx="737">
                  <c:v>42671</c:v>
                </c:pt>
                <c:pt idx="738">
                  <c:v>42674</c:v>
                </c:pt>
                <c:pt idx="739">
                  <c:v>42675</c:v>
                </c:pt>
                <c:pt idx="740">
                  <c:v>42676</c:v>
                </c:pt>
                <c:pt idx="741">
                  <c:v>42677</c:v>
                </c:pt>
                <c:pt idx="742">
                  <c:v>42678</c:v>
                </c:pt>
                <c:pt idx="743">
                  <c:v>42681</c:v>
                </c:pt>
                <c:pt idx="744">
                  <c:v>42682</c:v>
                </c:pt>
                <c:pt idx="745">
                  <c:v>42683</c:v>
                </c:pt>
                <c:pt idx="746">
                  <c:v>42684</c:v>
                </c:pt>
                <c:pt idx="747">
                  <c:v>42685</c:v>
                </c:pt>
                <c:pt idx="748">
                  <c:v>42688</c:v>
                </c:pt>
                <c:pt idx="749">
                  <c:v>42689</c:v>
                </c:pt>
                <c:pt idx="750">
                  <c:v>42690</c:v>
                </c:pt>
                <c:pt idx="751">
                  <c:v>42691</c:v>
                </c:pt>
                <c:pt idx="752">
                  <c:v>42692</c:v>
                </c:pt>
                <c:pt idx="753">
                  <c:v>42695</c:v>
                </c:pt>
                <c:pt idx="754">
                  <c:v>42696</c:v>
                </c:pt>
                <c:pt idx="755">
                  <c:v>42697</c:v>
                </c:pt>
                <c:pt idx="756">
                  <c:v>42698</c:v>
                </c:pt>
                <c:pt idx="757">
                  <c:v>42699</c:v>
                </c:pt>
                <c:pt idx="758">
                  <c:v>42702</c:v>
                </c:pt>
                <c:pt idx="759">
                  <c:v>42703</c:v>
                </c:pt>
                <c:pt idx="760">
                  <c:v>42704</c:v>
                </c:pt>
                <c:pt idx="761">
                  <c:v>42705</c:v>
                </c:pt>
                <c:pt idx="762">
                  <c:v>42706</c:v>
                </c:pt>
                <c:pt idx="763">
                  <c:v>42709</c:v>
                </c:pt>
                <c:pt idx="764">
                  <c:v>42710</c:v>
                </c:pt>
                <c:pt idx="765">
                  <c:v>42711</c:v>
                </c:pt>
                <c:pt idx="766">
                  <c:v>42712</c:v>
                </c:pt>
                <c:pt idx="767">
                  <c:v>42713</c:v>
                </c:pt>
                <c:pt idx="768">
                  <c:v>42716</c:v>
                </c:pt>
                <c:pt idx="769">
                  <c:v>42717</c:v>
                </c:pt>
                <c:pt idx="770">
                  <c:v>42718</c:v>
                </c:pt>
                <c:pt idx="771">
                  <c:v>42719</c:v>
                </c:pt>
                <c:pt idx="772">
                  <c:v>42720</c:v>
                </c:pt>
                <c:pt idx="773">
                  <c:v>42723</c:v>
                </c:pt>
                <c:pt idx="774">
                  <c:v>42724</c:v>
                </c:pt>
                <c:pt idx="775">
                  <c:v>42725</c:v>
                </c:pt>
                <c:pt idx="776">
                  <c:v>42726</c:v>
                </c:pt>
                <c:pt idx="777">
                  <c:v>42727</c:v>
                </c:pt>
                <c:pt idx="778">
                  <c:v>42730</c:v>
                </c:pt>
                <c:pt idx="779">
                  <c:v>42731</c:v>
                </c:pt>
                <c:pt idx="780">
                  <c:v>42732</c:v>
                </c:pt>
                <c:pt idx="781">
                  <c:v>42733</c:v>
                </c:pt>
                <c:pt idx="782">
                  <c:v>42734</c:v>
                </c:pt>
                <c:pt idx="783">
                  <c:v>42737</c:v>
                </c:pt>
                <c:pt idx="784">
                  <c:v>42738</c:v>
                </c:pt>
                <c:pt idx="785">
                  <c:v>42739</c:v>
                </c:pt>
                <c:pt idx="786">
                  <c:v>42740</c:v>
                </c:pt>
                <c:pt idx="787">
                  <c:v>42741</c:v>
                </c:pt>
                <c:pt idx="788">
                  <c:v>42744</c:v>
                </c:pt>
                <c:pt idx="789">
                  <c:v>42745</c:v>
                </c:pt>
                <c:pt idx="790">
                  <c:v>42746</c:v>
                </c:pt>
                <c:pt idx="791">
                  <c:v>42747</c:v>
                </c:pt>
                <c:pt idx="792">
                  <c:v>42748</c:v>
                </c:pt>
                <c:pt idx="793">
                  <c:v>42751</c:v>
                </c:pt>
                <c:pt idx="794">
                  <c:v>42752</c:v>
                </c:pt>
                <c:pt idx="795">
                  <c:v>42753</c:v>
                </c:pt>
                <c:pt idx="796">
                  <c:v>42754</c:v>
                </c:pt>
                <c:pt idx="797">
                  <c:v>42755</c:v>
                </c:pt>
                <c:pt idx="798">
                  <c:v>42758</c:v>
                </c:pt>
                <c:pt idx="799">
                  <c:v>42759</c:v>
                </c:pt>
                <c:pt idx="800">
                  <c:v>42760</c:v>
                </c:pt>
                <c:pt idx="801">
                  <c:v>42761</c:v>
                </c:pt>
                <c:pt idx="802">
                  <c:v>42762</c:v>
                </c:pt>
                <c:pt idx="803">
                  <c:v>42765</c:v>
                </c:pt>
                <c:pt idx="804">
                  <c:v>42766</c:v>
                </c:pt>
                <c:pt idx="805">
                  <c:v>42767</c:v>
                </c:pt>
                <c:pt idx="806">
                  <c:v>42768</c:v>
                </c:pt>
                <c:pt idx="807">
                  <c:v>42769</c:v>
                </c:pt>
                <c:pt idx="808">
                  <c:v>42772</c:v>
                </c:pt>
                <c:pt idx="809">
                  <c:v>42773</c:v>
                </c:pt>
                <c:pt idx="810">
                  <c:v>42774</c:v>
                </c:pt>
                <c:pt idx="811">
                  <c:v>42775</c:v>
                </c:pt>
                <c:pt idx="812">
                  <c:v>42776</c:v>
                </c:pt>
                <c:pt idx="813">
                  <c:v>42779</c:v>
                </c:pt>
                <c:pt idx="814">
                  <c:v>42780</c:v>
                </c:pt>
                <c:pt idx="815">
                  <c:v>42781</c:v>
                </c:pt>
                <c:pt idx="816">
                  <c:v>42782</c:v>
                </c:pt>
                <c:pt idx="817">
                  <c:v>42783</c:v>
                </c:pt>
                <c:pt idx="818">
                  <c:v>42786</c:v>
                </c:pt>
                <c:pt idx="819">
                  <c:v>42787</c:v>
                </c:pt>
                <c:pt idx="820">
                  <c:v>42788</c:v>
                </c:pt>
                <c:pt idx="821">
                  <c:v>42789</c:v>
                </c:pt>
                <c:pt idx="822">
                  <c:v>42790</c:v>
                </c:pt>
                <c:pt idx="823">
                  <c:v>42793</c:v>
                </c:pt>
                <c:pt idx="824">
                  <c:v>42794</c:v>
                </c:pt>
                <c:pt idx="825">
                  <c:v>42795</c:v>
                </c:pt>
                <c:pt idx="826">
                  <c:v>42796</c:v>
                </c:pt>
                <c:pt idx="827">
                  <c:v>42797</c:v>
                </c:pt>
                <c:pt idx="828">
                  <c:v>42800</c:v>
                </c:pt>
                <c:pt idx="829">
                  <c:v>42801</c:v>
                </c:pt>
                <c:pt idx="830">
                  <c:v>42802</c:v>
                </c:pt>
                <c:pt idx="831">
                  <c:v>42803</c:v>
                </c:pt>
                <c:pt idx="832">
                  <c:v>42804</c:v>
                </c:pt>
                <c:pt idx="833">
                  <c:v>42807</c:v>
                </c:pt>
                <c:pt idx="834">
                  <c:v>42808</c:v>
                </c:pt>
                <c:pt idx="835">
                  <c:v>42809</c:v>
                </c:pt>
                <c:pt idx="836">
                  <c:v>42810</c:v>
                </c:pt>
                <c:pt idx="837">
                  <c:v>42811</c:v>
                </c:pt>
                <c:pt idx="838">
                  <c:v>42814</c:v>
                </c:pt>
                <c:pt idx="839">
                  <c:v>42815</c:v>
                </c:pt>
                <c:pt idx="840">
                  <c:v>42816</c:v>
                </c:pt>
                <c:pt idx="841">
                  <c:v>42817</c:v>
                </c:pt>
                <c:pt idx="842">
                  <c:v>42818</c:v>
                </c:pt>
                <c:pt idx="843">
                  <c:v>42821</c:v>
                </c:pt>
                <c:pt idx="844">
                  <c:v>42822</c:v>
                </c:pt>
                <c:pt idx="845">
                  <c:v>42823</c:v>
                </c:pt>
                <c:pt idx="846">
                  <c:v>42824</c:v>
                </c:pt>
                <c:pt idx="847">
                  <c:v>42825</c:v>
                </c:pt>
                <c:pt idx="848">
                  <c:v>42828</c:v>
                </c:pt>
                <c:pt idx="849">
                  <c:v>42829</c:v>
                </c:pt>
                <c:pt idx="850">
                  <c:v>42830</c:v>
                </c:pt>
                <c:pt idx="851">
                  <c:v>42831</c:v>
                </c:pt>
                <c:pt idx="852">
                  <c:v>42832</c:v>
                </c:pt>
                <c:pt idx="853">
                  <c:v>42835</c:v>
                </c:pt>
                <c:pt idx="854">
                  <c:v>42836</c:v>
                </c:pt>
                <c:pt idx="855">
                  <c:v>42837</c:v>
                </c:pt>
                <c:pt idx="856">
                  <c:v>42838</c:v>
                </c:pt>
                <c:pt idx="857">
                  <c:v>42839</c:v>
                </c:pt>
                <c:pt idx="858">
                  <c:v>42842</c:v>
                </c:pt>
                <c:pt idx="859">
                  <c:v>42843</c:v>
                </c:pt>
                <c:pt idx="860">
                  <c:v>42844</c:v>
                </c:pt>
                <c:pt idx="861">
                  <c:v>42845</c:v>
                </c:pt>
                <c:pt idx="862">
                  <c:v>42846</c:v>
                </c:pt>
                <c:pt idx="863">
                  <c:v>42849</c:v>
                </c:pt>
                <c:pt idx="864">
                  <c:v>42850</c:v>
                </c:pt>
                <c:pt idx="865">
                  <c:v>42851</c:v>
                </c:pt>
                <c:pt idx="866">
                  <c:v>42852</c:v>
                </c:pt>
                <c:pt idx="867">
                  <c:v>42853</c:v>
                </c:pt>
                <c:pt idx="868">
                  <c:v>42856</c:v>
                </c:pt>
                <c:pt idx="869">
                  <c:v>42857</c:v>
                </c:pt>
                <c:pt idx="870">
                  <c:v>42858</c:v>
                </c:pt>
                <c:pt idx="871">
                  <c:v>42859</c:v>
                </c:pt>
                <c:pt idx="872">
                  <c:v>42860</c:v>
                </c:pt>
                <c:pt idx="873">
                  <c:v>42863</c:v>
                </c:pt>
                <c:pt idx="874">
                  <c:v>42864</c:v>
                </c:pt>
                <c:pt idx="875">
                  <c:v>42865</c:v>
                </c:pt>
                <c:pt idx="876">
                  <c:v>42866</c:v>
                </c:pt>
                <c:pt idx="877">
                  <c:v>42867</c:v>
                </c:pt>
                <c:pt idx="878">
                  <c:v>42870</c:v>
                </c:pt>
                <c:pt idx="879">
                  <c:v>42871</c:v>
                </c:pt>
                <c:pt idx="880">
                  <c:v>42872</c:v>
                </c:pt>
                <c:pt idx="881">
                  <c:v>42873</c:v>
                </c:pt>
                <c:pt idx="882">
                  <c:v>42874</c:v>
                </c:pt>
                <c:pt idx="883">
                  <c:v>42877</c:v>
                </c:pt>
                <c:pt idx="884">
                  <c:v>42878</c:v>
                </c:pt>
                <c:pt idx="885">
                  <c:v>42879</c:v>
                </c:pt>
                <c:pt idx="886">
                  <c:v>42880</c:v>
                </c:pt>
                <c:pt idx="887">
                  <c:v>42881</c:v>
                </c:pt>
                <c:pt idx="888">
                  <c:v>42884</c:v>
                </c:pt>
                <c:pt idx="889">
                  <c:v>42885</c:v>
                </c:pt>
                <c:pt idx="890">
                  <c:v>42886</c:v>
                </c:pt>
                <c:pt idx="891">
                  <c:v>42887</c:v>
                </c:pt>
                <c:pt idx="892">
                  <c:v>42888</c:v>
                </c:pt>
                <c:pt idx="893">
                  <c:v>42891</c:v>
                </c:pt>
                <c:pt idx="894">
                  <c:v>42892</c:v>
                </c:pt>
                <c:pt idx="895">
                  <c:v>42893</c:v>
                </c:pt>
                <c:pt idx="896">
                  <c:v>42894</c:v>
                </c:pt>
                <c:pt idx="897">
                  <c:v>42895</c:v>
                </c:pt>
                <c:pt idx="898">
                  <c:v>42898</c:v>
                </c:pt>
                <c:pt idx="899">
                  <c:v>42899</c:v>
                </c:pt>
                <c:pt idx="900">
                  <c:v>42900</c:v>
                </c:pt>
                <c:pt idx="901">
                  <c:v>42901</c:v>
                </c:pt>
                <c:pt idx="902">
                  <c:v>42902</c:v>
                </c:pt>
                <c:pt idx="903">
                  <c:v>42905</c:v>
                </c:pt>
                <c:pt idx="904">
                  <c:v>42906</c:v>
                </c:pt>
                <c:pt idx="905">
                  <c:v>42907</c:v>
                </c:pt>
                <c:pt idx="906">
                  <c:v>42908</c:v>
                </c:pt>
                <c:pt idx="907">
                  <c:v>42909</c:v>
                </c:pt>
                <c:pt idx="908">
                  <c:v>42912</c:v>
                </c:pt>
                <c:pt idx="909">
                  <c:v>42913</c:v>
                </c:pt>
                <c:pt idx="910">
                  <c:v>42914</c:v>
                </c:pt>
                <c:pt idx="911">
                  <c:v>42915</c:v>
                </c:pt>
                <c:pt idx="912">
                  <c:v>42916</c:v>
                </c:pt>
                <c:pt idx="913">
                  <c:v>42919</c:v>
                </c:pt>
                <c:pt idx="914">
                  <c:v>42920</c:v>
                </c:pt>
                <c:pt idx="915">
                  <c:v>42921</c:v>
                </c:pt>
                <c:pt idx="916">
                  <c:v>42922</c:v>
                </c:pt>
                <c:pt idx="917">
                  <c:v>42923</c:v>
                </c:pt>
                <c:pt idx="918">
                  <c:v>42926</c:v>
                </c:pt>
                <c:pt idx="919">
                  <c:v>42927</c:v>
                </c:pt>
                <c:pt idx="920">
                  <c:v>42928</c:v>
                </c:pt>
                <c:pt idx="921">
                  <c:v>42929</c:v>
                </c:pt>
                <c:pt idx="922">
                  <c:v>42930</c:v>
                </c:pt>
                <c:pt idx="923">
                  <c:v>42933</c:v>
                </c:pt>
                <c:pt idx="924">
                  <c:v>42934</c:v>
                </c:pt>
                <c:pt idx="925">
                  <c:v>42935</c:v>
                </c:pt>
                <c:pt idx="926">
                  <c:v>42936</c:v>
                </c:pt>
                <c:pt idx="927">
                  <c:v>42937</c:v>
                </c:pt>
                <c:pt idx="928">
                  <c:v>42940</c:v>
                </c:pt>
                <c:pt idx="929">
                  <c:v>42941</c:v>
                </c:pt>
                <c:pt idx="930">
                  <c:v>42942</c:v>
                </c:pt>
                <c:pt idx="931">
                  <c:v>42943</c:v>
                </c:pt>
                <c:pt idx="932">
                  <c:v>42944</c:v>
                </c:pt>
                <c:pt idx="933">
                  <c:v>42947</c:v>
                </c:pt>
                <c:pt idx="934">
                  <c:v>42948</c:v>
                </c:pt>
                <c:pt idx="935">
                  <c:v>42949</c:v>
                </c:pt>
                <c:pt idx="936">
                  <c:v>42950</c:v>
                </c:pt>
                <c:pt idx="937">
                  <c:v>42951</c:v>
                </c:pt>
                <c:pt idx="938">
                  <c:v>42954</c:v>
                </c:pt>
                <c:pt idx="939">
                  <c:v>42955</c:v>
                </c:pt>
                <c:pt idx="940">
                  <c:v>42956</c:v>
                </c:pt>
                <c:pt idx="941">
                  <c:v>42957</c:v>
                </c:pt>
                <c:pt idx="942">
                  <c:v>42958</c:v>
                </c:pt>
                <c:pt idx="943">
                  <c:v>42961</c:v>
                </c:pt>
                <c:pt idx="944">
                  <c:v>42962</c:v>
                </c:pt>
                <c:pt idx="945">
                  <c:v>42963</c:v>
                </c:pt>
                <c:pt idx="946">
                  <c:v>42964</c:v>
                </c:pt>
                <c:pt idx="947">
                  <c:v>42965</c:v>
                </c:pt>
                <c:pt idx="948">
                  <c:v>42968</c:v>
                </c:pt>
                <c:pt idx="949">
                  <c:v>42969</c:v>
                </c:pt>
                <c:pt idx="950">
                  <c:v>42970</c:v>
                </c:pt>
                <c:pt idx="951">
                  <c:v>42971</c:v>
                </c:pt>
                <c:pt idx="952">
                  <c:v>42972</c:v>
                </c:pt>
                <c:pt idx="953">
                  <c:v>42975</c:v>
                </c:pt>
                <c:pt idx="954">
                  <c:v>42976</c:v>
                </c:pt>
                <c:pt idx="955">
                  <c:v>42977</c:v>
                </c:pt>
                <c:pt idx="956">
                  <c:v>42978</c:v>
                </c:pt>
                <c:pt idx="957">
                  <c:v>42979</c:v>
                </c:pt>
                <c:pt idx="958">
                  <c:v>42982</c:v>
                </c:pt>
                <c:pt idx="959">
                  <c:v>42983</c:v>
                </c:pt>
                <c:pt idx="960">
                  <c:v>42984</c:v>
                </c:pt>
                <c:pt idx="961">
                  <c:v>42985</c:v>
                </c:pt>
                <c:pt idx="962">
                  <c:v>42986</c:v>
                </c:pt>
                <c:pt idx="963">
                  <c:v>42989</c:v>
                </c:pt>
                <c:pt idx="964">
                  <c:v>42990</c:v>
                </c:pt>
                <c:pt idx="965">
                  <c:v>42991</c:v>
                </c:pt>
                <c:pt idx="966">
                  <c:v>42992</c:v>
                </c:pt>
                <c:pt idx="967">
                  <c:v>42993</c:v>
                </c:pt>
                <c:pt idx="968">
                  <c:v>42996</c:v>
                </c:pt>
                <c:pt idx="969">
                  <c:v>42997</c:v>
                </c:pt>
                <c:pt idx="970">
                  <c:v>42998</c:v>
                </c:pt>
                <c:pt idx="971">
                  <c:v>42999</c:v>
                </c:pt>
                <c:pt idx="972">
                  <c:v>43000</c:v>
                </c:pt>
                <c:pt idx="973">
                  <c:v>43003</c:v>
                </c:pt>
                <c:pt idx="974">
                  <c:v>43004</c:v>
                </c:pt>
                <c:pt idx="975">
                  <c:v>43005</c:v>
                </c:pt>
                <c:pt idx="976">
                  <c:v>43006</c:v>
                </c:pt>
                <c:pt idx="977">
                  <c:v>43007</c:v>
                </c:pt>
                <c:pt idx="978">
                  <c:v>43010</c:v>
                </c:pt>
                <c:pt idx="979">
                  <c:v>43011</c:v>
                </c:pt>
                <c:pt idx="980">
                  <c:v>43012</c:v>
                </c:pt>
                <c:pt idx="981">
                  <c:v>43013</c:v>
                </c:pt>
                <c:pt idx="982">
                  <c:v>43014</c:v>
                </c:pt>
                <c:pt idx="983">
                  <c:v>43017</c:v>
                </c:pt>
                <c:pt idx="984">
                  <c:v>43018</c:v>
                </c:pt>
                <c:pt idx="985">
                  <c:v>43019</c:v>
                </c:pt>
                <c:pt idx="986">
                  <c:v>43020</c:v>
                </c:pt>
                <c:pt idx="987">
                  <c:v>43021</c:v>
                </c:pt>
                <c:pt idx="988">
                  <c:v>43024</c:v>
                </c:pt>
                <c:pt idx="989">
                  <c:v>43025</c:v>
                </c:pt>
                <c:pt idx="990">
                  <c:v>43026</c:v>
                </c:pt>
                <c:pt idx="991">
                  <c:v>43027</c:v>
                </c:pt>
                <c:pt idx="992">
                  <c:v>43028</c:v>
                </c:pt>
                <c:pt idx="993">
                  <c:v>43031</c:v>
                </c:pt>
                <c:pt idx="994">
                  <c:v>43032</c:v>
                </c:pt>
                <c:pt idx="995">
                  <c:v>43033</c:v>
                </c:pt>
                <c:pt idx="996">
                  <c:v>43034</c:v>
                </c:pt>
                <c:pt idx="997">
                  <c:v>43035</c:v>
                </c:pt>
                <c:pt idx="998">
                  <c:v>43038</c:v>
                </c:pt>
                <c:pt idx="999">
                  <c:v>43039</c:v>
                </c:pt>
                <c:pt idx="1000">
                  <c:v>43040</c:v>
                </c:pt>
                <c:pt idx="1001">
                  <c:v>43041</c:v>
                </c:pt>
                <c:pt idx="1002">
                  <c:v>43042</c:v>
                </c:pt>
                <c:pt idx="1003">
                  <c:v>43045</c:v>
                </c:pt>
                <c:pt idx="1004">
                  <c:v>43046</c:v>
                </c:pt>
                <c:pt idx="1005">
                  <c:v>43047</c:v>
                </c:pt>
                <c:pt idx="1006">
                  <c:v>43048</c:v>
                </c:pt>
                <c:pt idx="1007">
                  <c:v>43049</c:v>
                </c:pt>
                <c:pt idx="1008">
                  <c:v>43052</c:v>
                </c:pt>
                <c:pt idx="1009">
                  <c:v>43053</c:v>
                </c:pt>
                <c:pt idx="1010">
                  <c:v>43054</c:v>
                </c:pt>
                <c:pt idx="1011">
                  <c:v>43055</c:v>
                </c:pt>
                <c:pt idx="1012">
                  <c:v>43056</c:v>
                </c:pt>
                <c:pt idx="1013">
                  <c:v>43059</c:v>
                </c:pt>
                <c:pt idx="1014">
                  <c:v>43060</c:v>
                </c:pt>
                <c:pt idx="1015">
                  <c:v>43061</c:v>
                </c:pt>
                <c:pt idx="1016">
                  <c:v>43062</c:v>
                </c:pt>
                <c:pt idx="1017">
                  <c:v>43063</c:v>
                </c:pt>
                <c:pt idx="1018">
                  <c:v>43066</c:v>
                </c:pt>
                <c:pt idx="1019">
                  <c:v>43067</c:v>
                </c:pt>
                <c:pt idx="1020">
                  <c:v>43068</c:v>
                </c:pt>
                <c:pt idx="1021">
                  <c:v>43069</c:v>
                </c:pt>
                <c:pt idx="1022">
                  <c:v>43070</c:v>
                </c:pt>
                <c:pt idx="1023">
                  <c:v>43073</c:v>
                </c:pt>
                <c:pt idx="1024">
                  <c:v>43074</c:v>
                </c:pt>
                <c:pt idx="1025">
                  <c:v>43075</c:v>
                </c:pt>
                <c:pt idx="1026">
                  <c:v>43076</c:v>
                </c:pt>
                <c:pt idx="1027">
                  <c:v>43077</c:v>
                </c:pt>
                <c:pt idx="1028">
                  <c:v>43080</c:v>
                </c:pt>
                <c:pt idx="1029">
                  <c:v>43081</c:v>
                </c:pt>
                <c:pt idx="1030">
                  <c:v>43082</c:v>
                </c:pt>
                <c:pt idx="1031">
                  <c:v>43083</c:v>
                </c:pt>
                <c:pt idx="1032">
                  <c:v>43084</c:v>
                </c:pt>
                <c:pt idx="1033">
                  <c:v>43087</c:v>
                </c:pt>
                <c:pt idx="1034">
                  <c:v>43088</c:v>
                </c:pt>
                <c:pt idx="1035">
                  <c:v>43089</c:v>
                </c:pt>
                <c:pt idx="1036">
                  <c:v>43090</c:v>
                </c:pt>
                <c:pt idx="1037">
                  <c:v>43091</c:v>
                </c:pt>
                <c:pt idx="1038">
                  <c:v>43094</c:v>
                </c:pt>
                <c:pt idx="1039">
                  <c:v>43095</c:v>
                </c:pt>
                <c:pt idx="1040">
                  <c:v>43096</c:v>
                </c:pt>
                <c:pt idx="1041">
                  <c:v>43097</c:v>
                </c:pt>
                <c:pt idx="1042">
                  <c:v>43098</c:v>
                </c:pt>
                <c:pt idx="1043">
                  <c:v>43101</c:v>
                </c:pt>
                <c:pt idx="1044">
                  <c:v>43102</c:v>
                </c:pt>
                <c:pt idx="1045">
                  <c:v>43103</c:v>
                </c:pt>
                <c:pt idx="1046">
                  <c:v>43104</c:v>
                </c:pt>
                <c:pt idx="1047">
                  <c:v>43105</c:v>
                </c:pt>
                <c:pt idx="1048">
                  <c:v>43108</c:v>
                </c:pt>
                <c:pt idx="1049">
                  <c:v>43109</c:v>
                </c:pt>
                <c:pt idx="1050">
                  <c:v>43110</c:v>
                </c:pt>
                <c:pt idx="1051">
                  <c:v>43111</c:v>
                </c:pt>
                <c:pt idx="1052">
                  <c:v>43112</c:v>
                </c:pt>
                <c:pt idx="1053">
                  <c:v>43115</c:v>
                </c:pt>
                <c:pt idx="1054">
                  <c:v>43116</c:v>
                </c:pt>
                <c:pt idx="1055">
                  <c:v>43117</c:v>
                </c:pt>
                <c:pt idx="1056">
                  <c:v>43118</c:v>
                </c:pt>
                <c:pt idx="1057">
                  <c:v>43119</c:v>
                </c:pt>
                <c:pt idx="1058">
                  <c:v>43122</c:v>
                </c:pt>
                <c:pt idx="1059">
                  <c:v>43123</c:v>
                </c:pt>
                <c:pt idx="1060">
                  <c:v>43124</c:v>
                </c:pt>
                <c:pt idx="1061">
                  <c:v>43125</c:v>
                </c:pt>
                <c:pt idx="1062">
                  <c:v>43126</c:v>
                </c:pt>
                <c:pt idx="1063">
                  <c:v>43129</c:v>
                </c:pt>
                <c:pt idx="1064">
                  <c:v>43130</c:v>
                </c:pt>
                <c:pt idx="1065">
                  <c:v>43131</c:v>
                </c:pt>
                <c:pt idx="1066">
                  <c:v>43132</c:v>
                </c:pt>
                <c:pt idx="1067">
                  <c:v>43133</c:v>
                </c:pt>
                <c:pt idx="1068">
                  <c:v>43136</c:v>
                </c:pt>
                <c:pt idx="1069">
                  <c:v>43137</c:v>
                </c:pt>
                <c:pt idx="1070">
                  <c:v>43138</c:v>
                </c:pt>
                <c:pt idx="1071">
                  <c:v>43139</c:v>
                </c:pt>
                <c:pt idx="1072">
                  <c:v>43140</c:v>
                </c:pt>
                <c:pt idx="1073">
                  <c:v>43143</c:v>
                </c:pt>
                <c:pt idx="1074">
                  <c:v>43144</c:v>
                </c:pt>
                <c:pt idx="1075">
                  <c:v>43145</c:v>
                </c:pt>
                <c:pt idx="1076">
                  <c:v>43146</c:v>
                </c:pt>
                <c:pt idx="1077">
                  <c:v>43147</c:v>
                </c:pt>
                <c:pt idx="1078">
                  <c:v>43150</c:v>
                </c:pt>
                <c:pt idx="1079">
                  <c:v>43151</c:v>
                </c:pt>
                <c:pt idx="1080">
                  <c:v>43152</c:v>
                </c:pt>
                <c:pt idx="1081">
                  <c:v>43153</c:v>
                </c:pt>
                <c:pt idx="1082">
                  <c:v>43154</c:v>
                </c:pt>
                <c:pt idx="1083">
                  <c:v>43157</c:v>
                </c:pt>
                <c:pt idx="1084">
                  <c:v>43158</c:v>
                </c:pt>
                <c:pt idx="1085">
                  <c:v>43159</c:v>
                </c:pt>
                <c:pt idx="1086">
                  <c:v>43160</c:v>
                </c:pt>
                <c:pt idx="1087">
                  <c:v>43161</c:v>
                </c:pt>
                <c:pt idx="1088">
                  <c:v>43164</c:v>
                </c:pt>
                <c:pt idx="1089">
                  <c:v>43165</c:v>
                </c:pt>
                <c:pt idx="1090">
                  <c:v>43166</c:v>
                </c:pt>
                <c:pt idx="1091">
                  <c:v>43167</c:v>
                </c:pt>
                <c:pt idx="1092">
                  <c:v>43168</c:v>
                </c:pt>
                <c:pt idx="1093">
                  <c:v>43171</c:v>
                </c:pt>
                <c:pt idx="1094">
                  <c:v>43172</c:v>
                </c:pt>
                <c:pt idx="1095">
                  <c:v>43173</c:v>
                </c:pt>
                <c:pt idx="1096">
                  <c:v>43174</c:v>
                </c:pt>
                <c:pt idx="1097">
                  <c:v>43175</c:v>
                </c:pt>
                <c:pt idx="1098">
                  <c:v>43178</c:v>
                </c:pt>
                <c:pt idx="1099">
                  <c:v>43179</c:v>
                </c:pt>
                <c:pt idx="1100">
                  <c:v>43180</c:v>
                </c:pt>
                <c:pt idx="1101">
                  <c:v>43181</c:v>
                </c:pt>
                <c:pt idx="1102">
                  <c:v>43182</c:v>
                </c:pt>
                <c:pt idx="1103">
                  <c:v>43185</c:v>
                </c:pt>
                <c:pt idx="1104">
                  <c:v>43186</c:v>
                </c:pt>
                <c:pt idx="1105">
                  <c:v>43187</c:v>
                </c:pt>
                <c:pt idx="1106">
                  <c:v>43188</c:v>
                </c:pt>
                <c:pt idx="1107">
                  <c:v>43189</c:v>
                </c:pt>
                <c:pt idx="1108">
                  <c:v>43192</c:v>
                </c:pt>
                <c:pt idx="1109">
                  <c:v>43193</c:v>
                </c:pt>
                <c:pt idx="1110">
                  <c:v>43194</c:v>
                </c:pt>
                <c:pt idx="1111">
                  <c:v>43195</c:v>
                </c:pt>
                <c:pt idx="1112">
                  <c:v>43196</c:v>
                </c:pt>
                <c:pt idx="1113">
                  <c:v>43199</c:v>
                </c:pt>
                <c:pt idx="1114">
                  <c:v>43200</c:v>
                </c:pt>
                <c:pt idx="1115">
                  <c:v>43201</c:v>
                </c:pt>
                <c:pt idx="1116">
                  <c:v>43202</c:v>
                </c:pt>
                <c:pt idx="1117">
                  <c:v>43203</c:v>
                </c:pt>
                <c:pt idx="1118">
                  <c:v>43206</c:v>
                </c:pt>
                <c:pt idx="1119">
                  <c:v>43207</c:v>
                </c:pt>
                <c:pt idx="1120">
                  <c:v>43208</c:v>
                </c:pt>
                <c:pt idx="1121">
                  <c:v>43209</c:v>
                </c:pt>
                <c:pt idx="1122">
                  <c:v>43210</c:v>
                </c:pt>
                <c:pt idx="1123">
                  <c:v>43213</c:v>
                </c:pt>
                <c:pt idx="1124">
                  <c:v>43214</c:v>
                </c:pt>
                <c:pt idx="1125">
                  <c:v>43215</c:v>
                </c:pt>
                <c:pt idx="1126">
                  <c:v>43216</c:v>
                </c:pt>
                <c:pt idx="1127">
                  <c:v>43217</c:v>
                </c:pt>
                <c:pt idx="1128">
                  <c:v>43220</c:v>
                </c:pt>
                <c:pt idx="1129">
                  <c:v>43221</c:v>
                </c:pt>
                <c:pt idx="1130">
                  <c:v>43222</c:v>
                </c:pt>
                <c:pt idx="1131">
                  <c:v>43223</c:v>
                </c:pt>
                <c:pt idx="1132">
                  <c:v>43224</c:v>
                </c:pt>
                <c:pt idx="1133">
                  <c:v>43227</c:v>
                </c:pt>
                <c:pt idx="1134">
                  <c:v>43228</c:v>
                </c:pt>
                <c:pt idx="1135">
                  <c:v>43229</c:v>
                </c:pt>
                <c:pt idx="1136">
                  <c:v>43230</c:v>
                </c:pt>
                <c:pt idx="1137">
                  <c:v>43231</c:v>
                </c:pt>
                <c:pt idx="1138">
                  <c:v>43234</c:v>
                </c:pt>
                <c:pt idx="1139">
                  <c:v>43235</c:v>
                </c:pt>
                <c:pt idx="1140">
                  <c:v>43236</c:v>
                </c:pt>
                <c:pt idx="1141">
                  <c:v>43237</c:v>
                </c:pt>
                <c:pt idx="1142">
                  <c:v>43238</c:v>
                </c:pt>
                <c:pt idx="1143">
                  <c:v>43241</c:v>
                </c:pt>
                <c:pt idx="1144">
                  <c:v>43242</c:v>
                </c:pt>
                <c:pt idx="1145">
                  <c:v>43243</c:v>
                </c:pt>
                <c:pt idx="1146">
                  <c:v>43244</c:v>
                </c:pt>
                <c:pt idx="1147">
                  <c:v>43245</c:v>
                </c:pt>
                <c:pt idx="1148">
                  <c:v>43248</c:v>
                </c:pt>
                <c:pt idx="1149">
                  <c:v>43249</c:v>
                </c:pt>
                <c:pt idx="1150">
                  <c:v>43250</c:v>
                </c:pt>
                <c:pt idx="1151">
                  <c:v>43251</c:v>
                </c:pt>
                <c:pt idx="1152">
                  <c:v>43252</c:v>
                </c:pt>
                <c:pt idx="1153">
                  <c:v>43255</c:v>
                </c:pt>
                <c:pt idx="1154">
                  <c:v>43256</c:v>
                </c:pt>
                <c:pt idx="1155">
                  <c:v>43257</c:v>
                </c:pt>
                <c:pt idx="1156">
                  <c:v>43258</c:v>
                </c:pt>
                <c:pt idx="1157">
                  <c:v>43259</c:v>
                </c:pt>
                <c:pt idx="1158">
                  <c:v>43262</c:v>
                </c:pt>
                <c:pt idx="1159">
                  <c:v>43263</c:v>
                </c:pt>
                <c:pt idx="1160">
                  <c:v>43264</c:v>
                </c:pt>
                <c:pt idx="1161">
                  <c:v>43265</c:v>
                </c:pt>
                <c:pt idx="1162">
                  <c:v>43266</c:v>
                </c:pt>
                <c:pt idx="1163">
                  <c:v>43269</c:v>
                </c:pt>
                <c:pt idx="1164">
                  <c:v>43270</c:v>
                </c:pt>
                <c:pt idx="1165">
                  <c:v>43271</c:v>
                </c:pt>
                <c:pt idx="1166">
                  <c:v>43272</c:v>
                </c:pt>
                <c:pt idx="1167">
                  <c:v>43273</c:v>
                </c:pt>
                <c:pt idx="1168">
                  <c:v>43276</c:v>
                </c:pt>
                <c:pt idx="1169">
                  <c:v>43277</c:v>
                </c:pt>
                <c:pt idx="1170">
                  <c:v>43278</c:v>
                </c:pt>
                <c:pt idx="1171">
                  <c:v>43279</c:v>
                </c:pt>
                <c:pt idx="1172">
                  <c:v>43280</c:v>
                </c:pt>
                <c:pt idx="1173">
                  <c:v>43283</c:v>
                </c:pt>
                <c:pt idx="1174">
                  <c:v>43284</c:v>
                </c:pt>
                <c:pt idx="1175">
                  <c:v>43285</c:v>
                </c:pt>
                <c:pt idx="1176">
                  <c:v>43286</c:v>
                </c:pt>
                <c:pt idx="1177">
                  <c:v>43287</c:v>
                </c:pt>
                <c:pt idx="1178">
                  <c:v>43290</c:v>
                </c:pt>
                <c:pt idx="1179">
                  <c:v>43291</c:v>
                </c:pt>
                <c:pt idx="1180">
                  <c:v>43292</c:v>
                </c:pt>
                <c:pt idx="1181">
                  <c:v>43293</c:v>
                </c:pt>
                <c:pt idx="1182">
                  <c:v>43294</c:v>
                </c:pt>
                <c:pt idx="1183">
                  <c:v>43297</c:v>
                </c:pt>
                <c:pt idx="1184">
                  <c:v>43298</c:v>
                </c:pt>
                <c:pt idx="1185">
                  <c:v>43299</c:v>
                </c:pt>
                <c:pt idx="1186">
                  <c:v>43300</c:v>
                </c:pt>
                <c:pt idx="1187">
                  <c:v>43301</c:v>
                </c:pt>
                <c:pt idx="1188">
                  <c:v>43304</c:v>
                </c:pt>
                <c:pt idx="1189">
                  <c:v>43305</c:v>
                </c:pt>
                <c:pt idx="1190">
                  <c:v>43306</c:v>
                </c:pt>
                <c:pt idx="1191">
                  <c:v>43307</c:v>
                </c:pt>
                <c:pt idx="1192">
                  <c:v>43308</c:v>
                </c:pt>
                <c:pt idx="1193">
                  <c:v>43311</c:v>
                </c:pt>
                <c:pt idx="1194">
                  <c:v>43312</c:v>
                </c:pt>
                <c:pt idx="1195">
                  <c:v>43313</c:v>
                </c:pt>
                <c:pt idx="1196">
                  <c:v>43314</c:v>
                </c:pt>
                <c:pt idx="1197">
                  <c:v>43315</c:v>
                </c:pt>
                <c:pt idx="1198">
                  <c:v>43318</c:v>
                </c:pt>
                <c:pt idx="1199">
                  <c:v>43319</c:v>
                </c:pt>
                <c:pt idx="1200">
                  <c:v>43320</c:v>
                </c:pt>
                <c:pt idx="1201">
                  <c:v>43321</c:v>
                </c:pt>
                <c:pt idx="1202">
                  <c:v>43322</c:v>
                </c:pt>
                <c:pt idx="1203">
                  <c:v>43325</c:v>
                </c:pt>
                <c:pt idx="1204">
                  <c:v>43326</c:v>
                </c:pt>
                <c:pt idx="1205">
                  <c:v>43327</c:v>
                </c:pt>
                <c:pt idx="1206">
                  <c:v>43328</c:v>
                </c:pt>
                <c:pt idx="1207">
                  <c:v>43329</c:v>
                </c:pt>
                <c:pt idx="1208">
                  <c:v>43332</c:v>
                </c:pt>
                <c:pt idx="1209">
                  <c:v>43333</c:v>
                </c:pt>
                <c:pt idx="1210">
                  <c:v>43334</c:v>
                </c:pt>
                <c:pt idx="1211">
                  <c:v>43335</c:v>
                </c:pt>
                <c:pt idx="1212">
                  <c:v>43336</c:v>
                </c:pt>
                <c:pt idx="1213">
                  <c:v>43339</c:v>
                </c:pt>
                <c:pt idx="1214">
                  <c:v>43340</c:v>
                </c:pt>
                <c:pt idx="1215">
                  <c:v>43341</c:v>
                </c:pt>
                <c:pt idx="1216">
                  <c:v>43342</c:v>
                </c:pt>
                <c:pt idx="1217">
                  <c:v>43343</c:v>
                </c:pt>
                <c:pt idx="1218">
                  <c:v>43346</c:v>
                </c:pt>
                <c:pt idx="1219">
                  <c:v>43347</c:v>
                </c:pt>
                <c:pt idx="1220">
                  <c:v>43348</c:v>
                </c:pt>
                <c:pt idx="1221">
                  <c:v>43349</c:v>
                </c:pt>
                <c:pt idx="1222">
                  <c:v>43350</c:v>
                </c:pt>
                <c:pt idx="1223">
                  <c:v>43353</c:v>
                </c:pt>
                <c:pt idx="1224">
                  <c:v>43354</c:v>
                </c:pt>
                <c:pt idx="1225">
                  <c:v>43355</c:v>
                </c:pt>
                <c:pt idx="1226">
                  <c:v>43356</c:v>
                </c:pt>
                <c:pt idx="1227">
                  <c:v>43357</c:v>
                </c:pt>
                <c:pt idx="1228">
                  <c:v>43360</c:v>
                </c:pt>
                <c:pt idx="1229">
                  <c:v>43361</c:v>
                </c:pt>
                <c:pt idx="1230">
                  <c:v>43362</c:v>
                </c:pt>
                <c:pt idx="1231">
                  <c:v>43363</c:v>
                </c:pt>
                <c:pt idx="1232">
                  <c:v>43364</c:v>
                </c:pt>
                <c:pt idx="1233">
                  <c:v>43367</c:v>
                </c:pt>
                <c:pt idx="1234">
                  <c:v>43368</c:v>
                </c:pt>
                <c:pt idx="1235">
                  <c:v>43369</c:v>
                </c:pt>
                <c:pt idx="1236">
                  <c:v>43370</c:v>
                </c:pt>
                <c:pt idx="1237">
                  <c:v>43371</c:v>
                </c:pt>
                <c:pt idx="1238">
                  <c:v>43374</c:v>
                </c:pt>
                <c:pt idx="1239">
                  <c:v>43375</c:v>
                </c:pt>
                <c:pt idx="1240">
                  <c:v>43376</c:v>
                </c:pt>
                <c:pt idx="1241">
                  <c:v>43377</c:v>
                </c:pt>
                <c:pt idx="1242">
                  <c:v>43378</c:v>
                </c:pt>
                <c:pt idx="1243">
                  <c:v>43381</c:v>
                </c:pt>
                <c:pt idx="1244">
                  <c:v>43382</c:v>
                </c:pt>
                <c:pt idx="1245">
                  <c:v>43383</c:v>
                </c:pt>
                <c:pt idx="1246">
                  <c:v>43384</c:v>
                </c:pt>
                <c:pt idx="1247">
                  <c:v>43385</c:v>
                </c:pt>
                <c:pt idx="1248">
                  <c:v>43388</c:v>
                </c:pt>
                <c:pt idx="1249">
                  <c:v>43389</c:v>
                </c:pt>
                <c:pt idx="1250">
                  <c:v>43390</c:v>
                </c:pt>
                <c:pt idx="1251">
                  <c:v>43391</c:v>
                </c:pt>
                <c:pt idx="1252">
                  <c:v>43392</c:v>
                </c:pt>
                <c:pt idx="1253">
                  <c:v>43395</c:v>
                </c:pt>
                <c:pt idx="1254">
                  <c:v>43396</c:v>
                </c:pt>
                <c:pt idx="1255">
                  <c:v>43397</c:v>
                </c:pt>
                <c:pt idx="1256">
                  <c:v>43398</c:v>
                </c:pt>
                <c:pt idx="1257">
                  <c:v>43399</c:v>
                </c:pt>
                <c:pt idx="1258">
                  <c:v>43402</c:v>
                </c:pt>
                <c:pt idx="1259">
                  <c:v>43403</c:v>
                </c:pt>
                <c:pt idx="1260">
                  <c:v>43404</c:v>
                </c:pt>
                <c:pt idx="1261">
                  <c:v>43405</c:v>
                </c:pt>
                <c:pt idx="1262">
                  <c:v>43406</c:v>
                </c:pt>
                <c:pt idx="1263">
                  <c:v>43409</c:v>
                </c:pt>
                <c:pt idx="1264">
                  <c:v>43410</c:v>
                </c:pt>
                <c:pt idx="1265">
                  <c:v>43411</c:v>
                </c:pt>
                <c:pt idx="1266">
                  <c:v>43412</c:v>
                </c:pt>
                <c:pt idx="1267">
                  <c:v>43413</c:v>
                </c:pt>
                <c:pt idx="1268">
                  <c:v>43416</c:v>
                </c:pt>
                <c:pt idx="1269">
                  <c:v>43417</c:v>
                </c:pt>
                <c:pt idx="1270">
                  <c:v>43418</c:v>
                </c:pt>
                <c:pt idx="1271">
                  <c:v>43419</c:v>
                </c:pt>
                <c:pt idx="1272">
                  <c:v>43420</c:v>
                </c:pt>
                <c:pt idx="1273">
                  <c:v>43423</c:v>
                </c:pt>
                <c:pt idx="1274">
                  <c:v>43424</c:v>
                </c:pt>
                <c:pt idx="1275">
                  <c:v>43425</c:v>
                </c:pt>
                <c:pt idx="1276">
                  <c:v>43426</c:v>
                </c:pt>
                <c:pt idx="1277">
                  <c:v>43427</c:v>
                </c:pt>
                <c:pt idx="1278">
                  <c:v>43430</c:v>
                </c:pt>
                <c:pt idx="1279">
                  <c:v>43431</c:v>
                </c:pt>
                <c:pt idx="1280">
                  <c:v>43432</c:v>
                </c:pt>
                <c:pt idx="1281">
                  <c:v>43433</c:v>
                </c:pt>
                <c:pt idx="1282">
                  <c:v>43434</c:v>
                </c:pt>
                <c:pt idx="1283">
                  <c:v>43437</c:v>
                </c:pt>
                <c:pt idx="1284">
                  <c:v>43438</c:v>
                </c:pt>
                <c:pt idx="1285">
                  <c:v>43439</c:v>
                </c:pt>
                <c:pt idx="1286">
                  <c:v>43440</c:v>
                </c:pt>
                <c:pt idx="1287">
                  <c:v>43441</c:v>
                </c:pt>
                <c:pt idx="1288">
                  <c:v>43444</c:v>
                </c:pt>
                <c:pt idx="1289">
                  <c:v>43445</c:v>
                </c:pt>
                <c:pt idx="1290">
                  <c:v>43446</c:v>
                </c:pt>
                <c:pt idx="1291">
                  <c:v>43447</c:v>
                </c:pt>
                <c:pt idx="1292">
                  <c:v>43448</c:v>
                </c:pt>
                <c:pt idx="1293">
                  <c:v>43451</c:v>
                </c:pt>
                <c:pt idx="1294">
                  <c:v>43452</c:v>
                </c:pt>
                <c:pt idx="1295">
                  <c:v>43453</c:v>
                </c:pt>
                <c:pt idx="1296">
                  <c:v>43454</c:v>
                </c:pt>
                <c:pt idx="1297">
                  <c:v>43455</c:v>
                </c:pt>
                <c:pt idx="1298">
                  <c:v>43458</c:v>
                </c:pt>
                <c:pt idx="1299">
                  <c:v>43459</c:v>
                </c:pt>
                <c:pt idx="1300">
                  <c:v>43460</c:v>
                </c:pt>
                <c:pt idx="1301">
                  <c:v>43461</c:v>
                </c:pt>
                <c:pt idx="1302">
                  <c:v>43462</c:v>
                </c:pt>
                <c:pt idx="1303">
                  <c:v>43465</c:v>
                </c:pt>
                <c:pt idx="1304">
                  <c:v>43466</c:v>
                </c:pt>
                <c:pt idx="1305">
                  <c:v>43467</c:v>
                </c:pt>
                <c:pt idx="1306">
                  <c:v>43468</c:v>
                </c:pt>
                <c:pt idx="1307">
                  <c:v>43469</c:v>
                </c:pt>
                <c:pt idx="1308">
                  <c:v>43472</c:v>
                </c:pt>
                <c:pt idx="1309">
                  <c:v>43473</c:v>
                </c:pt>
                <c:pt idx="1310">
                  <c:v>43474</c:v>
                </c:pt>
                <c:pt idx="1311">
                  <c:v>43475</c:v>
                </c:pt>
                <c:pt idx="1312">
                  <c:v>43476</c:v>
                </c:pt>
                <c:pt idx="1313">
                  <c:v>43479</c:v>
                </c:pt>
                <c:pt idx="1314">
                  <c:v>43480</c:v>
                </c:pt>
                <c:pt idx="1315">
                  <c:v>43481</c:v>
                </c:pt>
                <c:pt idx="1316">
                  <c:v>43482</c:v>
                </c:pt>
                <c:pt idx="1317">
                  <c:v>43483</c:v>
                </c:pt>
                <c:pt idx="1318">
                  <c:v>43486</c:v>
                </c:pt>
                <c:pt idx="1319">
                  <c:v>43487</c:v>
                </c:pt>
                <c:pt idx="1320">
                  <c:v>43488</c:v>
                </c:pt>
                <c:pt idx="1321">
                  <c:v>43489</c:v>
                </c:pt>
                <c:pt idx="1322">
                  <c:v>43490</c:v>
                </c:pt>
                <c:pt idx="1323">
                  <c:v>43493</c:v>
                </c:pt>
                <c:pt idx="1324">
                  <c:v>43494</c:v>
                </c:pt>
                <c:pt idx="1325">
                  <c:v>43495</c:v>
                </c:pt>
                <c:pt idx="1326">
                  <c:v>43496</c:v>
                </c:pt>
                <c:pt idx="1327">
                  <c:v>43497</c:v>
                </c:pt>
                <c:pt idx="1328">
                  <c:v>43500</c:v>
                </c:pt>
                <c:pt idx="1329">
                  <c:v>43501</c:v>
                </c:pt>
                <c:pt idx="1330">
                  <c:v>43502</c:v>
                </c:pt>
                <c:pt idx="1331">
                  <c:v>43503</c:v>
                </c:pt>
                <c:pt idx="1332">
                  <c:v>43504</c:v>
                </c:pt>
                <c:pt idx="1333">
                  <c:v>43507</c:v>
                </c:pt>
                <c:pt idx="1334">
                  <c:v>43508</c:v>
                </c:pt>
                <c:pt idx="1335">
                  <c:v>43509</c:v>
                </c:pt>
                <c:pt idx="1336">
                  <c:v>43510</c:v>
                </c:pt>
                <c:pt idx="1337">
                  <c:v>43511</c:v>
                </c:pt>
                <c:pt idx="1338">
                  <c:v>43514</c:v>
                </c:pt>
                <c:pt idx="1339">
                  <c:v>43515</c:v>
                </c:pt>
                <c:pt idx="1340">
                  <c:v>43516</c:v>
                </c:pt>
                <c:pt idx="1341">
                  <c:v>43517</c:v>
                </c:pt>
                <c:pt idx="1342">
                  <c:v>43518</c:v>
                </c:pt>
                <c:pt idx="1343">
                  <c:v>43521</c:v>
                </c:pt>
                <c:pt idx="1344">
                  <c:v>43522</c:v>
                </c:pt>
                <c:pt idx="1345">
                  <c:v>43523</c:v>
                </c:pt>
                <c:pt idx="1346">
                  <c:v>43524</c:v>
                </c:pt>
                <c:pt idx="1347">
                  <c:v>43525</c:v>
                </c:pt>
                <c:pt idx="1348">
                  <c:v>43528</c:v>
                </c:pt>
                <c:pt idx="1349">
                  <c:v>43529</c:v>
                </c:pt>
                <c:pt idx="1350">
                  <c:v>43530</c:v>
                </c:pt>
                <c:pt idx="1351">
                  <c:v>43531</c:v>
                </c:pt>
                <c:pt idx="1352">
                  <c:v>43532</c:v>
                </c:pt>
                <c:pt idx="1353">
                  <c:v>43535</c:v>
                </c:pt>
                <c:pt idx="1354">
                  <c:v>43536</c:v>
                </c:pt>
                <c:pt idx="1355">
                  <c:v>43537</c:v>
                </c:pt>
                <c:pt idx="1356">
                  <c:v>43538</c:v>
                </c:pt>
                <c:pt idx="1357">
                  <c:v>43539</c:v>
                </c:pt>
                <c:pt idx="1358">
                  <c:v>43542</c:v>
                </c:pt>
                <c:pt idx="1359">
                  <c:v>43543</c:v>
                </c:pt>
                <c:pt idx="1360">
                  <c:v>43544</c:v>
                </c:pt>
                <c:pt idx="1361">
                  <c:v>43545</c:v>
                </c:pt>
                <c:pt idx="1362">
                  <c:v>43546</c:v>
                </c:pt>
                <c:pt idx="1363">
                  <c:v>43549</c:v>
                </c:pt>
                <c:pt idx="1364">
                  <c:v>43550</c:v>
                </c:pt>
                <c:pt idx="1365">
                  <c:v>43551</c:v>
                </c:pt>
                <c:pt idx="1366">
                  <c:v>43552</c:v>
                </c:pt>
                <c:pt idx="1367">
                  <c:v>43553</c:v>
                </c:pt>
                <c:pt idx="1368">
                  <c:v>43556</c:v>
                </c:pt>
                <c:pt idx="1369">
                  <c:v>43557</c:v>
                </c:pt>
                <c:pt idx="1370">
                  <c:v>43558</c:v>
                </c:pt>
                <c:pt idx="1371">
                  <c:v>43559</c:v>
                </c:pt>
                <c:pt idx="1372">
                  <c:v>43560</c:v>
                </c:pt>
                <c:pt idx="1373">
                  <c:v>43563</c:v>
                </c:pt>
                <c:pt idx="1374">
                  <c:v>43564</c:v>
                </c:pt>
                <c:pt idx="1375">
                  <c:v>43565</c:v>
                </c:pt>
                <c:pt idx="1376">
                  <c:v>43566</c:v>
                </c:pt>
                <c:pt idx="1377">
                  <c:v>43567</c:v>
                </c:pt>
                <c:pt idx="1378">
                  <c:v>43570</c:v>
                </c:pt>
                <c:pt idx="1379">
                  <c:v>43571</c:v>
                </c:pt>
                <c:pt idx="1380">
                  <c:v>43572</c:v>
                </c:pt>
                <c:pt idx="1381">
                  <c:v>43573</c:v>
                </c:pt>
                <c:pt idx="1382">
                  <c:v>43574</c:v>
                </c:pt>
                <c:pt idx="1383">
                  <c:v>43577</c:v>
                </c:pt>
                <c:pt idx="1384">
                  <c:v>43578</c:v>
                </c:pt>
                <c:pt idx="1385">
                  <c:v>43579</c:v>
                </c:pt>
                <c:pt idx="1386">
                  <c:v>43580</c:v>
                </c:pt>
                <c:pt idx="1387">
                  <c:v>43581</c:v>
                </c:pt>
                <c:pt idx="1388">
                  <c:v>43584</c:v>
                </c:pt>
                <c:pt idx="1389">
                  <c:v>43585</c:v>
                </c:pt>
                <c:pt idx="1390">
                  <c:v>43586</c:v>
                </c:pt>
                <c:pt idx="1391">
                  <c:v>43587</c:v>
                </c:pt>
                <c:pt idx="1392">
                  <c:v>43588</c:v>
                </c:pt>
                <c:pt idx="1393">
                  <c:v>43591</c:v>
                </c:pt>
                <c:pt idx="1394">
                  <c:v>43592</c:v>
                </c:pt>
                <c:pt idx="1395">
                  <c:v>43593</c:v>
                </c:pt>
                <c:pt idx="1396">
                  <c:v>43594</c:v>
                </c:pt>
                <c:pt idx="1397">
                  <c:v>43595</c:v>
                </c:pt>
                <c:pt idx="1398">
                  <c:v>43598</c:v>
                </c:pt>
                <c:pt idx="1399">
                  <c:v>43599</c:v>
                </c:pt>
                <c:pt idx="1400">
                  <c:v>43600</c:v>
                </c:pt>
                <c:pt idx="1401">
                  <c:v>43601</c:v>
                </c:pt>
                <c:pt idx="1402">
                  <c:v>43602</c:v>
                </c:pt>
                <c:pt idx="1403">
                  <c:v>43605</c:v>
                </c:pt>
                <c:pt idx="1404">
                  <c:v>43606</c:v>
                </c:pt>
                <c:pt idx="1405">
                  <c:v>43607</c:v>
                </c:pt>
                <c:pt idx="1406">
                  <c:v>43608</c:v>
                </c:pt>
                <c:pt idx="1407">
                  <c:v>43609</c:v>
                </c:pt>
                <c:pt idx="1408">
                  <c:v>43612</c:v>
                </c:pt>
                <c:pt idx="1409">
                  <c:v>43613</c:v>
                </c:pt>
                <c:pt idx="1410">
                  <c:v>43614</c:v>
                </c:pt>
                <c:pt idx="1411">
                  <c:v>43615</c:v>
                </c:pt>
                <c:pt idx="1412">
                  <c:v>43616</c:v>
                </c:pt>
                <c:pt idx="1413">
                  <c:v>43619</c:v>
                </c:pt>
                <c:pt idx="1414">
                  <c:v>43620</c:v>
                </c:pt>
                <c:pt idx="1415">
                  <c:v>43621</c:v>
                </c:pt>
                <c:pt idx="1416">
                  <c:v>43622</c:v>
                </c:pt>
                <c:pt idx="1417">
                  <c:v>43623</c:v>
                </c:pt>
                <c:pt idx="1418">
                  <c:v>43626</c:v>
                </c:pt>
                <c:pt idx="1419">
                  <c:v>43627</c:v>
                </c:pt>
                <c:pt idx="1420">
                  <c:v>43628</c:v>
                </c:pt>
                <c:pt idx="1421">
                  <c:v>43629</c:v>
                </c:pt>
                <c:pt idx="1422">
                  <c:v>43630</c:v>
                </c:pt>
                <c:pt idx="1423">
                  <c:v>43633</c:v>
                </c:pt>
                <c:pt idx="1424">
                  <c:v>43634</c:v>
                </c:pt>
                <c:pt idx="1425">
                  <c:v>43635</c:v>
                </c:pt>
                <c:pt idx="1426">
                  <c:v>43636</c:v>
                </c:pt>
                <c:pt idx="1427">
                  <c:v>43637</c:v>
                </c:pt>
                <c:pt idx="1428">
                  <c:v>43640</c:v>
                </c:pt>
                <c:pt idx="1429">
                  <c:v>43641</c:v>
                </c:pt>
                <c:pt idx="1430">
                  <c:v>43642</c:v>
                </c:pt>
              </c:numCache>
            </c:numRef>
          </c:cat>
          <c:val>
            <c:numRef>
              <c:f>Sheet1!$B$7:$B$1437</c:f>
              <c:numCache>
                <c:formatCode>_-* #,##0.0_-;\-* #,##0.0_-;_-* "-"??_-;_-@_-</c:formatCode>
                <c:ptCount val="1431"/>
                <c:pt idx="0">
                  <c:v>10</c:v>
                </c:pt>
                <c:pt idx="1">
                  <c:v>10</c:v>
                </c:pt>
                <c:pt idx="2">
                  <c:v>10</c:v>
                </c:pt>
                <c:pt idx="3">
                  <c:v>10</c:v>
                </c:pt>
                <c:pt idx="4">
                  <c:v>10</c:v>
                </c:pt>
                <c:pt idx="5">
                  <c:v>10</c:v>
                </c:pt>
                <c:pt idx="6">
                  <c:v>10</c:v>
                </c:pt>
                <c:pt idx="7">
                  <c:v>10</c:v>
                </c:pt>
                <c:pt idx="8">
                  <c:v>10</c:v>
                </c:pt>
                <c:pt idx="9">
                  <c:v>10</c:v>
                </c:pt>
                <c:pt idx="10">
                  <c:v>10.5</c:v>
                </c:pt>
                <c:pt idx="11">
                  <c:v>10.5</c:v>
                </c:pt>
                <c:pt idx="12">
                  <c:v>10.5</c:v>
                </c:pt>
                <c:pt idx="13">
                  <c:v>10.5</c:v>
                </c:pt>
                <c:pt idx="14">
                  <c:v>10.5</c:v>
                </c:pt>
                <c:pt idx="15">
                  <c:v>10.5</c:v>
                </c:pt>
                <c:pt idx="16">
                  <c:v>10.5</c:v>
                </c:pt>
                <c:pt idx="17">
                  <c:v>10.5</c:v>
                </c:pt>
                <c:pt idx="18">
                  <c:v>10.5</c:v>
                </c:pt>
                <c:pt idx="19">
                  <c:v>10.5</c:v>
                </c:pt>
                <c:pt idx="20">
                  <c:v>10.5</c:v>
                </c:pt>
                <c:pt idx="21">
                  <c:v>10.5</c:v>
                </c:pt>
                <c:pt idx="22">
                  <c:v>10.5</c:v>
                </c:pt>
                <c:pt idx="23">
                  <c:v>10.5</c:v>
                </c:pt>
                <c:pt idx="24">
                  <c:v>10.5</c:v>
                </c:pt>
                <c:pt idx="25">
                  <c:v>10.5</c:v>
                </c:pt>
                <c:pt idx="26">
                  <c:v>10.5</c:v>
                </c:pt>
                <c:pt idx="27">
                  <c:v>10.5</c:v>
                </c:pt>
                <c:pt idx="28">
                  <c:v>10.5</c:v>
                </c:pt>
                <c:pt idx="29">
                  <c:v>10.5</c:v>
                </c:pt>
                <c:pt idx="30">
                  <c:v>10.5</c:v>
                </c:pt>
                <c:pt idx="31">
                  <c:v>10.5</c:v>
                </c:pt>
                <c:pt idx="32">
                  <c:v>10.5</c:v>
                </c:pt>
                <c:pt idx="33">
                  <c:v>10.5</c:v>
                </c:pt>
                <c:pt idx="34">
                  <c:v>10.5</c:v>
                </c:pt>
                <c:pt idx="35">
                  <c:v>10.5</c:v>
                </c:pt>
                <c:pt idx="36">
                  <c:v>10.5</c:v>
                </c:pt>
                <c:pt idx="37">
                  <c:v>10.5</c:v>
                </c:pt>
                <c:pt idx="38">
                  <c:v>10.5</c:v>
                </c:pt>
                <c:pt idx="39">
                  <c:v>10.5</c:v>
                </c:pt>
                <c:pt idx="40">
                  <c:v>10.75</c:v>
                </c:pt>
                <c:pt idx="41">
                  <c:v>10.75</c:v>
                </c:pt>
                <c:pt idx="42">
                  <c:v>10.75</c:v>
                </c:pt>
                <c:pt idx="43">
                  <c:v>10.75</c:v>
                </c:pt>
                <c:pt idx="44">
                  <c:v>10.75</c:v>
                </c:pt>
                <c:pt idx="45">
                  <c:v>10.75</c:v>
                </c:pt>
                <c:pt idx="46">
                  <c:v>10.75</c:v>
                </c:pt>
                <c:pt idx="47">
                  <c:v>10.75</c:v>
                </c:pt>
                <c:pt idx="48">
                  <c:v>10.75</c:v>
                </c:pt>
                <c:pt idx="49">
                  <c:v>10.75</c:v>
                </c:pt>
                <c:pt idx="50">
                  <c:v>10.75</c:v>
                </c:pt>
                <c:pt idx="51">
                  <c:v>10.75</c:v>
                </c:pt>
                <c:pt idx="52">
                  <c:v>10.75</c:v>
                </c:pt>
                <c:pt idx="53">
                  <c:v>10.75</c:v>
                </c:pt>
                <c:pt idx="54">
                  <c:v>10.75</c:v>
                </c:pt>
                <c:pt idx="55">
                  <c:v>10.75</c:v>
                </c:pt>
                <c:pt idx="56">
                  <c:v>10.75</c:v>
                </c:pt>
                <c:pt idx="57">
                  <c:v>10.75</c:v>
                </c:pt>
                <c:pt idx="58">
                  <c:v>10.75</c:v>
                </c:pt>
                <c:pt idx="59">
                  <c:v>10.75</c:v>
                </c:pt>
                <c:pt idx="60">
                  <c:v>10.75</c:v>
                </c:pt>
                <c:pt idx="61">
                  <c:v>10.75</c:v>
                </c:pt>
                <c:pt idx="62">
                  <c:v>10.75</c:v>
                </c:pt>
                <c:pt idx="63">
                  <c:v>10.75</c:v>
                </c:pt>
                <c:pt idx="64">
                  <c:v>10.75</c:v>
                </c:pt>
                <c:pt idx="65">
                  <c:v>11</c:v>
                </c:pt>
                <c:pt idx="66">
                  <c:v>11</c:v>
                </c:pt>
                <c:pt idx="67">
                  <c:v>11</c:v>
                </c:pt>
                <c:pt idx="68">
                  <c:v>11</c:v>
                </c:pt>
                <c:pt idx="69">
                  <c:v>11</c:v>
                </c:pt>
                <c:pt idx="70">
                  <c:v>11</c:v>
                </c:pt>
                <c:pt idx="71">
                  <c:v>11</c:v>
                </c:pt>
                <c:pt idx="72">
                  <c:v>11</c:v>
                </c:pt>
                <c:pt idx="73">
                  <c:v>11</c:v>
                </c:pt>
                <c:pt idx="74">
                  <c:v>11</c:v>
                </c:pt>
                <c:pt idx="75">
                  <c:v>11</c:v>
                </c:pt>
                <c:pt idx="76">
                  <c:v>11</c:v>
                </c:pt>
                <c:pt idx="77">
                  <c:v>11</c:v>
                </c:pt>
                <c:pt idx="78">
                  <c:v>11</c:v>
                </c:pt>
                <c:pt idx="79">
                  <c:v>11</c:v>
                </c:pt>
                <c:pt idx="80">
                  <c:v>11</c:v>
                </c:pt>
                <c:pt idx="81">
                  <c:v>11</c:v>
                </c:pt>
                <c:pt idx="82">
                  <c:v>11</c:v>
                </c:pt>
                <c:pt idx="83">
                  <c:v>11</c:v>
                </c:pt>
                <c:pt idx="84">
                  <c:v>11</c:v>
                </c:pt>
                <c:pt idx="85">
                  <c:v>11</c:v>
                </c:pt>
                <c:pt idx="86">
                  <c:v>11</c:v>
                </c:pt>
                <c:pt idx="87">
                  <c:v>11</c:v>
                </c:pt>
                <c:pt idx="88">
                  <c:v>11</c:v>
                </c:pt>
                <c:pt idx="89">
                  <c:v>11</c:v>
                </c:pt>
                <c:pt idx="90">
                  <c:v>11</c:v>
                </c:pt>
                <c:pt idx="91">
                  <c:v>11</c:v>
                </c:pt>
                <c:pt idx="92">
                  <c:v>11</c:v>
                </c:pt>
                <c:pt idx="93">
                  <c:v>11</c:v>
                </c:pt>
                <c:pt idx="94">
                  <c:v>11</c:v>
                </c:pt>
                <c:pt idx="95">
                  <c:v>11</c:v>
                </c:pt>
                <c:pt idx="96">
                  <c:v>11</c:v>
                </c:pt>
                <c:pt idx="97">
                  <c:v>11</c:v>
                </c:pt>
                <c:pt idx="98">
                  <c:v>11</c:v>
                </c:pt>
                <c:pt idx="99">
                  <c:v>11</c:v>
                </c:pt>
                <c:pt idx="100">
                  <c:v>11</c:v>
                </c:pt>
                <c:pt idx="101">
                  <c:v>11</c:v>
                </c:pt>
                <c:pt idx="102">
                  <c:v>11</c:v>
                </c:pt>
                <c:pt idx="103">
                  <c:v>11</c:v>
                </c:pt>
                <c:pt idx="104">
                  <c:v>11</c:v>
                </c:pt>
                <c:pt idx="105">
                  <c:v>11</c:v>
                </c:pt>
                <c:pt idx="106">
                  <c:v>11</c:v>
                </c:pt>
                <c:pt idx="107">
                  <c:v>11</c:v>
                </c:pt>
                <c:pt idx="108">
                  <c:v>11</c:v>
                </c:pt>
                <c:pt idx="109">
                  <c:v>11</c:v>
                </c:pt>
                <c:pt idx="110">
                  <c:v>11</c:v>
                </c:pt>
                <c:pt idx="111">
                  <c:v>11</c:v>
                </c:pt>
                <c:pt idx="112">
                  <c:v>11</c:v>
                </c:pt>
                <c:pt idx="113">
                  <c:v>11</c:v>
                </c:pt>
                <c:pt idx="114">
                  <c:v>11</c:v>
                </c:pt>
                <c:pt idx="115">
                  <c:v>11</c:v>
                </c:pt>
                <c:pt idx="116">
                  <c:v>11</c:v>
                </c:pt>
                <c:pt idx="117">
                  <c:v>11</c:v>
                </c:pt>
                <c:pt idx="118">
                  <c:v>11</c:v>
                </c:pt>
                <c:pt idx="119">
                  <c:v>11</c:v>
                </c:pt>
                <c:pt idx="120">
                  <c:v>11</c:v>
                </c:pt>
                <c:pt idx="121">
                  <c:v>11</c:v>
                </c:pt>
                <c:pt idx="122">
                  <c:v>11</c:v>
                </c:pt>
                <c:pt idx="123">
                  <c:v>11</c:v>
                </c:pt>
                <c:pt idx="124">
                  <c:v>11</c:v>
                </c:pt>
                <c:pt idx="125">
                  <c:v>11</c:v>
                </c:pt>
                <c:pt idx="126">
                  <c:v>11</c:v>
                </c:pt>
                <c:pt idx="127">
                  <c:v>11</c:v>
                </c:pt>
                <c:pt idx="128">
                  <c:v>11</c:v>
                </c:pt>
                <c:pt idx="129">
                  <c:v>11</c:v>
                </c:pt>
                <c:pt idx="130">
                  <c:v>11</c:v>
                </c:pt>
                <c:pt idx="131">
                  <c:v>11</c:v>
                </c:pt>
                <c:pt idx="132">
                  <c:v>11</c:v>
                </c:pt>
                <c:pt idx="133">
                  <c:v>11</c:v>
                </c:pt>
                <c:pt idx="134">
                  <c:v>11</c:v>
                </c:pt>
                <c:pt idx="135">
                  <c:v>11</c:v>
                </c:pt>
                <c:pt idx="136">
                  <c:v>11</c:v>
                </c:pt>
                <c:pt idx="137">
                  <c:v>11</c:v>
                </c:pt>
                <c:pt idx="138">
                  <c:v>11</c:v>
                </c:pt>
                <c:pt idx="139">
                  <c:v>11</c:v>
                </c:pt>
                <c:pt idx="140">
                  <c:v>11</c:v>
                </c:pt>
                <c:pt idx="141">
                  <c:v>11</c:v>
                </c:pt>
                <c:pt idx="142">
                  <c:v>11</c:v>
                </c:pt>
                <c:pt idx="143">
                  <c:v>11</c:v>
                </c:pt>
                <c:pt idx="144">
                  <c:v>11</c:v>
                </c:pt>
                <c:pt idx="145">
                  <c:v>11</c:v>
                </c:pt>
                <c:pt idx="146">
                  <c:v>11</c:v>
                </c:pt>
                <c:pt idx="147">
                  <c:v>11</c:v>
                </c:pt>
                <c:pt idx="148">
                  <c:v>11</c:v>
                </c:pt>
                <c:pt idx="149">
                  <c:v>11</c:v>
                </c:pt>
                <c:pt idx="150">
                  <c:v>11</c:v>
                </c:pt>
                <c:pt idx="151">
                  <c:v>11</c:v>
                </c:pt>
                <c:pt idx="152">
                  <c:v>11</c:v>
                </c:pt>
                <c:pt idx="153">
                  <c:v>11</c:v>
                </c:pt>
                <c:pt idx="154">
                  <c:v>11</c:v>
                </c:pt>
                <c:pt idx="155">
                  <c:v>11</c:v>
                </c:pt>
                <c:pt idx="156">
                  <c:v>11</c:v>
                </c:pt>
                <c:pt idx="157">
                  <c:v>11</c:v>
                </c:pt>
                <c:pt idx="158">
                  <c:v>11</c:v>
                </c:pt>
                <c:pt idx="159">
                  <c:v>11</c:v>
                </c:pt>
                <c:pt idx="160">
                  <c:v>11</c:v>
                </c:pt>
                <c:pt idx="161">
                  <c:v>11</c:v>
                </c:pt>
                <c:pt idx="162">
                  <c:v>11</c:v>
                </c:pt>
                <c:pt idx="163">
                  <c:v>11</c:v>
                </c:pt>
                <c:pt idx="164">
                  <c:v>11</c:v>
                </c:pt>
                <c:pt idx="165">
                  <c:v>11</c:v>
                </c:pt>
                <c:pt idx="166">
                  <c:v>11</c:v>
                </c:pt>
                <c:pt idx="167">
                  <c:v>11</c:v>
                </c:pt>
                <c:pt idx="168">
                  <c:v>11</c:v>
                </c:pt>
                <c:pt idx="169">
                  <c:v>11</c:v>
                </c:pt>
                <c:pt idx="170">
                  <c:v>11</c:v>
                </c:pt>
                <c:pt idx="171">
                  <c:v>11</c:v>
                </c:pt>
                <c:pt idx="172">
                  <c:v>11</c:v>
                </c:pt>
                <c:pt idx="173">
                  <c:v>11</c:v>
                </c:pt>
                <c:pt idx="174">
                  <c:v>11</c:v>
                </c:pt>
                <c:pt idx="175">
                  <c:v>11</c:v>
                </c:pt>
                <c:pt idx="176">
                  <c:v>11</c:v>
                </c:pt>
                <c:pt idx="177">
                  <c:v>11</c:v>
                </c:pt>
                <c:pt idx="178">
                  <c:v>11</c:v>
                </c:pt>
                <c:pt idx="179">
                  <c:v>11</c:v>
                </c:pt>
                <c:pt idx="180">
                  <c:v>11</c:v>
                </c:pt>
                <c:pt idx="181">
                  <c:v>11</c:v>
                </c:pt>
                <c:pt idx="182">
                  <c:v>11</c:v>
                </c:pt>
                <c:pt idx="183">
                  <c:v>11</c:v>
                </c:pt>
                <c:pt idx="184">
                  <c:v>11</c:v>
                </c:pt>
                <c:pt idx="185">
                  <c:v>11</c:v>
                </c:pt>
                <c:pt idx="186">
                  <c:v>11</c:v>
                </c:pt>
                <c:pt idx="187">
                  <c:v>11</c:v>
                </c:pt>
                <c:pt idx="188">
                  <c:v>11</c:v>
                </c:pt>
                <c:pt idx="189">
                  <c:v>11</c:v>
                </c:pt>
                <c:pt idx="190">
                  <c:v>11</c:v>
                </c:pt>
                <c:pt idx="191">
                  <c:v>11</c:v>
                </c:pt>
                <c:pt idx="192">
                  <c:v>11</c:v>
                </c:pt>
                <c:pt idx="193">
                  <c:v>11</c:v>
                </c:pt>
                <c:pt idx="194">
                  <c:v>11</c:v>
                </c:pt>
                <c:pt idx="195">
                  <c:v>11</c:v>
                </c:pt>
                <c:pt idx="196">
                  <c:v>11</c:v>
                </c:pt>
                <c:pt idx="197">
                  <c:v>11</c:v>
                </c:pt>
                <c:pt idx="198">
                  <c:v>11</c:v>
                </c:pt>
                <c:pt idx="199">
                  <c:v>11</c:v>
                </c:pt>
                <c:pt idx="200">
                  <c:v>11</c:v>
                </c:pt>
                <c:pt idx="201">
                  <c:v>11</c:v>
                </c:pt>
                <c:pt idx="202">
                  <c:v>11</c:v>
                </c:pt>
                <c:pt idx="203">
                  <c:v>11</c:v>
                </c:pt>
                <c:pt idx="204">
                  <c:v>11</c:v>
                </c:pt>
                <c:pt idx="205">
                  <c:v>11</c:v>
                </c:pt>
                <c:pt idx="206">
                  <c:v>11</c:v>
                </c:pt>
                <c:pt idx="207">
                  <c:v>11</c:v>
                </c:pt>
                <c:pt idx="208">
                  <c:v>11</c:v>
                </c:pt>
                <c:pt idx="209">
                  <c:v>11</c:v>
                </c:pt>
                <c:pt idx="210">
                  <c:v>11</c:v>
                </c:pt>
                <c:pt idx="211">
                  <c:v>11</c:v>
                </c:pt>
                <c:pt idx="212">
                  <c:v>11</c:v>
                </c:pt>
                <c:pt idx="213">
                  <c:v>11</c:v>
                </c:pt>
                <c:pt idx="214">
                  <c:v>11</c:v>
                </c:pt>
                <c:pt idx="215">
                  <c:v>11.25</c:v>
                </c:pt>
                <c:pt idx="216">
                  <c:v>11.25</c:v>
                </c:pt>
                <c:pt idx="217">
                  <c:v>11.25</c:v>
                </c:pt>
                <c:pt idx="218">
                  <c:v>11.25</c:v>
                </c:pt>
                <c:pt idx="219">
                  <c:v>11.25</c:v>
                </c:pt>
                <c:pt idx="220">
                  <c:v>11.25</c:v>
                </c:pt>
                <c:pt idx="221">
                  <c:v>11.25</c:v>
                </c:pt>
                <c:pt idx="222">
                  <c:v>11.25</c:v>
                </c:pt>
                <c:pt idx="223">
                  <c:v>11.25</c:v>
                </c:pt>
                <c:pt idx="224">
                  <c:v>11.25</c:v>
                </c:pt>
                <c:pt idx="225">
                  <c:v>11.25</c:v>
                </c:pt>
                <c:pt idx="226">
                  <c:v>11.25</c:v>
                </c:pt>
                <c:pt idx="227">
                  <c:v>11.25</c:v>
                </c:pt>
                <c:pt idx="228">
                  <c:v>11.25</c:v>
                </c:pt>
                <c:pt idx="229">
                  <c:v>11.25</c:v>
                </c:pt>
                <c:pt idx="230">
                  <c:v>11.25</c:v>
                </c:pt>
                <c:pt idx="231">
                  <c:v>11.25</c:v>
                </c:pt>
                <c:pt idx="232">
                  <c:v>11.25</c:v>
                </c:pt>
                <c:pt idx="233">
                  <c:v>11.25</c:v>
                </c:pt>
                <c:pt idx="234">
                  <c:v>11.25</c:v>
                </c:pt>
                <c:pt idx="235">
                  <c:v>11.25</c:v>
                </c:pt>
                <c:pt idx="236">
                  <c:v>11.25</c:v>
                </c:pt>
                <c:pt idx="237">
                  <c:v>11.25</c:v>
                </c:pt>
                <c:pt idx="238">
                  <c:v>11.25</c:v>
                </c:pt>
                <c:pt idx="239">
                  <c:v>11.25</c:v>
                </c:pt>
                <c:pt idx="240">
                  <c:v>11.75</c:v>
                </c:pt>
                <c:pt idx="241">
                  <c:v>11.75</c:v>
                </c:pt>
                <c:pt idx="242">
                  <c:v>11.75</c:v>
                </c:pt>
                <c:pt idx="243">
                  <c:v>11.75</c:v>
                </c:pt>
                <c:pt idx="244">
                  <c:v>11.75</c:v>
                </c:pt>
                <c:pt idx="245">
                  <c:v>11.75</c:v>
                </c:pt>
                <c:pt idx="246">
                  <c:v>11.75</c:v>
                </c:pt>
                <c:pt idx="247">
                  <c:v>11.75</c:v>
                </c:pt>
                <c:pt idx="248">
                  <c:v>11.75</c:v>
                </c:pt>
                <c:pt idx="249">
                  <c:v>11.75</c:v>
                </c:pt>
                <c:pt idx="250">
                  <c:v>11.75</c:v>
                </c:pt>
                <c:pt idx="251">
                  <c:v>11.75</c:v>
                </c:pt>
                <c:pt idx="252">
                  <c:v>11.75</c:v>
                </c:pt>
                <c:pt idx="253">
                  <c:v>11.75</c:v>
                </c:pt>
                <c:pt idx="254">
                  <c:v>11.75</c:v>
                </c:pt>
                <c:pt idx="255">
                  <c:v>11.75</c:v>
                </c:pt>
                <c:pt idx="256">
                  <c:v>11.75</c:v>
                </c:pt>
                <c:pt idx="257">
                  <c:v>11.75</c:v>
                </c:pt>
                <c:pt idx="258">
                  <c:v>11.75</c:v>
                </c:pt>
                <c:pt idx="259">
                  <c:v>11.75</c:v>
                </c:pt>
                <c:pt idx="260">
                  <c:v>11.75</c:v>
                </c:pt>
                <c:pt idx="261">
                  <c:v>11.75</c:v>
                </c:pt>
                <c:pt idx="262">
                  <c:v>11.75</c:v>
                </c:pt>
                <c:pt idx="263">
                  <c:v>11.75</c:v>
                </c:pt>
                <c:pt idx="264">
                  <c:v>11.75</c:v>
                </c:pt>
                <c:pt idx="265">
                  <c:v>11.75</c:v>
                </c:pt>
                <c:pt idx="266">
                  <c:v>11.75</c:v>
                </c:pt>
                <c:pt idx="267">
                  <c:v>11.75</c:v>
                </c:pt>
                <c:pt idx="268">
                  <c:v>11.75</c:v>
                </c:pt>
                <c:pt idx="269">
                  <c:v>11.75</c:v>
                </c:pt>
                <c:pt idx="270">
                  <c:v>11.75</c:v>
                </c:pt>
                <c:pt idx="271">
                  <c:v>11.75</c:v>
                </c:pt>
                <c:pt idx="272">
                  <c:v>11.75</c:v>
                </c:pt>
                <c:pt idx="273">
                  <c:v>11.75</c:v>
                </c:pt>
                <c:pt idx="274">
                  <c:v>11.75</c:v>
                </c:pt>
                <c:pt idx="275">
                  <c:v>12.25</c:v>
                </c:pt>
                <c:pt idx="276">
                  <c:v>12.25</c:v>
                </c:pt>
                <c:pt idx="277">
                  <c:v>12.25</c:v>
                </c:pt>
                <c:pt idx="278">
                  <c:v>12.25</c:v>
                </c:pt>
                <c:pt idx="279">
                  <c:v>12.25</c:v>
                </c:pt>
                <c:pt idx="280">
                  <c:v>12.25</c:v>
                </c:pt>
                <c:pt idx="281">
                  <c:v>12.25</c:v>
                </c:pt>
                <c:pt idx="282">
                  <c:v>12.25</c:v>
                </c:pt>
                <c:pt idx="283">
                  <c:v>12.25</c:v>
                </c:pt>
                <c:pt idx="284">
                  <c:v>12.25</c:v>
                </c:pt>
                <c:pt idx="285">
                  <c:v>12.25</c:v>
                </c:pt>
                <c:pt idx="286">
                  <c:v>12.25</c:v>
                </c:pt>
                <c:pt idx="287">
                  <c:v>12.25</c:v>
                </c:pt>
                <c:pt idx="288">
                  <c:v>12.25</c:v>
                </c:pt>
                <c:pt idx="289">
                  <c:v>12.25</c:v>
                </c:pt>
                <c:pt idx="290">
                  <c:v>12.25</c:v>
                </c:pt>
                <c:pt idx="291">
                  <c:v>12.25</c:v>
                </c:pt>
                <c:pt idx="292">
                  <c:v>12.25</c:v>
                </c:pt>
                <c:pt idx="293">
                  <c:v>12.25</c:v>
                </c:pt>
                <c:pt idx="294">
                  <c:v>12.25</c:v>
                </c:pt>
                <c:pt idx="295">
                  <c:v>12.25</c:v>
                </c:pt>
                <c:pt idx="296">
                  <c:v>12.25</c:v>
                </c:pt>
                <c:pt idx="297">
                  <c:v>12.25</c:v>
                </c:pt>
                <c:pt idx="298">
                  <c:v>12.25</c:v>
                </c:pt>
                <c:pt idx="299">
                  <c:v>12.25</c:v>
                </c:pt>
                <c:pt idx="300">
                  <c:v>12.25</c:v>
                </c:pt>
                <c:pt idx="301">
                  <c:v>12.25</c:v>
                </c:pt>
                <c:pt idx="302">
                  <c:v>12.25</c:v>
                </c:pt>
                <c:pt idx="303">
                  <c:v>12.25</c:v>
                </c:pt>
                <c:pt idx="304">
                  <c:v>12.25</c:v>
                </c:pt>
                <c:pt idx="305">
                  <c:v>12.75</c:v>
                </c:pt>
                <c:pt idx="306">
                  <c:v>12.75</c:v>
                </c:pt>
                <c:pt idx="307">
                  <c:v>12.75</c:v>
                </c:pt>
                <c:pt idx="308">
                  <c:v>12.75</c:v>
                </c:pt>
                <c:pt idx="309">
                  <c:v>12.75</c:v>
                </c:pt>
                <c:pt idx="310">
                  <c:v>12.75</c:v>
                </c:pt>
                <c:pt idx="311">
                  <c:v>12.75</c:v>
                </c:pt>
                <c:pt idx="312">
                  <c:v>12.75</c:v>
                </c:pt>
                <c:pt idx="313">
                  <c:v>12.75</c:v>
                </c:pt>
                <c:pt idx="314">
                  <c:v>12.75</c:v>
                </c:pt>
                <c:pt idx="315">
                  <c:v>12.75</c:v>
                </c:pt>
                <c:pt idx="316">
                  <c:v>12.75</c:v>
                </c:pt>
                <c:pt idx="317">
                  <c:v>12.75</c:v>
                </c:pt>
                <c:pt idx="318">
                  <c:v>12.75</c:v>
                </c:pt>
                <c:pt idx="319">
                  <c:v>12.75</c:v>
                </c:pt>
                <c:pt idx="320">
                  <c:v>12.75</c:v>
                </c:pt>
                <c:pt idx="321">
                  <c:v>12.75</c:v>
                </c:pt>
                <c:pt idx="322">
                  <c:v>12.75</c:v>
                </c:pt>
                <c:pt idx="323">
                  <c:v>12.75</c:v>
                </c:pt>
                <c:pt idx="324">
                  <c:v>12.75</c:v>
                </c:pt>
                <c:pt idx="325">
                  <c:v>12.75</c:v>
                </c:pt>
                <c:pt idx="326">
                  <c:v>12.75</c:v>
                </c:pt>
                <c:pt idx="327">
                  <c:v>12.75</c:v>
                </c:pt>
                <c:pt idx="328">
                  <c:v>12.75</c:v>
                </c:pt>
                <c:pt idx="329">
                  <c:v>12.75</c:v>
                </c:pt>
                <c:pt idx="330">
                  <c:v>12.75</c:v>
                </c:pt>
                <c:pt idx="331">
                  <c:v>12.75</c:v>
                </c:pt>
                <c:pt idx="332">
                  <c:v>12.75</c:v>
                </c:pt>
                <c:pt idx="333">
                  <c:v>12.75</c:v>
                </c:pt>
                <c:pt idx="334">
                  <c:v>12.75</c:v>
                </c:pt>
                <c:pt idx="335">
                  <c:v>12.75</c:v>
                </c:pt>
                <c:pt idx="336">
                  <c:v>12.75</c:v>
                </c:pt>
                <c:pt idx="337">
                  <c:v>12.75</c:v>
                </c:pt>
                <c:pt idx="338">
                  <c:v>12.75</c:v>
                </c:pt>
                <c:pt idx="339">
                  <c:v>12.75</c:v>
                </c:pt>
                <c:pt idx="340">
                  <c:v>12.75</c:v>
                </c:pt>
                <c:pt idx="341">
                  <c:v>12.75</c:v>
                </c:pt>
                <c:pt idx="342">
                  <c:v>12.75</c:v>
                </c:pt>
                <c:pt idx="343">
                  <c:v>12.75</c:v>
                </c:pt>
                <c:pt idx="344">
                  <c:v>12.75</c:v>
                </c:pt>
                <c:pt idx="345">
                  <c:v>13.25</c:v>
                </c:pt>
                <c:pt idx="346">
                  <c:v>13.25</c:v>
                </c:pt>
                <c:pt idx="347">
                  <c:v>13.25</c:v>
                </c:pt>
                <c:pt idx="348">
                  <c:v>13.25</c:v>
                </c:pt>
                <c:pt idx="349">
                  <c:v>13.25</c:v>
                </c:pt>
                <c:pt idx="350">
                  <c:v>13.25</c:v>
                </c:pt>
                <c:pt idx="351">
                  <c:v>13.25</c:v>
                </c:pt>
                <c:pt idx="352">
                  <c:v>13.25</c:v>
                </c:pt>
                <c:pt idx="353">
                  <c:v>13.25</c:v>
                </c:pt>
                <c:pt idx="354">
                  <c:v>13.25</c:v>
                </c:pt>
                <c:pt idx="355">
                  <c:v>13.25</c:v>
                </c:pt>
                <c:pt idx="356">
                  <c:v>13.25</c:v>
                </c:pt>
                <c:pt idx="357">
                  <c:v>13.25</c:v>
                </c:pt>
                <c:pt idx="358">
                  <c:v>13.25</c:v>
                </c:pt>
                <c:pt idx="359">
                  <c:v>13.25</c:v>
                </c:pt>
                <c:pt idx="360">
                  <c:v>13.25</c:v>
                </c:pt>
                <c:pt idx="361">
                  <c:v>13.25</c:v>
                </c:pt>
                <c:pt idx="362">
                  <c:v>13.25</c:v>
                </c:pt>
                <c:pt idx="363">
                  <c:v>13.25</c:v>
                </c:pt>
                <c:pt idx="364">
                  <c:v>13.25</c:v>
                </c:pt>
                <c:pt idx="365">
                  <c:v>13.25</c:v>
                </c:pt>
                <c:pt idx="366">
                  <c:v>13.25</c:v>
                </c:pt>
                <c:pt idx="367">
                  <c:v>13.25</c:v>
                </c:pt>
                <c:pt idx="368">
                  <c:v>13.25</c:v>
                </c:pt>
                <c:pt idx="369">
                  <c:v>13.25</c:v>
                </c:pt>
                <c:pt idx="370">
                  <c:v>13.75</c:v>
                </c:pt>
                <c:pt idx="371">
                  <c:v>13.75</c:v>
                </c:pt>
                <c:pt idx="372">
                  <c:v>13.75</c:v>
                </c:pt>
                <c:pt idx="373">
                  <c:v>13.75</c:v>
                </c:pt>
                <c:pt idx="374">
                  <c:v>13.75</c:v>
                </c:pt>
                <c:pt idx="375">
                  <c:v>13.75</c:v>
                </c:pt>
                <c:pt idx="376">
                  <c:v>13.75</c:v>
                </c:pt>
                <c:pt idx="377">
                  <c:v>13.75</c:v>
                </c:pt>
                <c:pt idx="378">
                  <c:v>13.75</c:v>
                </c:pt>
                <c:pt idx="379">
                  <c:v>13.75</c:v>
                </c:pt>
                <c:pt idx="380">
                  <c:v>13.75</c:v>
                </c:pt>
                <c:pt idx="381">
                  <c:v>13.75</c:v>
                </c:pt>
                <c:pt idx="382">
                  <c:v>13.75</c:v>
                </c:pt>
                <c:pt idx="383">
                  <c:v>13.75</c:v>
                </c:pt>
                <c:pt idx="384">
                  <c:v>13.75</c:v>
                </c:pt>
                <c:pt idx="385">
                  <c:v>13.75</c:v>
                </c:pt>
                <c:pt idx="386">
                  <c:v>13.75</c:v>
                </c:pt>
                <c:pt idx="387">
                  <c:v>13.75</c:v>
                </c:pt>
                <c:pt idx="388">
                  <c:v>13.75</c:v>
                </c:pt>
                <c:pt idx="389">
                  <c:v>13.75</c:v>
                </c:pt>
                <c:pt idx="390">
                  <c:v>13.75</c:v>
                </c:pt>
                <c:pt idx="391">
                  <c:v>13.75</c:v>
                </c:pt>
                <c:pt idx="392">
                  <c:v>13.75</c:v>
                </c:pt>
                <c:pt idx="393">
                  <c:v>13.75</c:v>
                </c:pt>
                <c:pt idx="394">
                  <c:v>13.75</c:v>
                </c:pt>
                <c:pt idx="395">
                  <c:v>13.75</c:v>
                </c:pt>
                <c:pt idx="396">
                  <c:v>13.75</c:v>
                </c:pt>
                <c:pt idx="397">
                  <c:v>13.75</c:v>
                </c:pt>
                <c:pt idx="398">
                  <c:v>13.75</c:v>
                </c:pt>
                <c:pt idx="399">
                  <c:v>13.75</c:v>
                </c:pt>
                <c:pt idx="400">
                  <c:v>13.75</c:v>
                </c:pt>
                <c:pt idx="401">
                  <c:v>13.75</c:v>
                </c:pt>
                <c:pt idx="402">
                  <c:v>13.75</c:v>
                </c:pt>
                <c:pt idx="403">
                  <c:v>13.75</c:v>
                </c:pt>
                <c:pt idx="404">
                  <c:v>13.75</c:v>
                </c:pt>
                <c:pt idx="405">
                  <c:v>13.75</c:v>
                </c:pt>
                <c:pt idx="406">
                  <c:v>13.75</c:v>
                </c:pt>
                <c:pt idx="407">
                  <c:v>13.75</c:v>
                </c:pt>
                <c:pt idx="408">
                  <c:v>13.75</c:v>
                </c:pt>
                <c:pt idx="409">
                  <c:v>13.75</c:v>
                </c:pt>
                <c:pt idx="410">
                  <c:v>14.25</c:v>
                </c:pt>
                <c:pt idx="411">
                  <c:v>14.25</c:v>
                </c:pt>
                <c:pt idx="412">
                  <c:v>14.25</c:v>
                </c:pt>
                <c:pt idx="413">
                  <c:v>14.25</c:v>
                </c:pt>
                <c:pt idx="414">
                  <c:v>14.25</c:v>
                </c:pt>
                <c:pt idx="415">
                  <c:v>14.25</c:v>
                </c:pt>
                <c:pt idx="416">
                  <c:v>14.25</c:v>
                </c:pt>
                <c:pt idx="417">
                  <c:v>14.25</c:v>
                </c:pt>
                <c:pt idx="418">
                  <c:v>14.25</c:v>
                </c:pt>
                <c:pt idx="419">
                  <c:v>14.25</c:v>
                </c:pt>
                <c:pt idx="420">
                  <c:v>14.25</c:v>
                </c:pt>
                <c:pt idx="421">
                  <c:v>14.25</c:v>
                </c:pt>
                <c:pt idx="422">
                  <c:v>14.25</c:v>
                </c:pt>
                <c:pt idx="423">
                  <c:v>14.25</c:v>
                </c:pt>
                <c:pt idx="424">
                  <c:v>14.25</c:v>
                </c:pt>
                <c:pt idx="425">
                  <c:v>14.25</c:v>
                </c:pt>
                <c:pt idx="426">
                  <c:v>14.25</c:v>
                </c:pt>
                <c:pt idx="427">
                  <c:v>14.25</c:v>
                </c:pt>
                <c:pt idx="428">
                  <c:v>14.25</c:v>
                </c:pt>
                <c:pt idx="429">
                  <c:v>14.25</c:v>
                </c:pt>
                <c:pt idx="430">
                  <c:v>14.25</c:v>
                </c:pt>
                <c:pt idx="431">
                  <c:v>14.25</c:v>
                </c:pt>
                <c:pt idx="432">
                  <c:v>14.25</c:v>
                </c:pt>
                <c:pt idx="433">
                  <c:v>14.25</c:v>
                </c:pt>
                <c:pt idx="434">
                  <c:v>14.25</c:v>
                </c:pt>
                <c:pt idx="435">
                  <c:v>14.25</c:v>
                </c:pt>
                <c:pt idx="436">
                  <c:v>14.25</c:v>
                </c:pt>
                <c:pt idx="437">
                  <c:v>14.25</c:v>
                </c:pt>
                <c:pt idx="438">
                  <c:v>14.25</c:v>
                </c:pt>
                <c:pt idx="439">
                  <c:v>14.25</c:v>
                </c:pt>
                <c:pt idx="440">
                  <c:v>14.25</c:v>
                </c:pt>
                <c:pt idx="441">
                  <c:v>14.25</c:v>
                </c:pt>
                <c:pt idx="442">
                  <c:v>14.25</c:v>
                </c:pt>
                <c:pt idx="443">
                  <c:v>14.25</c:v>
                </c:pt>
                <c:pt idx="444">
                  <c:v>14.25</c:v>
                </c:pt>
                <c:pt idx="445">
                  <c:v>14.25</c:v>
                </c:pt>
                <c:pt idx="446">
                  <c:v>14.25</c:v>
                </c:pt>
                <c:pt idx="447">
                  <c:v>14.25</c:v>
                </c:pt>
                <c:pt idx="448">
                  <c:v>14.25</c:v>
                </c:pt>
                <c:pt idx="449">
                  <c:v>14.25</c:v>
                </c:pt>
                <c:pt idx="450">
                  <c:v>14.25</c:v>
                </c:pt>
                <c:pt idx="451">
                  <c:v>14.25</c:v>
                </c:pt>
                <c:pt idx="452">
                  <c:v>14.25</c:v>
                </c:pt>
                <c:pt idx="453">
                  <c:v>14.25</c:v>
                </c:pt>
                <c:pt idx="454">
                  <c:v>14.25</c:v>
                </c:pt>
                <c:pt idx="455">
                  <c:v>14.25</c:v>
                </c:pt>
                <c:pt idx="456">
                  <c:v>14.25</c:v>
                </c:pt>
                <c:pt idx="457">
                  <c:v>14.25</c:v>
                </c:pt>
                <c:pt idx="458">
                  <c:v>14.25</c:v>
                </c:pt>
                <c:pt idx="459">
                  <c:v>14.25</c:v>
                </c:pt>
                <c:pt idx="460">
                  <c:v>14.25</c:v>
                </c:pt>
                <c:pt idx="461">
                  <c:v>14.25</c:v>
                </c:pt>
                <c:pt idx="462">
                  <c:v>14.25</c:v>
                </c:pt>
                <c:pt idx="463">
                  <c:v>14.25</c:v>
                </c:pt>
                <c:pt idx="464">
                  <c:v>14.25</c:v>
                </c:pt>
                <c:pt idx="465">
                  <c:v>14.25</c:v>
                </c:pt>
                <c:pt idx="466">
                  <c:v>14.25</c:v>
                </c:pt>
                <c:pt idx="467">
                  <c:v>14.25</c:v>
                </c:pt>
                <c:pt idx="468">
                  <c:v>14.25</c:v>
                </c:pt>
                <c:pt idx="469">
                  <c:v>14.25</c:v>
                </c:pt>
                <c:pt idx="470">
                  <c:v>14.25</c:v>
                </c:pt>
                <c:pt idx="471">
                  <c:v>14.25</c:v>
                </c:pt>
                <c:pt idx="472">
                  <c:v>14.25</c:v>
                </c:pt>
                <c:pt idx="473">
                  <c:v>14.25</c:v>
                </c:pt>
                <c:pt idx="474">
                  <c:v>14.25</c:v>
                </c:pt>
                <c:pt idx="475">
                  <c:v>14.25</c:v>
                </c:pt>
                <c:pt idx="476">
                  <c:v>14.25</c:v>
                </c:pt>
                <c:pt idx="477">
                  <c:v>14.25</c:v>
                </c:pt>
                <c:pt idx="478">
                  <c:v>14.25</c:v>
                </c:pt>
                <c:pt idx="479">
                  <c:v>14.25</c:v>
                </c:pt>
                <c:pt idx="480">
                  <c:v>14.25</c:v>
                </c:pt>
                <c:pt idx="481">
                  <c:v>14.25</c:v>
                </c:pt>
                <c:pt idx="482">
                  <c:v>14.25</c:v>
                </c:pt>
                <c:pt idx="483">
                  <c:v>14.25</c:v>
                </c:pt>
                <c:pt idx="484">
                  <c:v>14.25</c:v>
                </c:pt>
                <c:pt idx="485">
                  <c:v>14.25</c:v>
                </c:pt>
                <c:pt idx="486">
                  <c:v>14.25</c:v>
                </c:pt>
                <c:pt idx="487">
                  <c:v>14.25</c:v>
                </c:pt>
                <c:pt idx="488">
                  <c:v>14.25</c:v>
                </c:pt>
                <c:pt idx="489">
                  <c:v>14.25</c:v>
                </c:pt>
                <c:pt idx="490">
                  <c:v>14.25</c:v>
                </c:pt>
                <c:pt idx="491">
                  <c:v>14.25</c:v>
                </c:pt>
                <c:pt idx="492">
                  <c:v>14.25</c:v>
                </c:pt>
                <c:pt idx="493">
                  <c:v>14.25</c:v>
                </c:pt>
                <c:pt idx="494">
                  <c:v>14.25</c:v>
                </c:pt>
                <c:pt idx="495">
                  <c:v>14.25</c:v>
                </c:pt>
                <c:pt idx="496">
                  <c:v>14.25</c:v>
                </c:pt>
                <c:pt idx="497">
                  <c:v>14.25</c:v>
                </c:pt>
                <c:pt idx="498">
                  <c:v>14.25</c:v>
                </c:pt>
                <c:pt idx="499">
                  <c:v>14.25</c:v>
                </c:pt>
                <c:pt idx="500">
                  <c:v>14.25</c:v>
                </c:pt>
                <c:pt idx="501">
                  <c:v>14.25</c:v>
                </c:pt>
                <c:pt idx="502">
                  <c:v>14.25</c:v>
                </c:pt>
                <c:pt idx="503">
                  <c:v>14.25</c:v>
                </c:pt>
                <c:pt idx="504">
                  <c:v>14.25</c:v>
                </c:pt>
                <c:pt idx="505">
                  <c:v>14.25</c:v>
                </c:pt>
                <c:pt idx="506">
                  <c:v>14.25</c:v>
                </c:pt>
                <c:pt idx="507">
                  <c:v>14.25</c:v>
                </c:pt>
                <c:pt idx="508">
                  <c:v>14.25</c:v>
                </c:pt>
                <c:pt idx="509">
                  <c:v>14.25</c:v>
                </c:pt>
                <c:pt idx="510">
                  <c:v>14.25</c:v>
                </c:pt>
                <c:pt idx="511">
                  <c:v>14.25</c:v>
                </c:pt>
                <c:pt idx="512">
                  <c:v>14.25</c:v>
                </c:pt>
                <c:pt idx="513">
                  <c:v>14.25</c:v>
                </c:pt>
                <c:pt idx="514">
                  <c:v>14.25</c:v>
                </c:pt>
                <c:pt idx="515">
                  <c:v>14.25</c:v>
                </c:pt>
                <c:pt idx="516">
                  <c:v>14.25</c:v>
                </c:pt>
                <c:pt idx="517">
                  <c:v>14.25</c:v>
                </c:pt>
                <c:pt idx="518">
                  <c:v>14.25</c:v>
                </c:pt>
                <c:pt idx="519">
                  <c:v>14.25</c:v>
                </c:pt>
                <c:pt idx="520">
                  <c:v>14.25</c:v>
                </c:pt>
                <c:pt idx="521">
                  <c:v>14.25</c:v>
                </c:pt>
                <c:pt idx="522">
                  <c:v>14.25</c:v>
                </c:pt>
                <c:pt idx="523">
                  <c:v>14.25</c:v>
                </c:pt>
                <c:pt idx="524">
                  <c:v>14.25</c:v>
                </c:pt>
                <c:pt idx="525">
                  <c:v>14.25</c:v>
                </c:pt>
                <c:pt idx="526">
                  <c:v>14.25</c:v>
                </c:pt>
                <c:pt idx="527">
                  <c:v>14.25</c:v>
                </c:pt>
                <c:pt idx="528">
                  <c:v>14.25</c:v>
                </c:pt>
                <c:pt idx="529">
                  <c:v>14.25</c:v>
                </c:pt>
                <c:pt idx="530">
                  <c:v>14.25</c:v>
                </c:pt>
                <c:pt idx="531">
                  <c:v>14.25</c:v>
                </c:pt>
                <c:pt idx="532">
                  <c:v>14.25</c:v>
                </c:pt>
                <c:pt idx="533">
                  <c:v>14.25</c:v>
                </c:pt>
                <c:pt idx="534">
                  <c:v>14.25</c:v>
                </c:pt>
                <c:pt idx="535">
                  <c:v>14.25</c:v>
                </c:pt>
                <c:pt idx="536">
                  <c:v>14.25</c:v>
                </c:pt>
                <c:pt idx="537">
                  <c:v>14.25</c:v>
                </c:pt>
                <c:pt idx="538">
                  <c:v>14.25</c:v>
                </c:pt>
                <c:pt idx="539">
                  <c:v>14.25</c:v>
                </c:pt>
                <c:pt idx="540">
                  <c:v>14.25</c:v>
                </c:pt>
                <c:pt idx="541">
                  <c:v>14.25</c:v>
                </c:pt>
                <c:pt idx="542">
                  <c:v>14.25</c:v>
                </c:pt>
                <c:pt idx="543">
                  <c:v>14.25</c:v>
                </c:pt>
                <c:pt idx="544">
                  <c:v>14.25</c:v>
                </c:pt>
                <c:pt idx="545">
                  <c:v>14.25</c:v>
                </c:pt>
                <c:pt idx="546">
                  <c:v>14.25</c:v>
                </c:pt>
                <c:pt idx="547">
                  <c:v>14.25</c:v>
                </c:pt>
                <c:pt idx="548">
                  <c:v>14.25</c:v>
                </c:pt>
                <c:pt idx="549">
                  <c:v>14.25</c:v>
                </c:pt>
                <c:pt idx="550">
                  <c:v>14.25</c:v>
                </c:pt>
                <c:pt idx="551">
                  <c:v>14.25</c:v>
                </c:pt>
                <c:pt idx="552">
                  <c:v>14.25</c:v>
                </c:pt>
                <c:pt idx="553">
                  <c:v>14.25</c:v>
                </c:pt>
                <c:pt idx="554">
                  <c:v>14.25</c:v>
                </c:pt>
                <c:pt idx="555">
                  <c:v>14.25</c:v>
                </c:pt>
                <c:pt idx="556">
                  <c:v>14.25</c:v>
                </c:pt>
                <c:pt idx="557">
                  <c:v>14.25</c:v>
                </c:pt>
                <c:pt idx="558">
                  <c:v>14.25</c:v>
                </c:pt>
                <c:pt idx="559">
                  <c:v>14.25</c:v>
                </c:pt>
                <c:pt idx="560">
                  <c:v>14.25</c:v>
                </c:pt>
                <c:pt idx="561">
                  <c:v>14.25</c:v>
                </c:pt>
                <c:pt idx="562">
                  <c:v>14.25</c:v>
                </c:pt>
                <c:pt idx="563">
                  <c:v>14.25</c:v>
                </c:pt>
                <c:pt idx="564">
                  <c:v>14.25</c:v>
                </c:pt>
                <c:pt idx="565">
                  <c:v>14.25</c:v>
                </c:pt>
                <c:pt idx="566">
                  <c:v>14.25</c:v>
                </c:pt>
                <c:pt idx="567">
                  <c:v>14.25</c:v>
                </c:pt>
                <c:pt idx="568">
                  <c:v>14.25</c:v>
                </c:pt>
                <c:pt idx="569">
                  <c:v>14.25</c:v>
                </c:pt>
                <c:pt idx="570">
                  <c:v>14.25</c:v>
                </c:pt>
                <c:pt idx="571">
                  <c:v>14.25</c:v>
                </c:pt>
                <c:pt idx="572">
                  <c:v>14.25</c:v>
                </c:pt>
                <c:pt idx="573">
                  <c:v>14.25</c:v>
                </c:pt>
                <c:pt idx="574">
                  <c:v>14.25</c:v>
                </c:pt>
                <c:pt idx="575">
                  <c:v>14.25</c:v>
                </c:pt>
                <c:pt idx="576">
                  <c:v>14.25</c:v>
                </c:pt>
                <c:pt idx="577">
                  <c:v>14.25</c:v>
                </c:pt>
                <c:pt idx="578">
                  <c:v>14.25</c:v>
                </c:pt>
                <c:pt idx="579">
                  <c:v>14.25</c:v>
                </c:pt>
                <c:pt idx="580">
                  <c:v>14.25</c:v>
                </c:pt>
                <c:pt idx="581">
                  <c:v>14.25</c:v>
                </c:pt>
                <c:pt idx="582">
                  <c:v>14.25</c:v>
                </c:pt>
                <c:pt idx="583">
                  <c:v>14.25</c:v>
                </c:pt>
                <c:pt idx="584">
                  <c:v>14.25</c:v>
                </c:pt>
                <c:pt idx="585">
                  <c:v>14.25</c:v>
                </c:pt>
                <c:pt idx="586">
                  <c:v>14.25</c:v>
                </c:pt>
                <c:pt idx="587">
                  <c:v>14.25</c:v>
                </c:pt>
                <c:pt idx="588">
                  <c:v>14.25</c:v>
                </c:pt>
                <c:pt idx="589">
                  <c:v>14.25</c:v>
                </c:pt>
                <c:pt idx="590">
                  <c:v>14.25</c:v>
                </c:pt>
                <c:pt idx="591">
                  <c:v>14.25</c:v>
                </c:pt>
                <c:pt idx="592">
                  <c:v>14.25</c:v>
                </c:pt>
                <c:pt idx="593">
                  <c:v>14.25</c:v>
                </c:pt>
                <c:pt idx="594">
                  <c:v>14.25</c:v>
                </c:pt>
                <c:pt idx="595">
                  <c:v>14.25</c:v>
                </c:pt>
                <c:pt idx="596">
                  <c:v>14.25</c:v>
                </c:pt>
                <c:pt idx="597">
                  <c:v>14.25</c:v>
                </c:pt>
                <c:pt idx="598">
                  <c:v>14.25</c:v>
                </c:pt>
                <c:pt idx="599">
                  <c:v>14.25</c:v>
                </c:pt>
                <c:pt idx="600">
                  <c:v>14.25</c:v>
                </c:pt>
                <c:pt idx="601">
                  <c:v>14.25</c:v>
                </c:pt>
                <c:pt idx="602">
                  <c:v>14.25</c:v>
                </c:pt>
                <c:pt idx="603">
                  <c:v>14.25</c:v>
                </c:pt>
                <c:pt idx="604">
                  <c:v>14.25</c:v>
                </c:pt>
                <c:pt idx="605">
                  <c:v>14.25</c:v>
                </c:pt>
                <c:pt idx="606">
                  <c:v>14.25</c:v>
                </c:pt>
                <c:pt idx="607">
                  <c:v>14.25</c:v>
                </c:pt>
                <c:pt idx="608">
                  <c:v>14.25</c:v>
                </c:pt>
                <c:pt idx="609">
                  <c:v>14.25</c:v>
                </c:pt>
                <c:pt idx="610">
                  <c:v>14.25</c:v>
                </c:pt>
                <c:pt idx="611">
                  <c:v>14.25</c:v>
                </c:pt>
                <c:pt idx="612">
                  <c:v>14.25</c:v>
                </c:pt>
                <c:pt idx="613">
                  <c:v>14.25</c:v>
                </c:pt>
                <c:pt idx="614">
                  <c:v>14.25</c:v>
                </c:pt>
                <c:pt idx="615">
                  <c:v>14.25</c:v>
                </c:pt>
                <c:pt idx="616">
                  <c:v>14.25</c:v>
                </c:pt>
                <c:pt idx="617">
                  <c:v>14.25</c:v>
                </c:pt>
                <c:pt idx="618">
                  <c:v>14.25</c:v>
                </c:pt>
                <c:pt idx="619">
                  <c:v>14.25</c:v>
                </c:pt>
                <c:pt idx="620">
                  <c:v>14.25</c:v>
                </c:pt>
                <c:pt idx="621">
                  <c:v>14.25</c:v>
                </c:pt>
                <c:pt idx="622">
                  <c:v>14.25</c:v>
                </c:pt>
                <c:pt idx="623">
                  <c:v>14.25</c:v>
                </c:pt>
                <c:pt idx="624">
                  <c:v>14.25</c:v>
                </c:pt>
                <c:pt idx="625">
                  <c:v>14.25</c:v>
                </c:pt>
                <c:pt idx="626">
                  <c:v>14.25</c:v>
                </c:pt>
                <c:pt idx="627">
                  <c:v>14.25</c:v>
                </c:pt>
                <c:pt idx="628">
                  <c:v>14.25</c:v>
                </c:pt>
                <c:pt idx="629">
                  <c:v>14.25</c:v>
                </c:pt>
                <c:pt idx="630">
                  <c:v>14.25</c:v>
                </c:pt>
                <c:pt idx="631">
                  <c:v>14.25</c:v>
                </c:pt>
                <c:pt idx="632">
                  <c:v>14.25</c:v>
                </c:pt>
                <c:pt idx="633">
                  <c:v>14.25</c:v>
                </c:pt>
                <c:pt idx="634">
                  <c:v>14.25</c:v>
                </c:pt>
                <c:pt idx="635">
                  <c:v>14.25</c:v>
                </c:pt>
                <c:pt idx="636">
                  <c:v>14.25</c:v>
                </c:pt>
                <c:pt idx="637">
                  <c:v>14.25</c:v>
                </c:pt>
                <c:pt idx="638">
                  <c:v>14.25</c:v>
                </c:pt>
                <c:pt idx="639">
                  <c:v>14.25</c:v>
                </c:pt>
                <c:pt idx="640">
                  <c:v>14.25</c:v>
                </c:pt>
                <c:pt idx="641">
                  <c:v>14.25</c:v>
                </c:pt>
                <c:pt idx="642">
                  <c:v>14.25</c:v>
                </c:pt>
                <c:pt idx="643">
                  <c:v>14.25</c:v>
                </c:pt>
                <c:pt idx="644">
                  <c:v>14.25</c:v>
                </c:pt>
                <c:pt idx="645">
                  <c:v>14.25</c:v>
                </c:pt>
                <c:pt idx="646">
                  <c:v>14.25</c:v>
                </c:pt>
                <c:pt idx="647">
                  <c:v>14.25</c:v>
                </c:pt>
                <c:pt idx="648">
                  <c:v>14.25</c:v>
                </c:pt>
                <c:pt idx="649">
                  <c:v>14.25</c:v>
                </c:pt>
                <c:pt idx="650">
                  <c:v>14.25</c:v>
                </c:pt>
                <c:pt idx="651">
                  <c:v>14.25</c:v>
                </c:pt>
                <c:pt idx="652">
                  <c:v>14.25</c:v>
                </c:pt>
                <c:pt idx="653">
                  <c:v>14.25</c:v>
                </c:pt>
                <c:pt idx="654">
                  <c:v>14.25</c:v>
                </c:pt>
                <c:pt idx="655">
                  <c:v>14.25</c:v>
                </c:pt>
                <c:pt idx="656">
                  <c:v>14.25</c:v>
                </c:pt>
                <c:pt idx="657">
                  <c:v>14.25</c:v>
                </c:pt>
                <c:pt idx="658">
                  <c:v>14.25</c:v>
                </c:pt>
                <c:pt idx="659">
                  <c:v>14.25</c:v>
                </c:pt>
                <c:pt idx="660">
                  <c:v>14.25</c:v>
                </c:pt>
                <c:pt idx="661">
                  <c:v>14.25</c:v>
                </c:pt>
                <c:pt idx="662">
                  <c:v>14.25</c:v>
                </c:pt>
                <c:pt idx="663">
                  <c:v>14.25</c:v>
                </c:pt>
                <c:pt idx="664">
                  <c:v>14.25</c:v>
                </c:pt>
                <c:pt idx="665">
                  <c:v>14.25</c:v>
                </c:pt>
                <c:pt idx="666">
                  <c:v>14.25</c:v>
                </c:pt>
                <c:pt idx="667">
                  <c:v>14.25</c:v>
                </c:pt>
                <c:pt idx="668">
                  <c:v>14.25</c:v>
                </c:pt>
                <c:pt idx="669">
                  <c:v>14.25</c:v>
                </c:pt>
                <c:pt idx="670">
                  <c:v>14.25</c:v>
                </c:pt>
                <c:pt idx="671">
                  <c:v>14.25</c:v>
                </c:pt>
                <c:pt idx="672">
                  <c:v>14.25</c:v>
                </c:pt>
                <c:pt idx="673">
                  <c:v>14.25</c:v>
                </c:pt>
                <c:pt idx="674">
                  <c:v>14.25</c:v>
                </c:pt>
                <c:pt idx="675">
                  <c:v>14.25</c:v>
                </c:pt>
                <c:pt idx="676">
                  <c:v>14.25</c:v>
                </c:pt>
                <c:pt idx="677">
                  <c:v>14.25</c:v>
                </c:pt>
                <c:pt idx="678">
                  <c:v>14.25</c:v>
                </c:pt>
                <c:pt idx="679">
                  <c:v>14.25</c:v>
                </c:pt>
                <c:pt idx="680">
                  <c:v>14.25</c:v>
                </c:pt>
                <c:pt idx="681">
                  <c:v>14.25</c:v>
                </c:pt>
                <c:pt idx="682">
                  <c:v>14.25</c:v>
                </c:pt>
                <c:pt idx="683">
                  <c:v>14.25</c:v>
                </c:pt>
                <c:pt idx="684">
                  <c:v>14.25</c:v>
                </c:pt>
                <c:pt idx="685">
                  <c:v>14.25</c:v>
                </c:pt>
                <c:pt idx="686">
                  <c:v>14.25</c:v>
                </c:pt>
                <c:pt idx="687">
                  <c:v>14.25</c:v>
                </c:pt>
                <c:pt idx="688">
                  <c:v>14.25</c:v>
                </c:pt>
                <c:pt idx="689">
                  <c:v>14.25</c:v>
                </c:pt>
                <c:pt idx="690">
                  <c:v>14.25</c:v>
                </c:pt>
                <c:pt idx="691">
                  <c:v>14.25</c:v>
                </c:pt>
                <c:pt idx="692">
                  <c:v>14.25</c:v>
                </c:pt>
                <c:pt idx="693">
                  <c:v>14.25</c:v>
                </c:pt>
                <c:pt idx="694">
                  <c:v>14.25</c:v>
                </c:pt>
                <c:pt idx="695">
                  <c:v>14.25</c:v>
                </c:pt>
                <c:pt idx="696">
                  <c:v>14.25</c:v>
                </c:pt>
                <c:pt idx="697">
                  <c:v>14.25</c:v>
                </c:pt>
                <c:pt idx="698">
                  <c:v>14.25</c:v>
                </c:pt>
                <c:pt idx="699">
                  <c:v>14.25</c:v>
                </c:pt>
                <c:pt idx="700">
                  <c:v>14.25</c:v>
                </c:pt>
                <c:pt idx="701">
                  <c:v>14.25</c:v>
                </c:pt>
                <c:pt idx="702">
                  <c:v>14.25</c:v>
                </c:pt>
                <c:pt idx="703">
                  <c:v>14.25</c:v>
                </c:pt>
                <c:pt idx="704">
                  <c:v>14.25</c:v>
                </c:pt>
                <c:pt idx="705">
                  <c:v>14.25</c:v>
                </c:pt>
                <c:pt idx="706">
                  <c:v>14.25</c:v>
                </c:pt>
                <c:pt idx="707">
                  <c:v>14.25</c:v>
                </c:pt>
                <c:pt idx="708">
                  <c:v>14.25</c:v>
                </c:pt>
                <c:pt idx="709">
                  <c:v>14.25</c:v>
                </c:pt>
                <c:pt idx="710">
                  <c:v>14.25</c:v>
                </c:pt>
                <c:pt idx="711">
                  <c:v>14.25</c:v>
                </c:pt>
                <c:pt idx="712">
                  <c:v>14.25</c:v>
                </c:pt>
                <c:pt idx="713">
                  <c:v>14.25</c:v>
                </c:pt>
                <c:pt idx="714">
                  <c:v>14.25</c:v>
                </c:pt>
                <c:pt idx="715">
                  <c:v>14.25</c:v>
                </c:pt>
                <c:pt idx="716">
                  <c:v>14.25</c:v>
                </c:pt>
                <c:pt idx="717">
                  <c:v>14.25</c:v>
                </c:pt>
                <c:pt idx="718">
                  <c:v>14.25</c:v>
                </c:pt>
                <c:pt idx="719">
                  <c:v>14.25</c:v>
                </c:pt>
                <c:pt idx="720">
                  <c:v>14.25</c:v>
                </c:pt>
                <c:pt idx="721">
                  <c:v>14.25</c:v>
                </c:pt>
                <c:pt idx="722">
                  <c:v>14.25</c:v>
                </c:pt>
                <c:pt idx="723">
                  <c:v>14.25</c:v>
                </c:pt>
                <c:pt idx="724">
                  <c:v>14.25</c:v>
                </c:pt>
                <c:pt idx="725">
                  <c:v>14.25</c:v>
                </c:pt>
                <c:pt idx="726">
                  <c:v>14.25</c:v>
                </c:pt>
                <c:pt idx="727">
                  <c:v>14.25</c:v>
                </c:pt>
                <c:pt idx="728">
                  <c:v>14.25</c:v>
                </c:pt>
                <c:pt idx="729">
                  <c:v>14.25</c:v>
                </c:pt>
                <c:pt idx="730">
                  <c:v>14</c:v>
                </c:pt>
                <c:pt idx="731">
                  <c:v>14</c:v>
                </c:pt>
                <c:pt idx="732">
                  <c:v>14</c:v>
                </c:pt>
                <c:pt idx="733">
                  <c:v>14</c:v>
                </c:pt>
                <c:pt idx="734">
                  <c:v>14</c:v>
                </c:pt>
                <c:pt idx="735">
                  <c:v>14</c:v>
                </c:pt>
                <c:pt idx="736">
                  <c:v>14</c:v>
                </c:pt>
                <c:pt idx="737">
                  <c:v>14</c:v>
                </c:pt>
                <c:pt idx="738">
                  <c:v>14</c:v>
                </c:pt>
                <c:pt idx="739">
                  <c:v>14</c:v>
                </c:pt>
                <c:pt idx="740">
                  <c:v>14</c:v>
                </c:pt>
                <c:pt idx="741">
                  <c:v>14</c:v>
                </c:pt>
                <c:pt idx="742">
                  <c:v>14</c:v>
                </c:pt>
                <c:pt idx="743">
                  <c:v>14</c:v>
                </c:pt>
                <c:pt idx="744">
                  <c:v>14</c:v>
                </c:pt>
                <c:pt idx="745">
                  <c:v>14</c:v>
                </c:pt>
                <c:pt idx="746">
                  <c:v>14</c:v>
                </c:pt>
                <c:pt idx="747">
                  <c:v>14</c:v>
                </c:pt>
                <c:pt idx="748">
                  <c:v>14</c:v>
                </c:pt>
                <c:pt idx="749">
                  <c:v>14</c:v>
                </c:pt>
                <c:pt idx="750">
                  <c:v>14</c:v>
                </c:pt>
                <c:pt idx="751">
                  <c:v>14</c:v>
                </c:pt>
                <c:pt idx="752">
                  <c:v>14</c:v>
                </c:pt>
                <c:pt idx="753">
                  <c:v>14</c:v>
                </c:pt>
                <c:pt idx="754">
                  <c:v>14</c:v>
                </c:pt>
                <c:pt idx="755">
                  <c:v>14</c:v>
                </c:pt>
                <c:pt idx="756">
                  <c:v>14</c:v>
                </c:pt>
                <c:pt idx="757">
                  <c:v>14</c:v>
                </c:pt>
                <c:pt idx="758">
                  <c:v>14</c:v>
                </c:pt>
                <c:pt idx="759">
                  <c:v>14</c:v>
                </c:pt>
                <c:pt idx="760">
                  <c:v>13.75</c:v>
                </c:pt>
                <c:pt idx="761">
                  <c:v>13.75</c:v>
                </c:pt>
                <c:pt idx="762">
                  <c:v>13.75</c:v>
                </c:pt>
                <c:pt idx="763">
                  <c:v>13.75</c:v>
                </c:pt>
                <c:pt idx="764">
                  <c:v>13.75</c:v>
                </c:pt>
                <c:pt idx="765">
                  <c:v>13.75</c:v>
                </c:pt>
                <c:pt idx="766">
                  <c:v>13.75</c:v>
                </c:pt>
                <c:pt idx="767">
                  <c:v>13.75</c:v>
                </c:pt>
                <c:pt idx="768">
                  <c:v>13.75</c:v>
                </c:pt>
                <c:pt idx="769">
                  <c:v>13.75</c:v>
                </c:pt>
                <c:pt idx="770">
                  <c:v>13.75</c:v>
                </c:pt>
                <c:pt idx="771">
                  <c:v>13.75</c:v>
                </c:pt>
                <c:pt idx="772">
                  <c:v>13.75</c:v>
                </c:pt>
                <c:pt idx="773">
                  <c:v>13.75</c:v>
                </c:pt>
                <c:pt idx="774">
                  <c:v>13.75</c:v>
                </c:pt>
                <c:pt idx="775">
                  <c:v>13.75</c:v>
                </c:pt>
                <c:pt idx="776">
                  <c:v>13.75</c:v>
                </c:pt>
                <c:pt idx="777">
                  <c:v>13.75</c:v>
                </c:pt>
                <c:pt idx="778">
                  <c:v>13.75</c:v>
                </c:pt>
                <c:pt idx="779">
                  <c:v>13.75</c:v>
                </c:pt>
                <c:pt idx="780">
                  <c:v>13.75</c:v>
                </c:pt>
                <c:pt idx="781">
                  <c:v>13.75</c:v>
                </c:pt>
                <c:pt idx="782">
                  <c:v>13.75</c:v>
                </c:pt>
                <c:pt idx="783">
                  <c:v>13.75</c:v>
                </c:pt>
                <c:pt idx="784">
                  <c:v>13.75</c:v>
                </c:pt>
                <c:pt idx="785">
                  <c:v>13.75</c:v>
                </c:pt>
                <c:pt idx="786">
                  <c:v>13.75</c:v>
                </c:pt>
                <c:pt idx="787">
                  <c:v>13.75</c:v>
                </c:pt>
                <c:pt idx="788">
                  <c:v>13.75</c:v>
                </c:pt>
                <c:pt idx="789">
                  <c:v>13.75</c:v>
                </c:pt>
                <c:pt idx="790">
                  <c:v>13</c:v>
                </c:pt>
                <c:pt idx="791">
                  <c:v>13</c:v>
                </c:pt>
                <c:pt idx="792">
                  <c:v>13</c:v>
                </c:pt>
                <c:pt idx="793">
                  <c:v>13</c:v>
                </c:pt>
                <c:pt idx="794">
                  <c:v>13</c:v>
                </c:pt>
                <c:pt idx="795">
                  <c:v>13</c:v>
                </c:pt>
                <c:pt idx="796">
                  <c:v>13</c:v>
                </c:pt>
                <c:pt idx="797">
                  <c:v>13</c:v>
                </c:pt>
                <c:pt idx="798">
                  <c:v>13</c:v>
                </c:pt>
                <c:pt idx="799">
                  <c:v>13</c:v>
                </c:pt>
                <c:pt idx="800">
                  <c:v>13</c:v>
                </c:pt>
                <c:pt idx="801">
                  <c:v>13</c:v>
                </c:pt>
                <c:pt idx="802">
                  <c:v>13</c:v>
                </c:pt>
                <c:pt idx="803">
                  <c:v>13</c:v>
                </c:pt>
                <c:pt idx="804">
                  <c:v>13</c:v>
                </c:pt>
                <c:pt idx="805">
                  <c:v>13</c:v>
                </c:pt>
                <c:pt idx="806">
                  <c:v>13</c:v>
                </c:pt>
                <c:pt idx="807">
                  <c:v>13</c:v>
                </c:pt>
                <c:pt idx="808">
                  <c:v>13</c:v>
                </c:pt>
                <c:pt idx="809">
                  <c:v>13</c:v>
                </c:pt>
                <c:pt idx="810">
                  <c:v>13</c:v>
                </c:pt>
                <c:pt idx="811">
                  <c:v>13</c:v>
                </c:pt>
                <c:pt idx="812">
                  <c:v>13</c:v>
                </c:pt>
                <c:pt idx="813">
                  <c:v>13</c:v>
                </c:pt>
                <c:pt idx="814">
                  <c:v>13</c:v>
                </c:pt>
                <c:pt idx="815">
                  <c:v>13</c:v>
                </c:pt>
                <c:pt idx="816">
                  <c:v>13</c:v>
                </c:pt>
                <c:pt idx="817">
                  <c:v>13</c:v>
                </c:pt>
                <c:pt idx="818">
                  <c:v>13</c:v>
                </c:pt>
                <c:pt idx="819">
                  <c:v>13</c:v>
                </c:pt>
                <c:pt idx="820">
                  <c:v>12.25</c:v>
                </c:pt>
                <c:pt idx="821">
                  <c:v>12.25</c:v>
                </c:pt>
                <c:pt idx="822">
                  <c:v>12.25</c:v>
                </c:pt>
                <c:pt idx="823">
                  <c:v>12.25</c:v>
                </c:pt>
                <c:pt idx="824">
                  <c:v>12.25</c:v>
                </c:pt>
                <c:pt idx="825">
                  <c:v>12.25</c:v>
                </c:pt>
                <c:pt idx="826">
                  <c:v>12.25</c:v>
                </c:pt>
                <c:pt idx="827">
                  <c:v>12.25</c:v>
                </c:pt>
                <c:pt idx="828">
                  <c:v>12.25</c:v>
                </c:pt>
                <c:pt idx="829">
                  <c:v>12.25</c:v>
                </c:pt>
                <c:pt idx="830">
                  <c:v>12.25</c:v>
                </c:pt>
                <c:pt idx="831">
                  <c:v>12.25</c:v>
                </c:pt>
                <c:pt idx="832">
                  <c:v>12.25</c:v>
                </c:pt>
                <c:pt idx="833">
                  <c:v>12.25</c:v>
                </c:pt>
                <c:pt idx="834">
                  <c:v>12.25</c:v>
                </c:pt>
                <c:pt idx="835">
                  <c:v>12.25</c:v>
                </c:pt>
                <c:pt idx="836">
                  <c:v>12.25</c:v>
                </c:pt>
                <c:pt idx="837">
                  <c:v>12.25</c:v>
                </c:pt>
                <c:pt idx="838">
                  <c:v>12.25</c:v>
                </c:pt>
                <c:pt idx="839">
                  <c:v>12.25</c:v>
                </c:pt>
                <c:pt idx="840">
                  <c:v>12.25</c:v>
                </c:pt>
                <c:pt idx="841">
                  <c:v>12.25</c:v>
                </c:pt>
                <c:pt idx="842">
                  <c:v>12.25</c:v>
                </c:pt>
                <c:pt idx="843">
                  <c:v>12.25</c:v>
                </c:pt>
                <c:pt idx="844">
                  <c:v>12.25</c:v>
                </c:pt>
                <c:pt idx="845">
                  <c:v>12.25</c:v>
                </c:pt>
                <c:pt idx="846">
                  <c:v>12.25</c:v>
                </c:pt>
                <c:pt idx="847">
                  <c:v>12.25</c:v>
                </c:pt>
                <c:pt idx="848">
                  <c:v>12.25</c:v>
                </c:pt>
                <c:pt idx="849">
                  <c:v>12.25</c:v>
                </c:pt>
                <c:pt idx="850">
                  <c:v>12.25</c:v>
                </c:pt>
                <c:pt idx="851">
                  <c:v>12.25</c:v>
                </c:pt>
                <c:pt idx="852">
                  <c:v>12.25</c:v>
                </c:pt>
                <c:pt idx="853">
                  <c:v>12.25</c:v>
                </c:pt>
                <c:pt idx="854">
                  <c:v>12.25</c:v>
                </c:pt>
                <c:pt idx="855">
                  <c:v>11.25</c:v>
                </c:pt>
                <c:pt idx="856">
                  <c:v>11.25</c:v>
                </c:pt>
                <c:pt idx="857">
                  <c:v>11.25</c:v>
                </c:pt>
                <c:pt idx="858">
                  <c:v>11.25</c:v>
                </c:pt>
                <c:pt idx="859">
                  <c:v>11.25</c:v>
                </c:pt>
                <c:pt idx="860">
                  <c:v>11.25</c:v>
                </c:pt>
                <c:pt idx="861">
                  <c:v>11.25</c:v>
                </c:pt>
                <c:pt idx="862">
                  <c:v>11.25</c:v>
                </c:pt>
                <c:pt idx="863">
                  <c:v>11.25</c:v>
                </c:pt>
                <c:pt idx="864">
                  <c:v>11.25</c:v>
                </c:pt>
                <c:pt idx="865">
                  <c:v>11.25</c:v>
                </c:pt>
                <c:pt idx="866">
                  <c:v>11.25</c:v>
                </c:pt>
                <c:pt idx="867">
                  <c:v>11.25</c:v>
                </c:pt>
                <c:pt idx="868">
                  <c:v>11.25</c:v>
                </c:pt>
                <c:pt idx="869">
                  <c:v>11.25</c:v>
                </c:pt>
                <c:pt idx="870">
                  <c:v>11.25</c:v>
                </c:pt>
                <c:pt idx="871">
                  <c:v>11.25</c:v>
                </c:pt>
                <c:pt idx="872">
                  <c:v>11.25</c:v>
                </c:pt>
                <c:pt idx="873">
                  <c:v>11.25</c:v>
                </c:pt>
                <c:pt idx="874">
                  <c:v>11.25</c:v>
                </c:pt>
                <c:pt idx="875">
                  <c:v>11.25</c:v>
                </c:pt>
                <c:pt idx="876">
                  <c:v>11.25</c:v>
                </c:pt>
                <c:pt idx="877">
                  <c:v>11.25</c:v>
                </c:pt>
                <c:pt idx="878">
                  <c:v>11.25</c:v>
                </c:pt>
                <c:pt idx="879">
                  <c:v>11.25</c:v>
                </c:pt>
                <c:pt idx="880">
                  <c:v>11.25</c:v>
                </c:pt>
                <c:pt idx="881">
                  <c:v>11.25</c:v>
                </c:pt>
                <c:pt idx="882">
                  <c:v>11.25</c:v>
                </c:pt>
                <c:pt idx="883">
                  <c:v>11.25</c:v>
                </c:pt>
                <c:pt idx="884">
                  <c:v>11.25</c:v>
                </c:pt>
                <c:pt idx="885">
                  <c:v>11.25</c:v>
                </c:pt>
                <c:pt idx="886">
                  <c:v>11.25</c:v>
                </c:pt>
                <c:pt idx="887">
                  <c:v>11.25</c:v>
                </c:pt>
                <c:pt idx="888">
                  <c:v>11.25</c:v>
                </c:pt>
                <c:pt idx="889">
                  <c:v>11.25</c:v>
                </c:pt>
                <c:pt idx="890">
                  <c:v>10.25</c:v>
                </c:pt>
                <c:pt idx="891">
                  <c:v>10.25</c:v>
                </c:pt>
                <c:pt idx="892">
                  <c:v>10.25</c:v>
                </c:pt>
                <c:pt idx="893">
                  <c:v>10.25</c:v>
                </c:pt>
                <c:pt idx="894">
                  <c:v>10.25</c:v>
                </c:pt>
                <c:pt idx="895">
                  <c:v>10.25</c:v>
                </c:pt>
                <c:pt idx="896">
                  <c:v>10.25</c:v>
                </c:pt>
                <c:pt idx="897">
                  <c:v>10.25</c:v>
                </c:pt>
                <c:pt idx="898">
                  <c:v>10.25</c:v>
                </c:pt>
                <c:pt idx="899">
                  <c:v>10.25</c:v>
                </c:pt>
                <c:pt idx="900">
                  <c:v>10.25</c:v>
                </c:pt>
                <c:pt idx="901">
                  <c:v>10.25</c:v>
                </c:pt>
                <c:pt idx="902">
                  <c:v>10.25</c:v>
                </c:pt>
                <c:pt idx="903">
                  <c:v>10.25</c:v>
                </c:pt>
                <c:pt idx="904">
                  <c:v>10.25</c:v>
                </c:pt>
                <c:pt idx="905">
                  <c:v>10.25</c:v>
                </c:pt>
                <c:pt idx="906">
                  <c:v>10.25</c:v>
                </c:pt>
                <c:pt idx="907">
                  <c:v>10.25</c:v>
                </c:pt>
                <c:pt idx="908">
                  <c:v>10.25</c:v>
                </c:pt>
                <c:pt idx="909">
                  <c:v>10.25</c:v>
                </c:pt>
                <c:pt idx="910">
                  <c:v>10.25</c:v>
                </c:pt>
                <c:pt idx="911">
                  <c:v>10.25</c:v>
                </c:pt>
                <c:pt idx="912">
                  <c:v>10.25</c:v>
                </c:pt>
                <c:pt idx="913">
                  <c:v>10.25</c:v>
                </c:pt>
                <c:pt idx="914">
                  <c:v>10.25</c:v>
                </c:pt>
                <c:pt idx="915">
                  <c:v>10.25</c:v>
                </c:pt>
                <c:pt idx="916">
                  <c:v>10.25</c:v>
                </c:pt>
                <c:pt idx="917">
                  <c:v>10.25</c:v>
                </c:pt>
                <c:pt idx="918">
                  <c:v>10.25</c:v>
                </c:pt>
                <c:pt idx="919">
                  <c:v>10.25</c:v>
                </c:pt>
                <c:pt idx="920">
                  <c:v>10.25</c:v>
                </c:pt>
                <c:pt idx="921">
                  <c:v>10.25</c:v>
                </c:pt>
                <c:pt idx="922">
                  <c:v>10.25</c:v>
                </c:pt>
                <c:pt idx="923">
                  <c:v>10.25</c:v>
                </c:pt>
                <c:pt idx="924">
                  <c:v>10.25</c:v>
                </c:pt>
                <c:pt idx="925">
                  <c:v>10.25</c:v>
                </c:pt>
                <c:pt idx="926">
                  <c:v>10.25</c:v>
                </c:pt>
                <c:pt idx="927">
                  <c:v>10.25</c:v>
                </c:pt>
                <c:pt idx="928">
                  <c:v>10.25</c:v>
                </c:pt>
                <c:pt idx="929">
                  <c:v>10.25</c:v>
                </c:pt>
                <c:pt idx="930">
                  <c:v>9.25</c:v>
                </c:pt>
                <c:pt idx="931">
                  <c:v>9.25</c:v>
                </c:pt>
                <c:pt idx="932">
                  <c:v>9.25</c:v>
                </c:pt>
                <c:pt idx="933">
                  <c:v>9.25</c:v>
                </c:pt>
                <c:pt idx="934">
                  <c:v>9.25</c:v>
                </c:pt>
                <c:pt idx="935">
                  <c:v>9.25</c:v>
                </c:pt>
                <c:pt idx="936">
                  <c:v>9.25</c:v>
                </c:pt>
                <c:pt idx="937">
                  <c:v>9.25</c:v>
                </c:pt>
                <c:pt idx="938">
                  <c:v>9.25</c:v>
                </c:pt>
                <c:pt idx="939">
                  <c:v>9.25</c:v>
                </c:pt>
                <c:pt idx="940">
                  <c:v>9.25</c:v>
                </c:pt>
                <c:pt idx="941">
                  <c:v>9.25</c:v>
                </c:pt>
                <c:pt idx="942">
                  <c:v>9.25</c:v>
                </c:pt>
                <c:pt idx="943">
                  <c:v>9.25</c:v>
                </c:pt>
                <c:pt idx="944">
                  <c:v>9.25</c:v>
                </c:pt>
                <c:pt idx="945">
                  <c:v>9.25</c:v>
                </c:pt>
                <c:pt idx="946">
                  <c:v>9.25</c:v>
                </c:pt>
                <c:pt idx="947">
                  <c:v>9.25</c:v>
                </c:pt>
                <c:pt idx="948">
                  <c:v>9.25</c:v>
                </c:pt>
                <c:pt idx="949">
                  <c:v>9.25</c:v>
                </c:pt>
                <c:pt idx="950">
                  <c:v>9.25</c:v>
                </c:pt>
                <c:pt idx="951">
                  <c:v>9.25</c:v>
                </c:pt>
                <c:pt idx="952">
                  <c:v>9.25</c:v>
                </c:pt>
                <c:pt idx="953">
                  <c:v>9.25</c:v>
                </c:pt>
                <c:pt idx="954">
                  <c:v>9.25</c:v>
                </c:pt>
                <c:pt idx="955">
                  <c:v>9.25</c:v>
                </c:pt>
                <c:pt idx="956">
                  <c:v>9.25</c:v>
                </c:pt>
                <c:pt idx="957">
                  <c:v>9.25</c:v>
                </c:pt>
                <c:pt idx="958">
                  <c:v>9.25</c:v>
                </c:pt>
                <c:pt idx="959">
                  <c:v>9.25</c:v>
                </c:pt>
                <c:pt idx="960">
                  <c:v>8.25</c:v>
                </c:pt>
                <c:pt idx="961">
                  <c:v>8.25</c:v>
                </c:pt>
                <c:pt idx="962">
                  <c:v>8.25</c:v>
                </c:pt>
                <c:pt idx="963">
                  <c:v>8.25</c:v>
                </c:pt>
                <c:pt idx="964">
                  <c:v>8.25</c:v>
                </c:pt>
                <c:pt idx="965">
                  <c:v>8.25</c:v>
                </c:pt>
                <c:pt idx="966">
                  <c:v>8.25</c:v>
                </c:pt>
                <c:pt idx="967">
                  <c:v>8.25</c:v>
                </c:pt>
                <c:pt idx="968">
                  <c:v>8.25</c:v>
                </c:pt>
                <c:pt idx="969">
                  <c:v>8.25</c:v>
                </c:pt>
                <c:pt idx="970">
                  <c:v>8.25</c:v>
                </c:pt>
                <c:pt idx="971">
                  <c:v>8.25</c:v>
                </c:pt>
                <c:pt idx="972">
                  <c:v>8.25</c:v>
                </c:pt>
                <c:pt idx="973">
                  <c:v>8.25</c:v>
                </c:pt>
                <c:pt idx="974">
                  <c:v>8.25</c:v>
                </c:pt>
                <c:pt idx="975">
                  <c:v>8.25</c:v>
                </c:pt>
                <c:pt idx="976">
                  <c:v>8.25</c:v>
                </c:pt>
                <c:pt idx="977">
                  <c:v>8.25</c:v>
                </c:pt>
                <c:pt idx="978">
                  <c:v>8.25</c:v>
                </c:pt>
                <c:pt idx="979">
                  <c:v>8.25</c:v>
                </c:pt>
                <c:pt idx="980">
                  <c:v>8.25</c:v>
                </c:pt>
                <c:pt idx="981">
                  <c:v>8.25</c:v>
                </c:pt>
                <c:pt idx="982">
                  <c:v>8.25</c:v>
                </c:pt>
                <c:pt idx="983">
                  <c:v>8.25</c:v>
                </c:pt>
                <c:pt idx="984">
                  <c:v>8.25</c:v>
                </c:pt>
                <c:pt idx="985">
                  <c:v>8.25</c:v>
                </c:pt>
                <c:pt idx="986">
                  <c:v>8.25</c:v>
                </c:pt>
                <c:pt idx="987">
                  <c:v>8.25</c:v>
                </c:pt>
                <c:pt idx="988">
                  <c:v>8.25</c:v>
                </c:pt>
                <c:pt idx="989">
                  <c:v>8.25</c:v>
                </c:pt>
                <c:pt idx="990">
                  <c:v>8.25</c:v>
                </c:pt>
                <c:pt idx="991">
                  <c:v>8.25</c:v>
                </c:pt>
                <c:pt idx="992">
                  <c:v>8.25</c:v>
                </c:pt>
                <c:pt idx="993">
                  <c:v>8.25</c:v>
                </c:pt>
                <c:pt idx="994">
                  <c:v>8.25</c:v>
                </c:pt>
                <c:pt idx="995">
                  <c:v>7.5</c:v>
                </c:pt>
                <c:pt idx="996">
                  <c:v>7.5</c:v>
                </c:pt>
                <c:pt idx="997">
                  <c:v>7.5</c:v>
                </c:pt>
                <c:pt idx="998">
                  <c:v>7.5</c:v>
                </c:pt>
                <c:pt idx="999">
                  <c:v>7.5</c:v>
                </c:pt>
                <c:pt idx="1000">
                  <c:v>7.5</c:v>
                </c:pt>
                <c:pt idx="1001">
                  <c:v>7.5</c:v>
                </c:pt>
                <c:pt idx="1002">
                  <c:v>7.5</c:v>
                </c:pt>
                <c:pt idx="1003">
                  <c:v>7.5</c:v>
                </c:pt>
                <c:pt idx="1004">
                  <c:v>7.5</c:v>
                </c:pt>
                <c:pt idx="1005">
                  <c:v>7.5</c:v>
                </c:pt>
                <c:pt idx="1006">
                  <c:v>7.5</c:v>
                </c:pt>
                <c:pt idx="1007">
                  <c:v>7.5</c:v>
                </c:pt>
                <c:pt idx="1008">
                  <c:v>7.5</c:v>
                </c:pt>
                <c:pt idx="1009">
                  <c:v>7.5</c:v>
                </c:pt>
                <c:pt idx="1010">
                  <c:v>7.5</c:v>
                </c:pt>
                <c:pt idx="1011">
                  <c:v>7.5</c:v>
                </c:pt>
                <c:pt idx="1012">
                  <c:v>7.5</c:v>
                </c:pt>
                <c:pt idx="1013">
                  <c:v>7.5</c:v>
                </c:pt>
                <c:pt idx="1014">
                  <c:v>7.5</c:v>
                </c:pt>
                <c:pt idx="1015">
                  <c:v>7.5</c:v>
                </c:pt>
                <c:pt idx="1016">
                  <c:v>7.5</c:v>
                </c:pt>
                <c:pt idx="1017">
                  <c:v>7.5</c:v>
                </c:pt>
                <c:pt idx="1018">
                  <c:v>7.5</c:v>
                </c:pt>
                <c:pt idx="1019">
                  <c:v>7.5</c:v>
                </c:pt>
                <c:pt idx="1020">
                  <c:v>7.5</c:v>
                </c:pt>
                <c:pt idx="1021">
                  <c:v>7.5</c:v>
                </c:pt>
                <c:pt idx="1022">
                  <c:v>7.5</c:v>
                </c:pt>
                <c:pt idx="1023">
                  <c:v>7.5</c:v>
                </c:pt>
                <c:pt idx="1024">
                  <c:v>7.5</c:v>
                </c:pt>
                <c:pt idx="1025">
                  <c:v>7</c:v>
                </c:pt>
                <c:pt idx="1026">
                  <c:v>7</c:v>
                </c:pt>
                <c:pt idx="1027">
                  <c:v>7</c:v>
                </c:pt>
                <c:pt idx="1028">
                  <c:v>7</c:v>
                </c:pt>
                <c:pt idx="1029">
                  <c:v>7</c:v>
                </c:pt>
                <c:pt idx="1030">
                  <c:v>7</c:v>
                </c:pt>
                <c:pt idx="1031">
                  <c:v>7</c:v>
                </c:pt>
                <c:pt idx="1032">
                  <c:v>7</c:v>
                </c:pt>
                <c:pt idx="1033">
                  <c:v>7</c:v>
                </c:pt>
                <c:pt idx="1034">
                  <c:v>7</c:v>
                </c:pt>
                <c:pt idx="1035">
                  <c:v>7</c:v>
                </c:pt>
                <c:pt idx="1036">
                  <c:v>7</c:v>
                </c:pt>
                <c:pt idx="1037">
                  <c:v>7</c:v>
                </c:pt>
                <c:pt idx="1038">
                  <c:v>7</c:v>
                </c:pt>
                <c:pt idx="1039">
                  <c:v>7</c:v>
                </c:pt>
                <c:pt idx="1040">
                  <c:v>7</c:v>
                </c:pt>
                <c:pt idx="1041">
                  <c:v>7</c:v>
                </c:pt>
                <c:pt idx="1042">
                  <c:v>7</c:v>
                </c:pt>
                <c:pt idx="1043">
                  <c:v>7</c:v>
                </c:pt>
                <c:pt idx="1044">
                  <c:v>7</c:v>
                </c:pt>
                <c:pt idx="1045">
                  <c:v>7</c:v>
                </c:pt>
                <c:pt idx="1046">
                  <c:v>7</c:v>
                </c:pt>
                <c:pt idx="1047">
                  <c:v>7</c:v>
                </c:pt>
                <c:pt idx="1048">
                  <c:v>7</c:v>
                </c:pt>
                <c:pt idx="1049">
                  <c:v>7</c:v>
                </c:pt>
                <c:pt idx="1050">
                  <c:v>7</c:v>
                </c:pt>
                <c:pt idx="1051">
                  <c:v>7</c:v>
                </c:pt>
                <c:pt idx="1052">
                  <c:v>7</c:v>
                </c:pt>
                <c:pt idx="1053">
                  <c:v>7</c:v>
                </c:pt>
                <c:pt idx="1054">
                  <c:v>7</c:v>
                </c:pt>
                <c:pt idx="1055">
                  <c:v>7</c:v>
                </c:pt>
                <c:pt idx="1056">
                  <c:v>7</c:v>
                </c:pt>
                <c:pt idx="1057">
                  <c:v>7</c:v>
                </c:pt>
                <c:pt idx="1058">
                  <c:v>7</c:v>
                </c:pt>
                <c:pt idx="1059">
                  <c:v>7</c:v>
                </c:pt>
                <c:pt idx="1060">
                  <c:v>7</c:v>
                </c:pt>
                <c:pt idx="1061">
                  <c:v>7</c:v>
                </c:pt>
                <c:pt idx="1062">
                  <c:v>7</c:v>
                </c:pt>
                <c:pt idx="1063">
                  <c:v>7</c:v>
                </c:pt>
                <c:pt idx="1064">
                  <c:v>7</c:v>
                </c:pt>
                <c:pt idx="1065">
                  <c:v>7</c:v>
                </c:pt>
                <c:pt idx="1066">
                  <c:v>7</c:v>
                </c:pt>
                <c:pt idx="1067">
                  <c:v>7</c:v>
                </c:pt>
                <c:pt idx="1068">
                  <c:v>7</c:v>
                </c:pt>
                <c:pt idx="1069">
                  <c:v>7</c:v>
                </c:pt>
                <c:pt idx="1070">
                  <c:v>6.75</c:v>
                </c:pt>
                <c:pt idx="1071">
                  <c:v>6.75</c:v>
                </c:pt>
                <c:pt idx="1072">
                  <c:v>6.75</c:v>
                </c:pt>
                <c:pt idx="1073">
                  <c:v>6.75</c:v>
                </c:pt>
                <c:pt idx="1074">
                  <c:v>6.75</c:v>
                </c:pt>
                <c:pt idx="1075">
                  <c:v>6.75</c:v>
                </c:pt>
                <c:pt idx="1076">
                  <c:v>6.75</c:v>
                </c:pt>
                <c:pt idx="1077">
                  <c:v>6.75</c:v>
                </c:pt>
                <c:pt idx="1078">
                  <c:v>6.75</c:v>
                </c:pt>
                <c:pt idx="1079">
                  <c:v>6.75</c:v>
                </c:pt>
                <c:pt idx="1080">
                  <c:v>6.75</c:v>
                </c:pt>
                <c:pt idx="1081">
                  <c:v>6.75</c:v>
                </c:pt>
                <c:pt idx="1082">
                  <c:v>6.75</c:v>
                </c:pt>
                <c:pt idx="1083">
                  <c:v>6.75</c:v>
                </c:pt>
                <c:pt idx="1084">
                  <c:v>6.75</c:v>
                </c:pt>
                <c:pt idx="1085">
                  <c:v>6.75</c:v>
                </c:pt>
                <c:pt idx="1086">
                  <c:v>6.75</c:v>
                </c:pt>
                <c:pt idx="1087">
                  <c:v>6.75</c:v>
                </c:pt>
                <c:pt idx="1088">
                  <c:v>6.75</c:v>
                </c:pt>
                <c:pt idx="1089">
                  <c:v>6.75</c:v>
                </c:pt>
                <c:pt idx="1090">
                  <c:v>6.75</c:v>
                </c:pt>
                <c:pt idx="1091">
                  <c:v>6.75</c:v>
                </c:pt>
                <c:pt idx="1092">
                  <c:v>6.75</c:v>
                </c:pt>
                <c:pt idx="1093">
                  <c:v>6.75</c:v>
                </c:pt>
                <c:pt idx="1094">
                  <c:v>6.75</c:v>
                </c:pt>
                <c:pt idx="1095">
                  <c:v>6.75</c:v>
                </c:pt>
                <c:pt idx="1096">
                  <c:v>6.75</c:v>
                </c:pt>
                <c:pt idx="1097">
                  <c:v>6.75</c:v>
                </c:pt>
                <c:pt idx="1098">
                  <c:v>6.75</c:v>
                </c:pt>
                <c:pt idx="1099">
                  <c:v>6.75</c:v>
                </c:pt>
                <c:pt idx="1100">
                  <c:v>6.5</c:v>
                </c:pt>
                <c:pt idx="1101">
                  <c:v>6.5</c:v>
                </c:pt>
                <c:pt idx="1102">
                  <c:v>6.5</c:v>
                </c:pt>
                <c:pt idx="1103">
                  <c:v>6.5</c:v>
                </c:pt>
                <c:pt idx="1104">
                  <c:v>6.5</c:v>
                </c:pt>
                <c:pt idx="1105">
                  <c:v>6.5</c:v>
                </c:pt>
                <c:pt idx="1106">
                  <c:v>6.5</c:v>
                </c:pt>
                <c:pt idx="1107">
                  <c:v>6.5</c:v>
                </c:pt>
                <c:pt idx="1108">
                  <c:v>6.5</c:v>
                </c:pt>
                <c:pt idx="1109">
                  <c:v>6.5</c:v>
                </c:pt>
                <c:pt idx="1110">
                  <c:v>6.5</c:v>
                </c:pt>
                <c:pt idx="1111">
                  <c:v>6.5</c:v>
                </c:pt>
                <c:pt idx="1112">
                  <c:v>6.5</c:v>
                </c:pt>
                <c:pt idx="1113">
                  <c:v>6.5</c:v>
                </c:pt>
                <c:pt idx="1114">
                  <c:v>6.5</c:v>
                </c:pt>
                <c:pt idx="1115">
                  <c:v>6.5</c:v>
                </c:pt>
                <c:pt idx="1116">
                  <c:v>6.5</c:v>
                </c:pt>
                <c:pt idx="1117">
                  <c:v>6.5</c:v>
                </c:pt>
                <c:pt idx="1118">
                  <c:v>6.5</c:v>
                </c:pt>
                <c:pt idx="1119">
                  <c:v>6.5</c:v>
                </c:pt>
                <c:pt idx="1120">
                  <c:v>6.5</c:v>
                </c:pt>
                <c:pt idx="1121">
                  <c:v>6.5</c:v>
                </c:pt>
                <c:pt idx="1122">
                  <c:v>6.5</c:v>
                </c:pt>
                <c:pt idx="1123">
                  <c:v>6.5</c:v>
                </c:pt>
                <c:pt idx="1124">
                  <c:v>6.5</c:v>
                </c:pt>
                <c:pt idx="1125">
                  <c:v>6.5</c:v>
                </c:pt>
                <c:pt idx="1126">
                  <c:v>6.5</c:v>
                </c:pt>
                <c:pt idx="1127">
                  <c:v>6.5</c:v>
                </c:pt>
                <c:pt idx="1128">
                  <c:v>6.5</c:v>
                </c:pt>
                <c:pt idx="1129">
                  <c:v>6.5</c:v>
                </c:pt>
                <c:pt idx="1130">
                  <c:v>6.5</c:v>
                </c:pt>
                <c:pt idx="1131">
                  <c:v>6.5</c:v>
                </c:pt>
                <c:pt idx="1132">
                  <c:v>6.5</c:v>
                </c:pt>
                <c:pt idx="1133">
                  <c:v>6.5</c:v>
                </c:pt>
                <c:pt idx="1134">
                  <c:v>6.5</c:v>
                </c:pt>
                <c:pt idx="1135">
                  <c:v>6.5</c:v>
                </c:pt>
                <c:pt idx="1136">
                  <c:v>6.5</c:v>
                </c:pt>
                <c:pt idx="1137">
                  <c:v>6.5</c:v>
                </c:pt>
                <c:pt idx="1138">
                  <c:v>6.5</c:v>
                </c:pt>
                <c:pt idx="1139">
                  <c:v>6.5</c:v>
                </c:pt>
                <c:pt idx="1140">
                  <c:v>6.5</c:v>
                </c:pt>
                <c:pt idx="1141">
                  <c:v>6.5</c:v>
                </c:pt>
                <c:pt idx="1142">
                  <c:v>6.5</c:v>
                </c:pt>
                <c:pt idx="1143">
                  <c:v>6.5</c:v>
                </c:pt>
                <c:pt idx="1144">
                  <c:v>6.5</c:v>
                </c:pt>
                <c:pt idx="1145">
                  <c:v>6.5</c:v>
                </c:pt>
                <c:pt idx="1146">
                  <c:v>6.5</c:v>
                </c:pt>
                <c:pt idx="1147">
                  <c:v>6.5</c:v>
                </c:pt>
                <c:pt idx="1148">
                  <c:v>6.5</c:v>
                </c:pt>
                <c:pt idx="1149">
                  <c:v>6.5</c:v>
                </c:pt>
                <c:pt idx="1150">
                  <c:v>6.5</c:v>
                </c:pt>
                <c:pt idx="1151">
                  <c:v>6.5</c:v>
                </c:pt>
                <c:pt idx="1152">
                  <c:v>6.5</c:v>
                </c:pt>
                <c:pt idx="1153">
                  <c:v>6.5</c:v>
                </c:pt>
                <c:pt idx="1154">
                  <c:v>6.5</c:v>
                </c:pt>
                <c:pt idx="1155">
                  <c:v>6.5</c:v>
                </c:pt>
                <c:pt idx="1156">
                  <c:v>6.5</c:v>
                </c:pt>
                <c:pt idx="1157">
                  <c:v>6.5</c:v>
                </c:pt>
                <c:pt idx="1158">
                  <c:v>6.5</c:v>
                </c:pt>
                <c:pt idx="1159">
                  <c:v>6.5</c:v>
                </c:pt>
                <c:pt idx="1160">
                  <c:v>6.5</c:v>
                </c:pt>
                <c:pt idx="1161">
                  <c:v>6.5</c:v>
                </c:pt>
                <c:pt idx="1162">
                  <c:v>6.5</c:v>
                </c:pt>
                <c:pt idx="1163">
                  <c:v>6.5</c:v>
                </c:pt>
                <c:pt idx="1164">
                  <c:v>6.5</c:v>
                </c:pt>
                <c:pt idx="1165">
                  <c:v>6.5</c:v>
                </c:pt>
                <c:pt idx="1166">
                  <c:v>6.5</c:v>
                </c:pt>
                <c:pt idx="1167">
                  <c:v>6.5</c:v>
                </c:pt>
                <c:pt idx="1168">
                  <c:v>6.5</c:v>
                </c:pt>
                <c:pt idx="1169">
                  <c:v>6.5</c:v>
                </c:pt>
                <c:pt idx="1170">
                  <c:v>6.5</c:v>
                </c:pt>
                <c:pt idx="1171">
                  <c:v>6.5</c:v>
                </c:pt>
                <c:pt idx="1172">
                  <c:v>6.5</c:v>
                </c:pt>
                <c:pt idx="1173">
                  <c:v>6.5</c:v>
                </c:pt>
                <c:pt idx="1174">
                  <c:v>6.5</c:v>
                </c:pt>
                <c:pt idx="1175">
                  <c:v>6.5</c:v>
                </c:pt>
                <c:pt idx="1176">
                  <c:v>6.5</c:v>
                </c:pt>
                <c:pt idx="1177">
                  <c:v>6.5</c:v>
                </c:pt>
                <c:pt idx="1178">
                  <c:v>6.5</c:v>
                </c:pt>
                <c:pt idx="1179">
                  <c:v>6.5</c:v>
                </c:pt>
                <c:pt idx="1180">
                  <c:v>6.5</c:v>
                </c:pt>
                <c:pt idx="1181">
                  <c:v>6.5</c:v>
                </c:pt>
                <c:pt idx="1182">
                  <c:v>6.5</c:v>
                </c:pt>
                <c:pt idx="1183">
                  <c:v>6.5</c:v>
                </c:pt>
                <c:pt idx="1184">
                  <c:v>6.5</c:v>
                </c:pt>
                <c:pt idx="1185">
                  <c:v>6.5</c:v>
                </c:pt>
                <c:pt idx="1186">
                  <c:v>6.5</c:v>
                </c:pt>
                <c:pt idx="1187">
                  <c:v>6.5</c:v>
                </c:pt>
                <c:pt idx="1188">
                  <c:v>6.5</c:v>
                </c:pt>
                <c:pt idx="1189">
                  <c:v>6.5</c:v>
                </c:pt>
                <c:pt idx="1190">
                  <c:v>6.5</c:v>
                </c:pt>
                <c:pt idx="1191">
                  <c:v>6.5</c:v>
                </c:pt>
                <c:pt idx="1192">
                  <c:v>6.5</c:v>
                </c:pt>
                <c:pt idx="1193">
                  <c:v>6.5</c:v>
                </c:pt>
                <c:pt idx="1194">
                  <c:v>6.5</c:v>
                </c:pt>
                <c:pt idx="1195">
                  <c:v>6.5</c:v>
                </c:pt>
                <c:pt idx="1196">
                  <c:v>6.5</c:v>
                </c:pt>
                <c:pt idx="1197">
                  <c:v>6.5</c:v>
                </c:pt>
                <c:pt idx="1198">
                  <c:v>6.5</c:v>
                </c:pt>
                <c:pt idx="1199">
                  <c:v>6.5</c:v>
                </c:pt>
                <c:pt idx="1200">
                  <c:v>6.5</c:v>
                </c:pt>
                <c:pt idx="1201">
                  <c:v>6.5</c:v>
                </c:pt>
                <c:pt idx="1202">
                  <c:v>6.5</c:v>
                </c:pt>
                <c:pt idx="1203">
                  <c:v>6.5</c:v>
                </c:pt>
                <c:pt idx="1204">
                  <c:v>6.5</c:v>
                </c:pt>
                <c:pt idx="1205">
                  <c:v>6.5</c:v>
                </c:pt>
                <c:pt idx="1206">
                  <c:v>6.5</c:v>
                </c:pt>
                <c:pt idx="1207">
                  <c:v>6.5</c:v>
                </c:pt>
                <c:pt idx="1208">
                  <c:v>6.5</c:v>
                </c:pt>
                <c:pt idx="1209">
                  <c:v>6.5</c:v>
                </c:pt>
                <c:pt idx="1210">
                  <c:v>6.5</c:v>
                </c:pt>
                <c:pt idx="1211">
                  <c:v>6.5</c:v>
                </c:pt>
                <c:pt idx="1212">
                  <c:v>6.5</c:v>
                </c:pt>
                <c:pt idx="1213">
                  <c:v>6.5</c:v>
                </c:pt>
                <c:pt idx="1214">
                  <c:v>6.5</c:v>
                </c:pt>
                <c:pt idx="1215">
                  <c:v>6.5</c:v>
                </c:pt>
                <c:pt idx="1216">
                  <c:v>6.5</c:v>
                </c:pt>
                <c:pt idx="1217">
                  <c:v>6.5</c:v>
                </c:pt>
                <c:pt idx="1218">
                  <c:v>6.5</c:v>
                </c:pt>
                <c:pt idx="1219">
                  <c:v>6.5</c:v>
                </c:pt>
                <c:pt idx="1220">
                  <c:v>6.5</c:v>
                </c:pt>
                <c:pt idx="1221">
                  <c:v>6.5</c:v>
                </c:pt>
                <c:pt idx="1222">
                  <c:v>6.5</c:v>
                </c:pt>
                <c:pt idx="1223">
                  <c:v>6.5</c:v>
                </c:pt>
                <c:pt idx="1224">
                  <c:v>6.5</c:v>
                </c:pt>
                <c:pt idx="1225">
                  <c:v>6.5</c:v>
                </c:pt>
                <c:pt idx="1226">
                  <c:v>6.5</c:v>
                </c:pt>
                <c:pt idx="1227">
                  <c:v>6.5</c:v>
                </c:pt>
                <c:pt idx="1228">
                  <c:v>6.5</c:v>
                </c:pt>
                <c:pt idx="1229">
                  <c:v>6.5</c:v>
                </c:pt>
                <c:pt idx="1230">
                  <c:v>6.5</c:v>
                </c:pt>
                <c:pt idx="1231">
                  <c:v>6.5</c:v>
                </c:pt>
                <c:pt idx="1232">
                  <c:v>6.5</c:v>
                </c:pt>
                <c:pt idx="1233">
                  <c:v>6.5</c:v>
                </c:pt>
                <c:pt idx="1234">
                  <c:v>6.5</c:v>
                </c:pt>
                <c:pt idx="1235">
                  <c:v>6.5</c:v>
                </c:pt>
                <c:pt idx="1236">
                  <c:v>6.5</c:v>
                </c:pt>
                <c:pt idx="1237">
                  <c:v>6.5</c:v>
                </c:pt>
                <c:pt idx="1238">
                  <c:v>6.5</c:v>
                </c:pt>
                <c:pt idx="1239">
                  <c:v>6.5</c:v>
                </c:pt>
                <c:pt idx="1240">
                  <c:v>6.5</c:v>
                </c:pt>
                <c:pt idx="1241">
                  <c:v>6.5</c:v>
                </c:pt>
                <c:pt idx="1242">
                  <c:v>6.5</c:v>
                </c:pt>
                <c:pt idx="1243">
                  <c:v>6.5</c:v>
                </c:pt>
                <c:pt idx="1244">
                  <c:v>6.5</c:v>
                </c:pt>
                <c:pt idx="1245">
                  <c:v>6.5</c:v>
                </c:pt>
                <c:pt idx="1246">
                  <c:v>6.5</c:v>
                </c:pt>
                <c:pt idx="1247">
                  <c:v>6.5</c:v>
                </c:pt>
                <c:pt idx="1248">
                  <c:v>6.5</c:v>
                </c:pt>
                <c:pt idx="1249">
                  <c:v>6.5</c:v>
                </c:pt>
                <c:pt idx="1250">
                  <c:v>6.5</c:v>
                </c:pt>
                <c:pt idx="1251">
                  <c:v>6.5</c:v>
                </c:pt>
                <c:pt idx="1252">
                  <c:v>6.5</c:v>
                </c:pt>
                <c:pt idx="1253">
                  <c:v>6.5</c:v>
                </c:pt>
                <c:pt idx="1254">
                  <c:v>6.5</c:v>
                </c:pt>
                <c:pt idx="1255">
                  <c:v>6.5</c:v>
                </c:pt>
                <c:pt idx="1256">
                  <c:v>6.5</c:v>
                </c:pt>
                <c:pt idx="1257">
                  <c:v>6.5</c:v>
                </c:pt>
                <c:pt idx="1258">
                  <c:v>6.5</c:v>
                </c:pt>
                <c:pt idx="1259">
                  <c:v>6.5</c:v>
                </c:pt>
                <c:pt idx="1260">
                  <c:v>6.5</c:v>
                </c:pt>
                <c:pt idx="1261">
                  <c:v>6.5</c:v>
                </c:pt>
                <c:pt idx="1262">
                  <c:v>6.5</c:v>
                </c:pt>
                <c:pt idx="1263">
                  <c:v>6.5</c:v>
                </c:pt>
                <c:pt idx="1264">
                  <c:v>6.5</c:v>
                </c:pt>
                <c:pt idx="1265">
                  <c:v>6.5</c:v>
                </c:pt>
                <c:pt idx="1266">
                  <c:v>6.5</c:v>
                </c:pt>
                <c:pt idx="1267">
                  <c:v>6.5</c:v>
                </c:pt>
                <c:pt idx="1268">
                  <c:v>6.5</c:v>
                </c:pt>
                <c:pt idx="1269">
                  <c:v>6.5</c:v>
                </c:pt>
                <c:pt idx="1270">
                  <c:v>6.5</c:v>
                </c:pt>
                <c:pt idx="1271">
                  <c:v>6.5</c:v>
                </c:pt>
                <c:pt idx="1272">
                  <c:v>6.5</c:v>
                </c:pt>
                <c:pt idx="1273">
                  <c:v>6.5</c:v>
                </c:pt>
                <c:pt idx="1274">
                  <c:v>6.5</c:v>
                </c:pt>
                <c:pt idx="1275">
                  <c:v>6.5</c:v>
                </c:pt>
                <c:pt idx="1276">
                  <c:v>6.5</c:v>
                </c:pt>
                <c:pt idx="1277">
                  <c:v>6.5</c:v>
                </c:pt>
                <c:pt idx="1278">
                  <c:v>6.5</c:v>
                </c:pt>
                <c:pt idx="1279">
                  <c:v>6.5</c:v>
                </c:pt>
                <c:pt idx="1280">
                  <c:v>6.5</c:v>
                </c:pt>
                <c:pt idx="1281">
                  <c:v>6.5</c:v>
                </c:pt>
                <c:pt idx="1282">
                  <c:v>6.5</c:v>
                </c:pt>
                <c:pt idx="1283">
                  <c:v>6.5</c:v>
                </c:pt>
                <c:pt idx="1284">
                  <c:v>6.5</c:v>
                </c:pt>
                <c:pt idx="1285">
                  <c:v>6.5</c:v>
                </c:pt>
                <c:pt idx="1286">
                  <c:v>6.5</c:v>
                </c:pt>
                <c:pt idx="1287">
                  <c:v>6.5</c:v>
                </c:pt>
                <c:pt idx="1288">
                  <c:v>6.5</c:v>
                </c:pt>
                <c:pt idx="1289">
                  <c:v>6.5</c:v>
                </c:pt>
                <c:pt idx="1290">
                  <c:v>6.5</c:v>
                </c:pt>
                <c:pt idx="1291">
                  <c:v>6.5</c:v>
                </c:pt>
                <c:pt idx="1292">
                  <c:v>6.5</c:v>
                </c:pt>
                <c:pt idx="1293">
                  <c:v>6.5</c:v>
                </c:pt>
                <c:pt idx="1294">
                  <c:v>6.5</c:v>
                </c:pt>
                <c:pt idx="1295">
                  <c:v>6.5</c:v>
                </c:pt>
                <c:pt idx="1296">
                  <c:v>6.5</c:v>
                </c:pt>
                <c:pt idx="1297">
                  <c:v>6.5</c:v>
                </c:pt>
                <c:pt idx="1298">
                  <c:v>6.5</c:v>
                </c:pt>
                <c:pt idx="1299">
                  <c:v>6.5</c:v>
                </c:pt>
                <c:pt idx="1300">
                  <c:v>6.5</c:v>
                </c:pt>
                <c:pt idx="1301">
                  <c:v>6.5</c:v>
                </c:pt>
                <c:pt idx="1302">
                  <c:v>6.5</c:v>
                </c:pt>
                <c:pt idx="1303">
                  <c:v>6.5</c:v>
                </c:pt>
                <c:pt idx="1304">
                  <c:v>6.5</c:v>
                </c:pt>
                <c:pt idx="1305">
                  <c:v>6.5</c:v>
                </c:pt>
                <c:pt idx="1306">
                  <c:v>6.5</c:v>
                </c:pt>
                <c:pt idx="1307">
                  <c:v>6.5</c:v>
                </c:pt>
                <c:pt idx="1308">
                  <c:v>6.5</c:v>
                </c:pt>
                <c:pt idx="1309">
                  <c:v>6.5</c:v>
                </c:pt>
                <c:pt idx="1310">
                  <c:v>6.5</c:v>
                </c:pt>
                <c:pt idx="1311">
                  <c:v>6.5</c:v>
                </c:pt>
                <c:pt idx="1312">
                  <c:v>6.5</c:v>
                </c:pt>
                <c:pt idx="1313">
                  <c:v>6.5</c:v>
                </c:pt>
                <c:pt idx="1314">
                  <c:v>6.5</c:v>
                </c:pt>
                <c:pt idx="1315">
                  <c:v>6.5</c:v>
                </c:pt>
                <c:pt idx="1316">
                  <c:v>6.5</c:v>
                </c:pt>
                <c:pt idx="1317">
                  <c:v>6.5</c:v>
                </c:pt>
                <c:pt idx="1318">
                  <c:v>6.5</c:v>
                </c:pt>
                <c:pt idx="1319">
                  <c:v>6.5</c:v>
                </c:pt>
                <c:pt idx="1320">
                  <c:v>6.5</c:v>
                </c:pt>
                <c:pt idx="1321">
                  <c:v>6.5</c:v>
                </c:pt>
                <c:pt idx="1322">
                  <c:v>6.5</c:v>
                </c:pt>
                <c:pt idx="1323">
                  <c:v>6.5</c:v>
                </c:pt>
                <c:pt idx="1324">
                  <c:v>6.5</c:v>
                </c:pt>
                <c:pt idx="1325">
                  <c:v>6.5</c:v>
                </c:pt>
                <c:pt idx="1326">
                  <c:v>6.5</c:v>
                </c:pt>
                <c:pt idx="1327">
                  <c:v>6.5</c:v>
                </c:pt>
                <c:pt idx="1328">
                  <c:v>6.5</c:v>
                </c:pt>
                <c:pt idx="1329">
                  <c:v>6.5</c:v>
                </c:pt>
                <c:pt idx="1330">
                  <c:v>6.5</c:v>
                </c:pt>
                <c:pt idx="1331">
                  <c:v>6.5</c:v>
                </c:pt>
                <c:pt idx="1332">
                  <c:v>6.5</c:v>
                </c:pt>
                <c:pt idx="1333">
                  <c:v>6.5</c:v>
                </c:pt>
                <c:pt idx="1334">
                  <c:v>6.5</c:v>
                </c:pt>
                <c:pt idx="1335">
                  <c:v>6.5</c:v>
                </c:pt>
                <c:pt idx="1336">
                  <c:v>6.5</c:v>
                </c:pt>
                <c:pt idx="1337">
                  <c:v>6.5</c:v>
                </c:pt>
                <c:pt idx="1338">
                  <c:v>6.5</c:v>
                </c:pt>
                <c:pt idx="1339">
                  <c:v>6.5</c:v>
                </c:pt>
                <c:pt idx="1340">
                  <c:v>6.5</c:v>
                </c:pt>
                <c:pt idx="1341">
                  <c:v>6.5</c:v>
                </c:pt>
                <c:pt idx="1342">
                  <c:v>6.5</c:v>
                </c:pt>
                <c:pt idx="1343">
                  <c:v>6.5</c:v>
                </c:pt>
                <c:pt idx="1344">
                  <c:v>6.5</c:v>
                </c:pt>
                <c:pt idx="1345">
                  <c:v>6.5</c:v>
                </c:pt>
                <c:pt idx="1346">
                  <c:v>6.5</c:v>
                </c:pt>
                <c:pt idx="1347">
                  <c:v>6.5</c:v>
                </c:pt>
                <c:pt idx="1348">
                  <c:v>6.5</c:v>
                </c:pt>
                <c:pt idx="1349">
                  <c:v>6.5</c:v>
                </c:pt>
                <c:pt idx="1350">
                  <c:v>6.5</c:v>
                </c:pt>
                <c:pt idx="1351">
                  <c:v>6.5</c:v>
                </c:pt>
                <c:pt idx="1352">
                  <c:v>6.5</c:v>
                </c:pt>
                <c:pt idx="1353">
                  <c:v>6.5</c:v>
                </c:pt>
                <c:pt idx="1354">
                  <c:v>6.5</c:v>
                </c:pt>
                <c:pt idx="1355">
                  <c:v>6.5</c:v>
                </c:pt>
                <c:pt idx="1356">
                  <c:v>6.5</c:v>
                </c:pt>
                <c:pt idx="1357">
                  <c:v>6.5</c:v>
                </c:pt>
                <c:pt idx="1358">
                  <c:v>6.5</c:v>
                </c:pt>
                <c:pt idx="1359">
                  <c:v>6.5</c:v>
                </c:pt>
                <c:pt idx="1360">
                  <c:v>6.5</c:v>
                </c:pt>
                <c:pt idx="1361">
                  <c:v>6.5</c:v>
                </c:pt>
                <c:pt idx="1362">
                  <c:v>6.5</c:v>
                </c:pt>
                <c:pt idx="1363">
                  <c:v>6.5</c:v>
                </c:pt>
                <c:pt idx="1364">
                  <c:v>6.5</c:v>
                </c:pt>
                <c:pt idx="1365">
                  <c:v>6.5</c:v>
                </c:pt>
                <c:pt idx="1366">
                  <c:v>6.5</c:v>
                </c:pt>
                <c:pt idx="1367">
                  <c:v>6.5</c:v>
                </c:pt>
                <c:pt idx="1368">
                  <c:v>6.5</c:v>
                </c:pt>
                <c:pt idx="1369">
                  <c:v>6.5</c:v>
                </c:pt>
                <c:pt idx="1370">
                  <c:v>6.5</c:v>
                </c:pt>
                <c:pt idx="1371">
                  <c:v>6.5</c:v>
                </c:pt>
                <c:pt idx="1372">
                  <c:v>6.5</c:v>
                </c:pt>
                <c:pt idx="1373">
                  <c:v>6.5</c:v>
                </c:pt>
                <c:pt idx="1374">
                  <c:v>6.5</c:v>
                </c:pt>
                <c:pt idx="1375">
                  <c:v>6.5</c:v>
                </c:pt>
                <c:pt idx="1376">
                  <c:v>6.5</c:v>
                </c:pt>
                <c:pt idx="1377">
                  <c:v>6.5</c:v>
                </c:pt>
                <c:pt idx="1378">
                  <c:v>6.5</c:v>
                </c:pt>
                <c:pt idx="1379">
                  <c:v>6.5</c:v>
                </c:pt>
                <c:pt idx="1380">
                  <c:v>6.5</c:v>
                </c:pt>
                <c:pt idx="1381">
                  <c:v>6.5</c:v>
                </c:pt>
                <c:pt idx="1382">
                  <c:v>6.5</c:v>
                </c:pt>
                <c:pt idx="1383">
                  <c:v>6.5</c:v>
                </c:pt>
                <c:pt idx="1384">
                  <c:v>6.5</c:v>
                </c:pt>
                <c:pt idx="1385">
                  <c:v>6.5</c:v>
                </c:pt>
                <c:pt idx="1386">
                  <c:v>6.5</c:v>
                </c:pt>
                <c:pt idx="1387">
                  <c:v>6.5</c:v>
                </c:pt>
                <c:pt idx="1388">
                  <c:v>6.5</c:v>
                </c:pt>
                <c:pt idx="1389">
                  <c:v>6.5</c:v>
                </c:pt>
                <c:pt idx="1390">
                  <c:v>6.5</c:v>
                </c:pt>
                <c:pt idx="1391">
                  <c:v>6.5</c:v>
                </c:pt>
                <c:pt idx="1392">
                  <c:v>6.5</c:v>
                </c:pt>
                <c:pt idx="1393">
                  <c:v>6.5</c:v>
                </c:pt>
                <c:pt idx="1394">
                  <c:v>6.5</c:v>
                </c:pt>
                <c:pt idx="1395">
                  <c:v>6.5</c:v>
                </c:pt>
                <c:pt idx="1396">
                  <c:v>6.5</c:v>
                </c:pt>
                <c:pt idx="1397">
                  <c:v>6.5</c:v>
                </c:pt>
                <c:pt idx="1398">
                  <c:v>6.5</c:v>
                </c:pt>
                <c:pt idx="1399">
                  <c:v>6.5</c:v>
                </c:pt>
                <c:pt idx="1400">
                  <c:v>6.5</c:v>
                </c:pt>
                <c:pt idx="1401">
                  <c:v>6.5</c:v>
                </c:pt>
                <c:pt idx="1402">
                  <c:v>6.5</c:v>
                </c:pt>
                <c:pt idx="1403">
                  <c:v>6.5</c:v>
                </c:pt>
                <c:pt idx="1404">
                  <c:v>6.5</c:v>
                </c:pt>
                <c:pt idx="1405">
                  <c:v>6.5</c:v>
                </c:pt>
                <c:pt idx="1406">
                  <c:v>6.5</c:v>
                </c:pt>
                <c:pt idx="1407">
                  <c:v>6.5</c:v>
                </c:pt>
                <c:pt idx="1408">
                  <c:v>6.5</c:v>
                </c:pt>
                <c:pt idx="1409">
                  <c:v>6.5</c:v>
                </c:pt>
                <c:pt idx="1410">
                  <c:v>6.5</c:v>
                </c:pt>
                <c:pt idx="1411">
                  <c:v>6.5</c:v>
                </c:pt>
                <c:pt idx="1412">
                  <c:v>6.5</c:v>
                </c:pt>
                <c:pt idx="1413">
                  <c:v>6.5</c:v>
                </c:pt>
                <c:pt idx="1414">
                  <c:v>6.5</c:v>
                </c:pt>
                <c:pt idx="1415">
                  <c:v>6.5</c:v>
                </c:pt>
                <c:pt idx="1416">
                  <c:v>6.5</c:v>
                </c:pt>
                <c:pt idx="1417">
                  <c:v>6.5</c:v>
                </c:pt>
                <c:pt idx="1418">
                  <c:v>6.5</c:v>
                </c:pt>
                <c:pt idx="1419">
                  <c:v>6.5</c:v>
                </c:pt>
                <c:pt idx="1420">
                  <c:v>6.5</c:v>
                </c:pt>
                <c:pt idx="1421">
                  <c:v>6.5</c:v>
                </c:pt>
                <c:pt idx="1422">
                  <c:v>6.5</c:v>
                </c:pt>
                <c:pt idx="1423">
                  <c:v>6.5</c:v>
                </c:pt>
                <c:pt idx="1424">
                  <c:v>6.5</c:v>
                </c:pt>
                <c:pt idx="1425">
                  <c:v>6.5</c:v>
                </c:pt>
                <c:pt idx="1426">
                  <c:v>6.5</c:v>
                </c:pt>
                <c:pt idx="1427">
                  <c:v>6.5</c:v>
                </c:pt>
                <c:pt idx="1428">
                  <c:v>6.5</c:v>
                </c:pt>
                <c:pt idx="1429">
                  <c:v>6.5</c:v>
                </c:pt>
                <c:pt idx="1430">
                  <c:v>6.5</c:v>
                </c:pt>
              </c:numCache>
            </c:numRef>
          </c:val>
          <c:smooth val="0"/>
        </c:ser>
        <c:dLbls>
          <c:showLegendKey val="0"/>
          <c:showVal val="0"/>
          <c:showCatName val="0"/>
          <c:showSerName val="0"/>
          <c:showPercent val="0"/>
          <c:showBubbleSize val="0"/>
        </c:dLbls>
        <c:smooth val="0"/>
        <c:axId val="916511856"/>
        <c:axId val="916514600"/>
      </c:lineChart>
      <c:dateAx>
        <c:axId val="916511856"/>
        <c:scaling>
          <c:orientation val="minMax"/>
        </c:scaling>
        <c:delete val="0"/>
        <c:axPos val="b"/>
        <c:numFmt formatCode="[$-416]mmm\-yy;@" sourceLinked="0"/>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916514600"/>
        <c:crosses val="autoZero"/>
        <c:auto val="1"/>
        <c:lblOffset val="100"/>
        <c:baseTimeUnit val="days"/>
      </c:dateAx>
      <c:valAx>
        <c:axId val="916514600"/>
        <c:scaling>
          <c:orientation val="minMax"/>
          <c:max val="14.5"/>
          <c:min val="5.5"/>
        </c:scaling>
        <c:delete val="0"/>
        <c:axPos val="l"/>
        <c:numFmt formatCode="_-* #,##0.0_-;\-* #,##0.0_-;_-*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916511856"/>
        <c:crosses val="autoZero"/>
        <c:crossBetween val="between"/>
        <c:majorUnit val="1"/>
      </c:valAx>
      <c:spPr>
        <a:noFill/>
        <a:ln>
          <a:noFill/>
        </a:ln>
        <a:effectLst/>
      </c:spPr>
    </c:plotArea>
    <c:plotVisOnly val="1"/>
    <c:dispBlanksAs val="gap"/>
    <c:showDLblsOverMax val="0"/>
  </c:chart>
  <c:spPr>
    <a:solidFill>
      <a:schemeClr val="bg1"/>
    </a:solidFill>
    <a:ln w="9525" cap="flat" cmpd="sng" algn="ctr">
      <a:noFill/>
      <a:round/>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X$1476:$X$1479</c:f>
              <c:strCache>
                <c:ptCount val="4"/>
                <c:pt idx="0">
                  <c:v>2017</c:v>
                </c:pt>
                <c:pt idx="1">
                  <c:v>2018</c:v>
                </c:pt>
                <c:pt idx="2">
                  <c:v>2019e</c:v>
                </c:pt>
                <c:pt idx="3">
                  <c:v>2020e</c:v>
                </c:pt>
              </c:strCache>
            </c:strRef>
          </c:cat>
          <c:val>
            <c:numRef>
              <c:f>Sheet1!$Z$1476:$Z$1479</c:f>
              <c:numCache>
                <c:formatCode>0%</c:formatCode>
                <c:ptCount val="4"/>
                <c:pt idx="0">
                  <c:v>0.26571096701144303</c:v>
                </c:pt>
                <c:pt idx="1">
                  <c:v>0.54633368893230339</c:v>
                </c:pt>
                <c:pt idx="2">
                  <c:v>0.33083532957524509</c:v>
                </c:pt>
                <c:pt idx="3">
                  <c:v>0.13480438692914976</c:v>
                </c:pt>
              </c:numCache>
            </c:numRef>
          </c:val>
        </c:ser>
        <c:dLbls>
          <c:showLegendKey val="0"/>
          <c:showVal val="0"/>
          <c:showCatName val="0"/>
          <c:showSerName val="0"/>
          <c:showPercent val="0"/>
          <c:showBubbleSize val="0"/>
        </c:dLbls>
        <c:gapWidth val="219"/>
        <c:overlap val="-27"/>
        <c:axId val="496821840"/>
        <c:axId val="496813608"/>
      </c:barChart>
      <c:catAx>
        <c:axId val="4968218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96813608"/>
        <c:crosses val="autoZero"/>
        <c:auto val="1"/>
        <c:lblAlgn val="ctr"/>
        <c:lblOffset val="100"/>
        <c:noMultiLvlLbl val="0"/>
      </c:catAx>
      <c:valAx>
        <c:axId val="496813608"/>
        <c:scaling>
          <c:orientation val="minMax"/>
        </c:scaling>
        <c:delete val="1"/>
        <c:axPos val="l"/>
        <c:numFmt formatCode="0%" sourceLinked="1"/>
        <c:majorTickMark val="none"/>
        <c:minorTickMark val="none"/>
        <c:tickLblPos val="nextTo"/>
        <c:crossAx val="49682184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spPr>
            <a:ln w="28575" cap="rnd">
              <a:solidFill>
                <a:schemeClr val="accent1"/>
              </a:solidFill>
              <a:round/>
            </a:ln>
            <a:effectLst/>
          </c:spPr>
          <c:marker>
            <c:symbol val="none"/>
          </c:marker>
          <c:cat>
            <c:numRef>
              <c:f>Sheet1!$A$7:$A$1625</c:f>
              <c:numCache>
                <c:formatCode>m/d/yyyy</c:formatCode>
                <c:ptCount val="1619"/>
                <c:pt idx="0">
                  <c:v>41640</c:v>
                </c:pt>
                <c:pt idx="1">
                  <c:v>41641</c:v>
                </c:pt>
                <c:pt idx="2">
                  <c:v>41642</c:v>
                </c:pt>
                <c:pt idx="3">
                  <c:v>41645</c:v>
                </c:pt>
                <c:pt idx="4">
                  <c:v>41646</c:v>
                </c:pt>
                <c:pt idx="5">
                  <c:v>41647</c:v>
                </c:pt>
                <c:pt idx="6">
                  <c:v>41648</c:v>
                </c:pt>
                <c:pt idx="7">
                  <c:v>41649</c:v>
                </c:pt>
                <c:pt idx="8">
                  <c:v>41652</c:v>
                </c:pt>
                <c:pt idx="9">
                  <c:v>41653</c:v>
                </c:pt>
                <c:pt idx="10">
                  <c:v>41654</c:v>
                </c:pt>
                <c:pt idx="11">
                  <c:v>41655</c:v>
                </c:pt>
                <c:pt idx="12">
                  <c:v>41656</c:v>
                </c:pt>
                <c:pt idx="13">
                  <c:v>41659</c:v>
                </c:pt>
                <c:pt idx="14">
                  <c:v>41660</c:v>
                </c:pt>
                <c:pt idx="15">
                  <c:v>41661</c:v>
                </c:pt>
                <c:pt idx="16">
                  <c:v>41662</c:v>
                </c:pt>
                <c:pt idx="17">
                  <c:v>41663</c:v>
                </c:pt>
                <c:pt idx="18">
                  <c:v>41666</c:v>
                </c:pt>
                <c:pt idx="19">
                  <c:v>41667</c:v>
                </c:pt>
                <c:pt idx="20">
                  <c:v>41668</c:v>
                </c:pt>
                <c:pt idx="21">
                  <c:v>41669</c:v>
                </c:pt>
                <c:pt idx="22">
                  <c:v>41670</c:v>
                </c:pt>
                <c:pt idx="23">
                  <c:v>41673</c:v>
                </c:pt>
                <c:pt idx="24">
                  <c:v>41674</c:v>
                </c:pt>
                <c:pt idx="25">
                  <c:v>41675</c:v>
                </c:pt>
                <c:pt idx="26">
                  <c:v>41676</c:v>
                </c:pt>
                <c:pt idx="27">
                  <c:v>41677</c:v>
                </c:pt>
                <c:pt idx="28">
                  <c:v>41680</c:v>
                </c:pt>
                <c:pt idx="29">
                  <c:v>41681</c:v>
                </c:pt>
                <c:pt idx="30">
                  <c:v>41682</c:v>
                </c:pt>
                <c:pt idx="31">
                  <c:v>41683</c:v>
                </c:pt>
                <c:pt idx="32">
                  <c:v>41684</c:v>
                </c:pt>
                <c:pt idx="33">
                  <c:v>41687</c:v>
                </c:pt>
                <c:pt idx="34">
                  <c:v>41688</c:v>
                </c:pt>
                <c:pt idx="35">
                  <c:v>41689</c:v>
                </c:pt>
                <c:pt idx="36">
                  <c:v>41690</c:v>
                </c:pt>
                <c:pt idx="37">
                  <c:v>41691</c:v>
                </c:pt>
                <c:pt idx="38">
                  <c:v>41694</c:v>
                </c:pt>
                <c:pt idx="39">
                  <c:v>41695</c:v>
                </c:pt>
                <c:pt idx="40">
                  <c:v>41696</c:v>
                </c:pt>
                <c:pt idx="41">
                  <c:v>41697</c:v>
                </c:pt>
                <c:pt idx="42">
                  <c:v>41698</c:v>
                </c:pt>
                <c:pt idx="43">
                  <c:v>41701</c:v>
                </c:pt>
                <c:pt idx="44">
                  <c:v>41702</c:v>
                </c:pt>
                <c:pt idx="45">
                  <c:v>41703</c:v>
                </c:pt>
                <c:pt idx="46">
                  <c:v>41704</c:v>
                </c:pt>
                <c:pt idx="47">
                  <c:v>41705</c:v>
                </c:pt>
                <c:pt idx="48">
                  <c:v>41708</c:v>
                </c:pt>
                <c:pt idx="49">
                  <c:v>41709</c:v>
                </c:pt>
                <c:pt idx="50">
                  <c:v>41710</c:v>
                </c:pt>
                <c:pt idx="51">
                  <c:v>41711</c:v>
                </c:pt>
                <c:pt idx="52">
                  <c:v>41712</c:v>
                </c:pt>
                <c:pt idx="53">
                  <c:v>41715</c:v>
                </c:pt>
                <c:pt idx="54">
                  <c:v>41716</c:v>
                </c:pt>
                <c:pt idx="55">
                  <c:v>41717</c:v>
                </c:pt>
                <c:pt idx="56">
                  <c:v>41718</c:v>
                </c:pt>
                <c:pt idx="57">
                  <c:v>41719</c:v>
                </c:pt>
                <c:pt idx="58">
                  <c:v>41722</c:v>
                </c:pt>
                <c:pt idx="59">
                  <c:v>41723</c:v>
                </c:pt>
                <c:pt idx="60">
                  <c:v>41724</c:v>
                </c:pt>
                <c:pt idx="61">
                  <c:v>41725</c:v>
                </c:pt>
                <c:pt idx="62">
                  <c:v>41726</c:v>
                </c:pt>
                <c:pt idx="63">
                  <c:v>41729</c:v>
                </c:pt>
                <c:pt idx="64">
                  <c:v>41730</c:v>
                </c:pt>
                <c:pt idx="65">
                  <c:v>41731</c:v>
                </c:pt>
                <c:pt idx="66">
                  <c:v>41732</c:v>
                </c:pt>
                <c:pt idx="67">
                  <c:v>41733</c:v>
                </c:pt>
                <c:pt idx="68">
                  <c:v>41736</c:v>
                </c:pt>
                <c:pt idx="69">
                  <c:v>41737</c:v>
                </c:pt>
                <c:pt idx="70">
                  <c:v>41738</c:v>
                </c:pt>
                <c:pt idx="71">
                  <c:v>41739</c:v>
                </c:pt>
                <c:pt idx="72">
                  <c:v>41740</c:v>
                </c:pt>
                <c:pt idx="73">
                  <c:v>41743</c:v>
                </c:pt>
                <c:pt idx="74">
                  <c:v>41744</c:v>
                </c:pt>
                <c:pt idx="75">
                  <c:v>41745</c:v>
                </c:pt>
                <c:pt idx="76">
                  <c:v>41746</c:v>
                </c:pt>
                <c:pt idx="77">
                  <c:v>41747</c:v>
                </c:pt>
                <c:pt idx="78">
                  <c:v>41750</c:v>
                </c:pt>
                <c:pt idx="79">
                  <c:v>41751</c:v>
                </c:pt>
                <c:pt idx="80">
                  <c:v>41752</c:v>
                </c:pt>
                <c:pt idx="81">
                  <c:v>41753</c:v>
                </c:pt>
                <c:pt idx="82">
                  <c:v>41754</c:v>
                </c:pt>
                <c:pt idx="83">
                  <c:v>41757</c:v>
                </c:pt>
                <c:pt idx="84">
                  <c:v>41758</c:v>
                </c:pt>
                <c:pt idx="85">
                  <c:v>41759</c:v>
                </c:pt>
                <c:pt idx="86">
                  <c:v>41760</c:v>
                </c:pt>
                <c:pt idx="87">
                  <c:v>41761</c:v>
                </c:pt>
                <c:pt idx="88">
                  <c:v>41764</c:v>
                </c:pt>
                <c:pt idx="89">
                  <c:v>41765</c:v>
                </c:pt>
                <c:pt idx="90">
                  <c:v>41766</c:v>
                </c:pt>
                <c:pt idx="91">
                  <c:v>41767</c:v>
                </c:pt>
                <c:pt idx="92">
                  <c:v>41768</c:v>
                </c:pt>
                <c:pt idx="93">
                  <c:v>41771</c:v>
                </c:pt>
                <c:pt idx="94">
                  <c:v>41772</c:v>
                </c:pt>
                <c:pt idx="95">
                  <c:v>41773</c:v>
                </c:pt>
                <c:pt idx="96">
                  <c:v>41774</c:v>
                </c:pt>
                <c:pt idx="97">
                  <c:v>41775</c:v>
                </c:pt>
                <c:pt idx="98">
                  <c:v>41778</c:v>
                </c:pt>
                <c:pt idx="99">
                  <c:v>41779</c:v>
                </c:pt>
                <c:pt idx="100">
                  <c:v>41780</c:v>
                </c:pt>
                <c:pt idx="101">
                  <c:v>41781</c:v>
                </c:pt>
                <c:pt idx="102">
                  <c:v>41782</c:v>
                </c:pt>
                <c:pt idx="103">
                  <c:v>41785</c:v>
                </c:pt>
                <c:pt idx="104">
                  <c:v>41786</c:v>
                </c:pt>
                <c:pt idx="105">
                  <c:v>41787</c:v>
                </c:pt>
                <c:pt idx="106">
                  <c:v>41788</c:v>
                </c:pt>
                <c:pt idx="107">
                  <c:v>41789</c:v>
                </c:pt>
                <c:pt idx="108">
                  <c:v>41792</c:v>
                </c:pt>
                <c:pt idx="109">
                  <c:v>41793</c:v>
                </c:pt>
                <c:pt idx="110">
                  <c:v>41794</c:v>
                </c:pt>
                <c:pt idx="111">
                  <c:v>41795</c:v>
                </c:pt>
                <c:pt idx="112">
                  <c:v>41796</c:v>
                </c:pt>
                <c:pt idx="113">
                  <c:v>41799</c:v>
                </c:pt>
                <c:pt idx="114">
                  <c:v>41800</c:v>
                </c:pt>
                <c:pt idx="115">
                  <c:v>41801</c:v>
                </c:pt>
                <c:pt idx="116">
                  <c:v>41802</c:v>
                </c:pt>
                <c:pt idx="117">
                  <c:v>41803</c:v>
                </c:pt>
                <c:pt idx="118">
                  <c:v>41806</c:v>
                </c:pt>
                <c:pt idx="119">
                  <c:v>41807</c:v>
                </c:pt>
                <c:pt idx="120">
                  <c:v>41808</c:v>
                </c:pt>
                <c:pt idx="121">
                  <c:v>41809</c:v>
                </c:pt>
                <c:pt idx="122">
                  <c:v>41810</c:v>
                </c:pt>
                <c:pt idx="123">
                  <c:v>41813</c:v>
                </c:pt>
                <c:pt idx="124">
                  <c:v>41814</c:v>
                </c:pt>
                <c:pt idx="125">
                  <c:v>41815</c:v>
                </c:pt>
                <c:pt idx="126">
                  <c:v>41816</c:v>
                </c:pt>
                <c:pt idx="127">
                  <c:v>41817</c:v>
                </c:pt>
                <c:pt idx="128">
                  <c:v>41820</c:v>
                </c:pt>
                <c:pt idx="129">
                  <c:v>41821</c:v>
                </c:pt>
                <c:pt idx="130">
                  <c:v>41822</c:v>
                </c:pt>
                <c:pt idx="131">
                  <c:v>41823</c:v>
                </c:pt>
                <c:pt idx="132">
                  <c:v>41824</c:v>
                </c:pt>
                <c:pt idx="133">
                  <c:v>41827</c:v>
                </c:pt>
                <c:pt idx="134">
                  <c:v>41828</c:v>
                </c:pt>
                <c:pt idx="135">
                  <c:v>41829</c:v>
                </c:pt>
                <c:pt idx="136">
                  <c:v>41830</c:v>
                </c:pt>
                <c:pt idx="137">
                  <c:v>41831</c:v>
                </c:pt>
                <c:pt idx="138">
                  <c:v>41834</c:v>
                </c:pt>
                <c:pt idx="139">
                  <c:v>41835</c:v>
                </c:pt>
                <c:pt idx="140">
                  <c:v>41836</c:v>
                </c:pt>
                <c:pt idx="141">
                  <c:v>41837</c:v>
                </c:pt>
                <c:pt idx="142">
                  <c:v>41838</c:v>
                </c:pt>
                <c:pt idx="143">
                  <c:v>41841</c:v>
                </c:pt>
                <c:pt idx="144">
                  <c:v>41842</c:v>
                </c:pt>
                <c:pt idx="145">
                  <c:v>41843</c:v>
                </c:pt>
                <c:pt idx="146">
                  <c:v>41844</c:v>
                </c:pt>
                <c:pt idx="147">
                  <c:v>41845</c:v>
                </c:pt>
                <c:pt idx="148">
                  <c:v>41848</c:v>
                </c:pt>
                <c:pt idx="149">
                  <c:v>41849</c:v>
                </c:pt>
                <c:pt idx="150">
                  <c:v>41850</c:v>
                </c:pt>
                <c:pt idx="151">
                  <c:v>41851</c:v>
                </c:pt>
                <c:pt idx="152">
                  <c:v>41852</c:v>
                </c:pt>
                <c:pt idx="153">
                  <c:v>41855</c:v>
                </c:pt>
                <c:pt idx="154">
                  <c:v>41856</c:v>
                </c:pt>
                <c:pt idx="155">
                  <c:v>41857</c:v>
                </c:pt>
                <c:pt idx="156">
                  <c:v>41858</c:v>
                </c:pt>
                <c:pt idx="157">
                  <c:v>41859</c:v>
                </c:pt>
                <c:pt idx="158">
                  <c:v>41862</c:v>
                </c:pt>
                <c:pt idx="159">
                  <c:v>41863</c:v>
                </c:pt>
                <c:pt idx="160">
                  <c:v>41864</c:v>
                </c:pt>
                <c:pt idx="161">
                  <c:v>41865</c:v>
                </c:pt>
                <c:pt idx="162">
                  <c:v>41866</c:v>
                </c:pt>
                <c:pt idx="163">
                  <c:v>41869</c:v>
                </c:pt>
                <c:pt idx="164">
                  <c:v>41870</c:v>
                </c:pt>
                <c:pt idx="165">
                  <c:v>41871</c:v>
                </c:pt>
                <c:pt idx="166">
                  <c:v>41872</c:v>
                </c:pt>
                <c:pt idx="167">
                  <c:v>41873</c:v>
                </c:pt>
                <c:pt idx="168">
                  <c:v>41876</c:v>
                </c:pt>
                <c:pt idx="169">
                  <c:v>41877</c:v>
                </c:pt>
                <c:pt idx="170">
                  <c:v>41878</c:v>
                </c:pt>
                <c:pt idx="171">
                  <c:v>41879</c:v>
                </c:pt>
                <c:pt idx="172">
                  <c:v>41880</c:v>
                </c:pt>
                <c:pt idx="173">
                  <c:v>41883</c:v>
                </c:pt>
                <c:pt idx="174">
                  <c:v>41884</c:v>
                </c:pt>
                <c:pt idx="175">
                  <c:v>41885</c:v>
                </c:pt>
                <c:pt idx="176">
                  <c:v>41886</c:v>
                </c:pt>
                <c:pt idx="177">
                  <c:v>41887</c:v>
                </c:pt>
                <c:pt idx="178">
                  <c:v>41890</c:v>
                </c:pt>
                <c:pt idx="179">
                  <c:v>41891</c:v>
                </c:pt>
                <c:pt idx="180">
                  <c:v>41892</c:v>
                </c:pt>
                <c:pt idx="181">
                  <c:v>41893</c:v>
                </c:pt>
                <c:pt idx="182">
                  <c:v>41894</c:v>
                </c:pt>
                <c:pt idx="183">
                  <c:v>41897</c:v>
                </c:pt>
                <c:pt idx="184">
                  <c:v>41898</c:v>
                </c:pt>
                <c:pt idx="185">
                  <c:v>41899</c:v>
                </c:pt>
                <c:pt idx="186">
                  <c:v>41900</c:v>
                </c:pt>
                <c:pt idx="187">
                  <c:v>41901</c:v>
                </c:pt>
                <c:pt idx="188">
                  <c:v>41904</c:v>
                </c:pt>
                <c:pt idx="189">
                  <c:v>41905</c:v>
                </c:pt>
                <c:pt idx="190">
                  <c:v>41906</c:v>
                </c:pt>
                <c:pt idx="191">
                  <c:v>41907</c:v>
                </c:pt>
                <c:pt idx="192">
                  <c:v>41908</c:v>
                </c:pt>
                <c:pt idx="193">
                  <c:v>41911</c:v>
                </c:pt>
                <c:pt idx="194">
                  <c:v>41912</c:v>
                </c:pt>
                <c:pt idx="195">
                  <c:v>41913</c:v>
                </c:pt>
                <c:pt idx="196">
                  <c:v>41914</c:v>
                </c:pt>
                <c:pt idx="197">
                  <c:v>41915</c:v>
                </c:pt>
                <c:pt idx="198">
                  <c:v>41918</c:v>
                </c:pt>
                <c:pt idx="199">
                  <c:v>41919</c:v>
                </c:pt>
                <c:pt idx="200">
                  <c:v>41920</c:v>
                </c:pt>
                <c:pt idx="201">
                  <c:v>41921</c:v>
                </c:pt>
                <c:pt idx="202">
                  <c:v>41922</c:v>
                </c:pt>
                <c:pt idx="203">
                  <c:v>41925</c:v>
                </c:pt>
                <c:pt idx="204">
                  <c:v>41926</c:v>
                </c:pt>
                <c:pt idx="205">
                  <c:v>41927</c:v>
                </c:pt>
                <c:pt idx="206">
                  <c:v>41928</c:v>
                </c:pt>
                <c:pt idx="207">
                  <c:v>41929</c:v>
                </c:pt>
                <c:pt idx="208">
                  <c:v>41932</c:v>
                </c:pt>
                <c:pt idx="209">
                  <c:v>41933</c:v>
                </c:pt>
                <c:pt idx="210">
                  <c:v>41934</c:v>
                </c:pt>
                <c:pt idx="211">
                  <c:v>41935</c:v>
                </c:pt>
                <c:pt idx="212">
                  <c:v>41936</c:v>
                </c:pt>
                <c:pt idx="213">
                  <c:v>41939</c:v>
                </c:pt>
                <c:pt idx="214">
                  <c:v>41940</c:v>
                </c:pt>
                <c:pt idx="215">
                  <c:v>41941</c:v>
                </c:pt>
                <c:pt idx="216">
                  <c:v>41942</c:v>
                </c:pt>
                <c:pt idx="217">
                  <c:v>41943</c:v>
                </c:pt>
                <c:pt idx="218">
                  <c:v>41946</c:v>
                </c:pt>
                <c:pt idx="219">
                  <c:v>41947</c:v>
                </c:pt>
                <c:pt idx="220">
                  <c:v>41948</c:v>
                </c:pt>
                <c:pt idx="221">
                  <c:v>41949</c:v>
                </c:pt>
                <c:pt idx="222">
                  <c:v>41950</c:v>
                </c:pt>
                <c:pt idx="223">
                  <c:v>41953</c:v>
                </c:pt>
                <c:pt idx="224">
                  <c:v>41954</c:v>
                </c:pt>
                <c:pt idx="225">
                  <c:v>41955</c:v>
                </c:pt>
                <c:pt idx="226">
                  <c:v>41956</c:v>
                </c:pt>
                <c:pt idx="227">
                  <c:v>41957</c:v>
                </c:pt>
                <c:pt idx="228">
                  <c:v>41960</c:v>
                </c:pt>
                <c:pt idx="229">
                  <c:v>41961</c:v>
                </c:pt>
                <c:pt idx="230">
                  <c:v>41962</c:v>
                </c:pt>
                <c:pt idx="231">
                  <c:v>41963</c:v>
                </c:pt>
                <c:pt idx="232">
                  <c:v>41964</c:v>
                </c:pt>
                <c:pt idx="233">
                  <c:v>41967</c:v>
                </c:pt>
                <c:pt idx="234">
                  <c:v>41968</c:v>
                </c:pt>
                <c:pt idx="235">
                  <c:v>41969</c:v>
                </c:pt>
                <c:pt idx="236">
                  <c:v>41970</c:v>
                </c:pt>
                <c:pt idx="237">
                  <c:v>41971</c:v>
                </c:pt>
                <c:pt idx="238">
                  <c:v>41974</c:v>
                </c:pt>
                <c:pt idx="239">
                  <c:v>41975</c:v>
                </c:pt>
                <c:pt idx="240">
                  <c:v>41976</c:v>
                </c:pt>
                <c:pt idx="241">
                  <c:v>41977</c:v>
                </c:pt>
                <c:pt idx="242">
                  <c:v>41978</c:v>
                </c:pt>
                <c:pt idx="243">
                  <c:v>41981</c:v>
                </c:pt>
                <c:pt idx="244">
                  <c:v>41982</c:v>
                </c:pt>
                <c:pt idx="245">
                  <c:v>41983</c:v>
                </c:pt>
                <c:pt idx="246">
                  <c:v>41984</c:v>
                </c:pt>
                <c:pt idx="247">
                  <c:v>41985</c:v>
                </c:pt>
                <c:pt idx="248">
                  <c:v>41988</c:v>
                </c:pt>
                <c:pt idx="249">
                  <c:v>41989</c:v>
                </c:pt>
                <c:pt idx="250">
                  <c:v>41990</c:v>
                </c:pt>
                <c:pt idx="251">
                  <c:v>41991</c:v>
                </c:pt>
                <c:pt idx="252">
                  <c:v>41992</c:v>
                </c:pt>
                <c:pt idx="253">
                  <c:v>41995</c:v>
                </c:pt>
                <c:pt idx="254">
                  <c:v>41996</c:v>
                </c:pt>
                <c:pt idx="255">
                  <c:v>41997</c:v>
                </c:pt>
                <c:pt idx="256">
                  <c:v>41998</c:v>
                </c:pt>
                <c:pt idx="257">
                  <c:v>41999</c:v>
                </c:pt>
                <c:pt idx="258">
                  <c:v>42002</c:v>
                </c:pt>
                <c:pt idx="259">
                  <c:v>42003</c:v>
                </c:pt>
                <c:pt idx="260">
                  <c:v>42004</c:v>
                </c:pt>
                <c:pt idx="261">
                  <c:v>42005</c:v>
                </c:pt>
                <c:pt idx="262">
                  <c:v>42006</c:v>
                </c:pt>
                <c:pt idx="263">
                  <c:v>42009</c:v>
                </c:pt>
                <c:pt idx="264">
                  <c:v>42010</c:v>
                </c:pt>
                <c:pt idx="265">
                  <c:v>42011</c:v>
                </c:pt>
                <c:pt idx="266">
                  <c:v>42012</c:v>
                </c:pt>
                <c:pt idx="267">
                  <c:v>42013</c:v>
                </c:pt>
                <c:pt idx="268">
                  <c:v>42016</c:v>
                </c:pt>
                <c:pt idx="269">
                  <c:v>42017</c:v>
                </c:pt>
                <c:pt idx="270">
                  <c:v>42018</c:v>
                </c:pt>
                <c:pt idx="271">
                  <c:v>42019</c:v>
                </c:pt>
                <c:pt idx="272">
                  <c:v>42020</c:v>
                </c:pt>
                <c:pt idx="273">
                  <c:v>42023</c:v>
                </c:pt>
                <c:pt idx="274">
                  <c:v>42024</c:v>
                </c:pt>
                <c:pt idx="275">
                  <c:v>42025</c:v>
                </c:pt>
                <c:pt idx="276">
                  <c:v>42026</c:v>
                </c:pt>
                <c:pt idx="277">
                  <c:v>42027</c:v>
                </c:pt>
                <c:pt idx="278">
                  <c:v>42030</c:v>
                </c:pt>
                <c:pt idx="279">
                  <c:v>42031</c:v>
                </c:pt>
                <c:pt idx="280">
                  <c:v>42032</c:v>
                </c:pt>
                <c:pt idx="281">
                  <c:v>42033</c:v>
                </c:pt>
                <c:pt idx="282">
                  <c:v>42034</c:v>
                </c:pt>
                <c:pt idx="283">
                  <c:v>42037</c:v>
                </c:pt>
                <c:pt idx="284">
                  <c:v>42038</c:v>
                </c:pt>
                <c:pt idx="285">
                  <c:v>42039</c:v>
                </c:pt>
                <c:pt idx="286">
                  <c:v>42040</c:v>
                </c:pt>
                <c:pt idx="287">
                  <c:v>42041</c:v>
                </c:pt>
                <c:pt idx="288">
                  <c:v>42044</c:v>
                </c:pt>
                <c:pt idx="289">
                  <c:v>42045</c:v>
                </c:pt>
                <c:pt idx="290">
                  <c:v>42046</c:v>
                </c:pt>
                <c:pt idx="291">
                  <c:v>42047</c:v>
                </c:pt>
                <c:pt idx="292">
                  <c:v>42048</c:v>
                </c:pt>
                <c:pt idx="293">
                  <c:v>42051</c:v>
                </c:pt>
                <c:pt idx="294">
                  <c:v>42052</c:v>
                </c:pt>
                <c:pt idx="295">
                  <c:v>42053</c:v>
                </c:pt>
                <c:pt idx="296">
                  <c:v>42054</c:v>
                </c:pt>
                <c:pt idx="297">
                  <c:v>42055</c:v>
                </c:pt>
                <c:pt idx="298">
                  <c:v>42058</c:v>
                </c:pt>
                <c:pt idx="299">
                  <c:v>42059</c:v>
                </c:pt>
                <c:pt idx="300">
                  <c:v>42060</c:v>
                </c:pt>
                <c:pt idx="301">
                  <c:v>42061</c:v>
                </c:pt>
                <c:pt idx="302">
                  <c:v>42062</c:v>
                </c:pt>
                <c:pt idx="303">
                  <c:v>42065</c:v>
                </c:pt>
                <c:pt idx="304">
                  <c:v>42066</c:v>
                </c:pt>
                <c:pt idx="305">
                  <c:v>42067</c:v>
                </c:pt>
                <c:pt idx="306">
                  <c:v>42068</c:v>
                </c:pt>
                <c:pt idx="307">
                  <c:v>42069</c:v>
                </c:pt>
                <c:pt idx="308">
                  <c:v>42072</c:v>
                </c:pt>
                <c:pt idx="309">
                  <c:v>42073</c:v>
                </c:pt>
                <c:pt idx="310">
                  <c:v>42074</c:v>
                </c:pt>
                <c:pt idx="311">
                  <c:v>42075</c:v>
                </c:pt>
                <c:pt idx="312">
                  <c:v>42076</c:v>
                </c:pt>
                <c:pt idx="313">
                  <c:v>42079</c:v>
                </c:pt>
                <c:pt idx="314">
                  <c:v>42080</c:v>
                </c:pt>
                <c:pt idx="315">
                  <c:v>42081</c:v>
                </c:pt>
                <c:pt idx="316">
                  <c:v>42082</c:v>
                </c:pt>
                <c:pt idx="317">
                  <c:v>42083</c:v>
                </c:pt>
                <c:pt idx="318">
                  <c:v>42086</c:v>
                </c:pt>
                <c:pt idx="319">
                  <c:v>42087</c:v>
                </c:pt>
                <c:pt idx="320">
                  <c:v>42088</c:v>
                </c:pt>
                <c:pt idx="321">
                  <c:v>42089</c:v>
                </c:pt>
                <c:pt idx="322">
                  <c:v>42090</c:v>
                </c:pt>
                <c:pt idx="323">
                  <c:v>42093</c:v>
                </c:pt>
                <c:pt idx="324">
                  <c:v>42094</c:v>
                </c:pt>
                <c:pt idx="325">
                  <c:v>42095</c:v>
                </c:pt>
                <c:pt idx="326">
                  <c:v>42096</c:v>
                </c:pt>
                <c:pt idx="327">
                  <c:v>42097</c:v>
                </c:pt>
                <c:pt idx="328">
                  <c:v>42100</c:v>
                </c:pt>
                <c:pt idx="329">
                  <c:v>42101</c:v>
                </c:pt>
                <c:pt idx="330">
                  <c:v>42102</c:v>
                </c:pt>
                <c:pt idx="331">
                  <c:v>42103</c:v>
                </c:pt>
                <c:pt idx="332">
                  <c:v>42104</c:v>
                </c:pt>
                <c:pt idx="333">
                  <c:v>42107</c:v>
                </c:pt>
                <c:pt idx="334">
                  <c:v>42108</c:v>
                </c:pt>
                <c:pt idx="335">
                  <c:v>42109</c:v>
                </c:pt>
                <c:pt idx="336">
                  <c:v>42110</c:v>
                </c:pt>
                <c:pt idx="337">
                  <c:v>42111</c:v>
                </c:pt>
                <c:pt idx="338">
                  <c:v>42114</c:v>
                </c:pt>
                <c:pt idx="339">
                  <c:v>42115</c:v>
                </c:pt>
                <c:pt idx="340">
                  <c:v>42116</c:v>
                </c:pt>
                <c:pt idx="341">
                  <c:v>42117</c:v>
                </c:pt>
                <c:pt idx="342">
                  <c:v>42118</c:v>
                </c:pt>
                <c:pt idx="343">
                  <c:v>42121</c:v>
                </c:pt>
                <c:pt idx="344">
                  <c:v>42122</c:v>
                </c:pt>
                <c:pt idx="345">
                  <c:v>42123</c:v>
                </c:pt>
                <c:pt idx="346">
                  <c:v>42124</c:v>
                </c:pt>
                <c:pt idx="347">
                  <c:v>42125</c:v>
                </c:pt>
                <c:pt idx="348">
                  <c:v>42128</c:v>
                </c:pt>
                <c:pt idx="349">
                  <c:v>42129</c:v>
                </c:pt>
                <c:pt idx="350">
                  <c:v>42130</c:v>
                </c:pt>
                <c:pt idx="351">
                  <c:v>42131</c:v>
                </c:pt>
                <c:pt idx="352">
                  <c:v>42132</c:v>
                </c:pt>
                <c:pt idx="353">
                  <c:v>42135</c:v>
                </c:pt>
                <c:pt idx="354">
                  <c:v>42136</c:v>
                </c:pt>
                <c:pt idx="355">
                  <c:v>42137</c:v>
                </c:pt>
                <c:pt idx="356">
                  <c:v>42138</c:v>
                </c:pt>
                <c:pt idx="357">
                  <c:v>42139</c:v>
                </c:pt>
                <c:pt idx="358">
                  <c:v>42142</c:v>
                </c:pt>
                <c:pt idx="359">
                  <c:v>42143</c:v>
                </c:pt>
                <c:pt idx="360">
                  <c:v>42144</c:v>
                </c:pt>
                <c:pt idx="361">
                  <c:v>42145</c:v>
                </c:pt>
                <c:pt idx="362">
                  <c:v>42146</c:v>
                </c:pt>
                <c:pt idx="363">
                  <c:v>42149</c:v>
                </c:pt>
                <c:pt idx="364">
                  <c:v>42150</c:v>
                </c:pt>
                <c:pt idx="365">
                  <c:v>42151</c:v>
                </c:pt>
                <c:pt idx="366">
                  <c:v>42152</c:v>
                </c:pt>
                <c:pt idx="367">
                  <c:v>42153</c:v>
                </c:pt>
                <c:pt idx="368">
                  <c:v>42156</c:v>
                </c:pt>
                <c:pt idx="369">
                  <c:v>42157</c:v>
                </c:pt>
                <c:pt idx="370">
                  <c:v>42158</c:v>
                </c:pt>
                <c:pt idx="371">
                  <c:v>42159</c:v>
                </c:pt>
                <c:pt idx="372">
                  <c:v>42160</c:v>
                </c:pt>
                <c:pt idx="373">
                  <c:v>42163</c:v>
                </c:pt>
                <c:pt idx="374">
                  <c:v>42164</c:v>
                </c:pt>
                <c:pt idx="375">
                  <c:v>42165</c:v>
                </c:pt>
                <c:pt idx="376">
                  <c:v>42166</c:v>
                </c:pt>
                <c:pt idx="377">
                  <c:v>42167</c:v>
                </c:pt>
                <c:pt idx="378">
                  <c:v>42170</c:v>
                </c:pt>
                <c:pt idx="379">
                  <c:v>42171</c:v>
                </c:pt>
                <c:pt idx="380">
                  <c:v>42172</c:v>
                </c:pt>
                <c:pt idx="381">
                  <c:v>42173</c:v>
                </c:pt>
                <c:pt idx="382">
                  <c:v>42174</c:v>
                </c:pt>
                <c:pt idx="383">
                  <c:v>42177</c:v>
                </c:pt>
                <c:pt idx="384">
                  <c:v>42178</c:v>
                </c:pt>
                <c:pt idx="385">
                  <c:v>42179</c:v>
                </c:pt>
                <c:pt idx="386">
                  <c:v>42180</c:v>
                </c:pt>
                <c:pt idx="387">
                  <c:v>42181</c:v>
                </c:pt>
                <c:pt idx="388">
                  <c:v>42184</c:v>
                </c:pt>
                <c:pt idx="389">
                  <c:v>42185</c:v>
                </c:pt>
                <c:pt idx="390">
                  <c:v>42186</c:v>
                </c:pt>
                <c:pt idx="391">
                  <c:v>42187</c:v>
                </c:pt>
                <c:pt idx="392">
                  <c:v>42188</c:v>
                </c:pt>
                <c:pt idx="393">
                  <c:v>42191</c:v>
                </c:pt>
                <c:pt idx="394">
                  <c:v>42192</c:v>
                </c:pt>
                <c:pt idx="395">
                  <c:v>42193</c:v>
                </c:pt>
                <c:pt idx="396">
                  <c:v>42194</c:v>
                </c:pt>
                <c:pt idx="397">
                  <c:v>42195</c:v>
                </c:pt>
                <c:pt idx="398">
                  <c:v>42198</c:v>
                </c:pt>
                <c:pt idx="399">
                  <c:v>42199</c:v>
                </c:pt>
                <c:pt idx="400">
                  <c:v>42200</c:v>
                </c:pt>
                <c:pt idx="401">
                  <c:v>42201</c:v>
                </c:pt>
                <c:pt idx="402">
                  <c:v>42202</c:v>
                </c:pt>
                <c:pt idx="403">
                  <c:v>42205</c:v>
                </c:pt>
                <c:pt idx="404">
                  <c:v>42206</c:v>
                </c:pt>
                <c:pt idx="405">
                  <c:v>42207</c:v>
                </c:pt>
                <c:pt idx="406">
                  <c:v>42208</c:v>
                </c:pt>
                <c:pt idx="407">
                  <c:v>42209</c:v>
                </c:pt>
                <c:pt idx="408">
                  <c:v>42212</c:v>
                </c:pt>
                <c:pt idx="409">
                  <c:v>42213</c:v>
                </c:pt>
                <c:pt idx="410">
                  <c:v>42214</c:v>
                </c:pt>
                <c:pt idx="411">
                  <c:v>42215</c:v>
                </c:pt>
                <c:pt idx="412">
                  <c:v>42216</c:v>
                </c:pt>
                <c:pt idx="413">
                  <c:v>42219</c:v>
                </c:pt>
                <c:pt idx="414">
                  <c:v>42220</c:v>
                </c:pt>
                <c:pt idx="415">
                  <c:v>42221</c:v>
                </c:pt>
                <c:pt idx="416">
                  <c:v>42222</c:v>
                </c:pt>
                <c:pt idx="417">
                  <c:v>42223</c:v>
                </c:pt>
                <c:pt idx="418">
                  <c:v>42226</c:v>
                </c:pt>
                <c:pt idx="419">
                  <c:v>42227</c:v>
                </c:pt>
                <c:pt idx="420">
                  <c:v>42228</c:v>
                </c:pt>
                <c:pt idx="421">
                  <c:v>42229</c:v>
                </c:pt>
                <c:pt idx="422">
                  <c:v>42230</c:v>
                </c:pt>
                <c:pt idx="423">
                  <c:v>42233</c:v>
                </c:pt>
                <c:pt idx="424">
                  <c:v>42234</c:v>
                </c:pt>
                <c:pt idx="425">
                  <c:v>42235</c:v>
                </c:pt>
                <c:pt idx="426">
                  <c:v>42236</c:v>
                </c:pt>
                <c:pt idx="427">
                  <c:v>42237</c:v>
                </c:pt>
                <c:pt idx="428">
                  <c:v>42240</c:v>
                </c:pt>
                <c:pt idx="429">
                  <c:v>42241</c:v>
                </c:pt>
                <c:pt idx="430">
                  <c:v>42242</c:v>
                </c:pt>
                <c:pt idx="431">
                  <c:v>42243</c:v>
                </c:pt>
                <c:pt idx="432">
                  <c:v>42244</c:v>
                </c:pt>
                <c:pt idx="433">
                  <c:v>42247</c:v>
                </c:pt>
                <c:pt idx="434">
                  <c:v>42248</c:v>
                </c:pt>
                <c:pt idx="435">
                  <c:v>42249</c:v>
                </c:pt>
                <c:pt idx="436">
                  <c:v>42250</c:v>
                </c:pt>
                <c:pt idx="437">
                  <c:v>42251</c:v>
                </c:pt>
                <c:pt idx="438">
                  <c:v>42254</c:v>
                </c:pt>
                <c:pt idx="439">
                  <c:v>42255</c:v>
                </c:pt>
                <c:pt idx="440">
                  <c:v>42256</c:v>
                </c:pt>
                <c:pt idx="441">
                  <c:v>42257</c:v>
                </c:pt>
                <c:pt idx="442">
                  <c:v>42258</c:v>
                </c:pt>
                <c:pt idx="443">
                  <c:v>42261</c:v>
                </c:pt>
                <c:pt idx="444">
                  <c:v>42262</c:v>
                </c:pt>
                <c:pt idx="445">
                  <c:v>42263</c:v>
                </c:pt>
                <c:pt idx="446">
                  <c:v>42264</c:v>
                </c:pt>
                <c:pt idx="447">
                  <c:v>42265</c:v>
                </c:pt>
                <c:pt idx="448">
                  <c:v>42268</c:v>
                </c:pt>
                <c:pt idx="449">
                  <c:v>42269</c:v>
                </c:pt>
                <c:pt idx="450">
                  <c:v>42270</c:v>
                </c:pt>
                <c:pt idx="451">
                  <c:v>42271</c:v>
                </c:pt>
                <c:pt idx="452">
                  <c:v>42272</c:v>
                </c:pt>
                <c:pt idx="453">
                  <c:v>42275</c:v>
                </c:pt>
                <c:pt idx="454">
                  <c:v>42276</c:v>
                </c:pt>
                <c:pt idx="455">
                  <c:v>42277</c:v>
                </c:pt>
                <c:pt idx="456">
                  <c:v>42278</c:v>
                </c:pt>
                <c:pt idx="457">
                  <c:v>42279</c:v>
                </c:pt>
                <c:pt idx="458">
                  <c:v>42282</c:v>
                </c:pt>
                <c:pt idx="459">
                  <c:v>42283</c:v>
                </c:pt>
                <c:pt idx="460">
                  <c:v>42284</c:v>
                </c:pt>
                <c:pt idx="461">
                  <c:v>42285</c:v>
                </c:pt>
                <c:pt idx="462">
                  <c:v>42286</c:v>
                </c:pt>
                <c:pt idx="463">
                  <c:v>42289</c:v>
                </c:pt>
                <c:pt idx="464">
                  <c:v>42290</c:v>
                </c:pt>
                <c:pt idx="465">
                  <c:v>42291</c:v>
                </c:pt>
                <c:pt idx="466">
                  <c:v>42292</c:v>
                </c:pt>
                <c:pt idx="467">
                  <c:v>42293</c:v>
                </c:pt>
                <c:pt idx="468">
                  <c:v>42296</c:v>
                </c:pt>
                <c:pt idx="469">
                  <c:v>42297</c:v>
                </c:pt>
                <c:pt idx="470">
                  <c:v>42298</c:v>
                </c:pt>
                <c:pt idx="471">
                  <c:v>42299</c:v>
                </c:pt>
                <c:pt idx="472">
                  <c:v>42300</c:v>
                </c:pt>
                <c:pt idx="473">
                  <c:v>42303</c:v>
                </c:pt>
                <c:pt idx="474">
                  <c:v>42304</c:v>
                </c:pt>
                <c:pt idx="475">
                  <c:v>42305</c:v>
                </c:pt>
                <c:pt idx="476">
                  <c:v>42306</c:v>
                </c:pt>
                <c:pt idx="477">
                  <c:v>42307</c:v>
                </c:pt>
                <c:pt idx="478">
                  <c:v>42310</c:v>
                </c:pt>
                <c:pt idx="479">
                  <c:v>42311</c:v>
                </c:pt>
                <c:pt idx="480">
                  <c:v>42312</c:v>
                </c:pt>
                <c:pt idx="481">
                  <c:v>42313</c:v>
                </c:pt>
                <c:pt idx="482">
                  <c:v>42314</c:v>
                </c:pt>
                <c:pt idx="483">
                  <c:v>42317</c:v>
                </c:pt>
                <c:pt idx="484">
                  <c:v>42318</c:v>
                </c:pt>
                <c:pt idx="485">
                  <c:v>42319</c:v>
                </c:pt>
                <c:pt idx="486">
                  <c:v>42320</c:v>
                </c:pt>
                <c:pt idx="487">
                  <c:v>42321</c:v>
                </c:pt>
                <c:pt idx="488">
                  <c:v>42324</c:v>
                </c:pt>
                <c:pt idx="489">
                  <c:v>42325</c:v>
                </c:pt>
                <c:pt idx="490">
                  <c:v>42326</c:v>
                </c:pt>
                <c:pt idx="491">
                  <c:v>42327</c:v>
                </c:pt>
                <c:pt idx="492">
                  <c:v>42328</c:v>
                </c:pt>
                <c:pt idx="493">
                  <c:v>42331</c:v>
                </c:pt>
                <c:pt idx="494">
                  <c:v>42332</c:v>
                </c:pt>
                <c:pt idx="495">
                  <c:v>42333</c:v>
                </c:pt>
                <c:pt idx="496">
                  <c:v>42334</c:v>
                </c:pt>
                <c:pt idx="497">
                  <c:v>42335</c:v>
                </c:pt>
                <c:pt idx="498">
                  <c:v>42338</c:v>
                </c:pt>
                <c:pt idx="499">
                  <c:v>42339</c:v>
                </c:pt>
                <c:pt idx="500">
                  <c:v>42340</c:v>
                </c:pt>
                <c:pt idx="501">
                  <c:v>42341</c:v>
                </c:pt>
                <c:pt idx="502">
                  <c:v>42342</c:v>
                </c:pt>
                <c:pt idx="503">
                  <c:v>42345</c:v>
                </c:pt>
                <c:pt idx="504">
                  <c:v>42346</c:v>
                </c:pt>
                <c:pt idx="505">
                  <c:v>42347</c:v>
                </c:pt>
                <c:pt idx="506">
                  <c:v>42348</c:v>
                </c:pt>
                <c:pt idx="507">
                  <c:v>42349</c:v>
                </c:pt>
                <c:pt idx="508">
                  <c:v>42352</c:v>
                </c:pt>
                <c:pt idx="509">
                  <c:v>42353</c:v>
                </c:pt>
                <c:pt idx="510">
                  <c:v>42354</c:v>
                </c:pt>
                <c:pt idx="511">
                  <c:v>42355</c:v>
                </c:pt>
                <c:pt idx="512">
                  <c:v>42356</c:v>
                </c:pt>
                <c:pt idx="513">
                  <c:v>42359</c:v>
                </c:pt>
                <c:pt idx="514">
                  <c:v>42360</c:v>
                </c:pt>
                <c:pt idx="515">
                  <c:v>42361</c:v>
                </c:pt>
                <c:pt idx="516">
                  <c:v>42362</c:v>
                </c:pt>
                <c:pt idx="517">
                  <c:v>42363</c:v>
                </c:pt>
                <c:pt idx="518">
                  <c:v>42366</c:v>
                </c:pt>
                <c:pt idx="519">
                  <c:v>42367</c:v>
                </c:pt>
                <c:pt idx="520">
                  <c:v>42368</c:v>
                </c:pt>
                <c:pt idx="521">
                  <c:v>42369</c:v>
                </c:pt>
                <c:pt idx="522">
                  <c:v>42370</c:v>
                </c:pt>
                <c:pt idx="523">
                  <c:v>42373</c:v>
                </c:pt>
                <c:pt idx="524">
                  <c:v>42374</c:v>
                </c:pt>
                <c:pt idx="525">
                  <c:v>42375</c:v>
                </c:pt>
                <c:pt idx="526">
                  <c:v>42376</c:v>
                </c:pt>
                <c:pt idx="527">
                  <c:v>42377</c:v>
                </c:pt>
                <c:pt idx="528">
                  <c:v>42380</c:v>
                </c:pt>
                <c:pt idx="529">
                  <c:v>42381</c:v>
                </c:pt>
                <c:pt idx="530">
                  <c:v>42382</c:v>
                </c:pt>
                <c:pt idx="531">
                  <c:v>42383</c:v>
                </c:pt>
                <c:pt idx="532">
                  <c:v>42384</c:v>
                </c:pt>
                <c:pt idx="533">
                  <c:v>42387</c:v>
                </c:pt>
                <c:pt idx="534">
                  <c:v>42388</c:v>
                </c:pt>
                <c:pt idx="535">
                  <c:v>42389</c:v>
                </c:pt>
                <c:pt idx="536">
                  <c:v>42390</c:v>
                </c:pt>
                <c:pt idx="537">
                  <c:v>42391</c:v>
                </c:pt>
                <c:pt idx="538">
                  <c:v>42394</c:v>
                </c:pt>
                <c:pt idx="539">
                  <c:v>42395</c:v>
                </c:pt>
                <c:pt idx="540">
                  <c:v>42396</c:v>
                </c:pt>
                <c:pt idx="541">
                  <c:v>42397</c:v>
                </c:pt>
                <c:pt idx="542">
                  <c:v>42398</c:v>
                </c:pt>
                <c:pt idx="543">
                  <c:v>42401</c:v>
                </c:pt>
                <c:pt idx="544">
                  <c:v>42402</c:v>
                </c:pt>
                <c:pt idx="545">
                  <c:v>42403</c:v>
                </c:pt>
                <c:pt idx="546">
                  <c:v>42404</c:v>
                </c:pt>
                <c:pt idx="547">
                  <c:v>42405</c:v>
                </c:pt>
                <c:pt idx="548">
                  <c:v>42408</c:v>
                </c:pt>
                <c:pt idx="549">
                  <c:v>42409</c:v>
                </c:pt>
                <c:pt idx="550">
                  <c:v>42410</c:v>
                </c:pt>
                <c:pt idx="551">
                  <c:v>42411</c:v>
                </c:pt>
                <c:pt idx="552">
                  <c:v>42412</c:v>
                </c:pt>
                <c:pt idx="553">
                  <c:v>42415</c:v>
                </c:pt>
                <c:pt idx="554">
                  <c:v>42416</c:v>
                </c:pt>
                <c:pt idx="555">
                  <c:v>42417</c:v>
                </c:pt>
                <c:pt idx="556">
                  <c:v>42418</c:v>
                </c:pt>
                <c:pt idx="557">
                  <c:v>42419</c:v>
                </c:pt>
                <c:pt idx="558">
                  <c:v>42422</c:v>
                </c:pt>
                <c:pt idx="559">
                  <c:v>42423</c:v>
                </c:pt>
                <c:pt idx="560">
                  <c:v>42424</c:v>
                </c:pt>
                <c:pt idx="561">
                  <c:v>42425</c:v>
                </c:pt>
                <c:pt idx="562">
                  <c:v>42426</c:v>
                </c:pt>
                <c:pt idx="563">
                  <c:v>42429</c:v>
                </c:pt>
                <c:pt idx="564">
                  <c:v>42430</c:v>
                </c:pt>
                <c:pt idx="565">
                  <c:v>42431</c:v>
                </c:pt>
                <c:pt idx="566">
                  <c:v>42432</c:v>
                </c:pt>
                <c:pt idx="567">
                  <c:v>42433</c:v>
                </c:pt>
                <c:pt idx="568">
                  <c:v>42436</c:v>
                </c:pt>
                <c:pt idx="569">
                  <c:v>42437</c:v>
                </c:pt>
                <c:pt idx="570">
                  <c:v>42438</c:v>
                </c:pt>
                <c:pt idx="571">
                  <c:v>42439</c:v>
                </c:pt>
                <c:pt idx="572">
                  <c:v>42440</c:v>
                </c:pt>
                <c:pt idx="573">
                  <c:v>42443</c:v>
                </c:pt>
                <c:pt idx="574">
                  <c:v>42444</c:v>
                </c:pt>
                <c:pt idx="575">
                  <c:v>42445</c:v>
                </c:pt>
                <c:pt idx="576">
                  <c:v>42446</c:v>
                </c:pt>
                <c:pt idx="577">
                  <c:v>42447</c:v>
                </c:pt>
                <c:pt idx="578">
                  <c:v>42450</c:v>
                </c:pt>
                <c:pt idx="579">
                  <c:v>42451</c:v>
                </c:pt>
                <c:pt idx="580">
                  <c:v>42452</c:v>
                </c:pt>
                <c:pt idx="581">
                  <c:v>42453</c:v>
                </c:pt>
                <c:pt idx="582">
                  <c:v>42454</c:v>
                </c:pt>
                <c:pt idx="583">
                  <c:v>42457</c:v>
                </c:pt>
                <c:pt idx="584">
                  <c:v>42458</c:v>
                </c:pt>
                <c:pt idx="585">
                  <c:v>42459</c:v>
                </c:pt>
                <c:pt idx="586">
                  <c:v>42460</c:v>
                </c:pt>
                <c:pt idx="587">
                  <c:v>42461</c:v>
                </c:pt>
                <c:pt idx="588">
                  <c:v>42464</c:v>
                </c:pt>
                <c:pt idx="589">
                  <c:v>42465</c:v>
                </c:pt>
                <c:pt idx="590">
                  <c:v>42466</c:v>
                </c:pt>
                <c:pt idx="591">
                  <c:v>42467</c:v>
                </c:pt>
                <c:pt idx="592">
                  <c:v>42468</c:v>
                </c:pt>
                <c:pt idx="593">
                  <c:v>42471</c:v>
                </c:pt>
                <c:pt idx="594">
                  <c:v>42472</c:v>
                </c:pt>
                <c:pt idx="595">
                  <c:v>42473</c:v>
                </c:pt>
                <c:pt idx="596">
                  <c:v>42474</c:v>
                </c:pt>
                <c:pt idx="597">
                  <c:v>42475</c:v>
                </c:pt>
                <c:pt idx="598">
                  <c:v>42478</c:v>
                </c:pt>
                <c:pt idx="599">
                  <c:v>42479</c:v>
                </c:pt>
                <c:pt idx="600">
                  <c:v>42480</c:v>
                </c:pt>
                <c:pt idx="601">
                  <c:v>42481</c:v>
                </c:pt>
                <c:pt idx="602">
                  <c:v>42482</c:v>
                </c:pt>
                <c:pt idx="603">
                  <c:v>42485</c:v>
                </c:pt>
                <c:pt idx="604">
                  <c:v>42486</c:v>
                </c:pt>
                <c:pt idx="605">
                  <c:v>42487</c:v>
                </c:pt>
                <c:pt idx="606">
                  <c:v>42488</c:v>
                </c:pt>
                <c:pt idx="607">
                  <c:v>42489</c:v>
                </c:pt>
                <c:pt idx="608">
                  <c:v>42492</c:v>
                </c:pt>
                <c:pt idx="609">
                  <c:v>42493</c:v>
                </c:pt>
                <c:pt idx="610">
                  <c:v>42494</c:v>
                </c:pt>
                <c:pt idx="611">
                  <c:v>42495</c:v>
                </c:pt>
                <c:pt idx="612">
                  <c:v>42496</c:v>
                </c:pt>
                <c:pt idx="613">
                  <c:v>42499</c:v>
                </c:pt>
                <c:pt idx="614">
                  <c:v>42500</c:v>
                </c:pt>
                <c:pt idx="615">
                  <c:v>42501</c:v>
                </c:pt>
                <c:pt idx="616">
                  <c:v>42502</c:v>
                </c:pt>
                <c:pt idx="617">
                  <c:v>42503</c:v>
                </c:pt>
                <c:pt idx="618">
                  <c:v>42506</c:v>
                </c:pt>
                <c:pt idx="619">
                  <c:v>42507</c:v>
                </c:pt>
                <c:pt idx="620">
                  <c:v>42508</c:v>
                </c:pt>
                <c:pt idx="621">
                  <c:v>42509</c:v>
                </c:pt>
                <c:pt idx="622">
                  <c:v>42510</c:v>
                </c:pt>
                <c:pt idx="623">
                  <c:v>42513</c:v>
                </c:pt>
                <c:pt idx="624">
                  <c:v>42514</c:v>
                </c:pt>
                <c:pt idx="625">
                  <c:v>42515</c:v>
                </c:pt>
                <c:pt idx="626">
                  <c:v>42516</c:v>
                </c:pt>
                <c:pt idx="627">
                  <c:v>42517</c:v>
                </c:pt>
                <c:pt idx="628">
                  <c:v>42520</c:v>
                </c:pt>
                <c:pt idx="629">
                  <c:v>42521</c:v>
                </c:pt>
                <c:pt idx="630">
                  <c:v>42522</c:v>
                </c:pt>
                <c:pt idx="631">
                  <c:v>42523</c:v>
                </c:pt>
                <c:pt idx="632">
                  <c:v>42524</c:v>
                </c:pt>
                <c:pt idx="633">
                  <c:v>42527</c:v>
                </c:pt>
                <c:pt idx="634">
                  <c:v>42528</c:v>
                </c:pt>
                <c:pt idx="635">
                  <c:v>42529</c:v>
                </c:pt>
                <c:pt idx="636">
                  <c:v>42530</c:v>
                </c:pt>
                <c:pt idx="637">
                  <c:v>42531</c:v>
                </c:pt>
                <c:pt idx="638">
                  <c:v>42534</c:v>
                </c:pt>
                <c:pt idx="639">
                  <c:v>42535</c:v>
                </c:pt>
                <c:pt idx="640">
                  <c:v>42536</c:v>
                </c:pt>
                <c:pt idx="641">
                  <c:v>42537</c:v>
                </c:pt>
                <c:pt idx="642">
                  <c:v>42538</c:v>
                </c:pt>
                <c:pt idx="643">
                  <c:v>42541</c:v>
                </c:pt>
                <c:pt idx="644">
                  <c:v>42542</c:v>
                </c:pt>
                <c:pt idx="645">
                  <c:v>42543</c:v>
                </c:pt>
                <c:pt idx="646">
                  <c:v>42544</c:v>
                </c:pt>
                <c:pt idx="647">
                  <c:v>42545</c:v>
                </c:pt>
                <c:pt idx="648">
                  <c:v>42548</c:v>
                </c:pt>
                <c:pt idx="649">
                  <c:v>42549</c:v>
                </c:pt>
                <c:pt idx="650">
                  <c:v>42550</c:v>
                </c:pt>
                <c:pt idx="651">
                  <c:v>42551</c:v>
                </c:pt>
                <c:pt idx="652">
                  <c:v>42552</c:v>
                </c:pt>
                <c:pt idx="653">
                  <c:v>42555</c:v>
                </c:pt>
                <c:pt idx="654">
                  <c:v>42556</c:v>
                </c:pt>
                <c:pt idx="655">
                  <c:v>42557</c:v>
                </c:pt>
                <c:pt idx="656">
                  <c:v>42558</c:v>
                </c:pt>
                <c:pt idx="657">
                  <c:v>42559</c:v>
                </c:pt>
                <c:pt idx="658">
                  <c:v>42562</c:v>
                </c:pt>
                <c:pt idx="659">
                  <c:v>42563</c:v>
                </c:pt>
                <c:pt idx="660">
                  <c:v>42564</c:v>
                </c:pt>
                <c:pt idx="661">
                  <c:v>42565</c:v>
                </c:pt>
                <c:pt idx="662">
                  <c:v>42566</c:v>
                </c:pt>
                <c:pt idx="663">
                  <c:v>42569</c:v>
                </c:pt>
                <c:pt idx="664">
                  <c:v>42570</c:v>
                </c:pt>
                <c:pt idx="665">
                  <c:v>42571</c:v>
                </c:pt>
                <c:pt idx="666">
                  <c:v>42572</c:v>
                </c:pt>
                <c:pt idx="667">
                  <c:v>42573</c:v>
                </c:pt>
                <c:pt idx="668">
                  <c:v>42576</c:v>
                </c:pt>
                <c:pt idx="669">
                  <c:v>42577</c:v>
                </c:pt>
                <c:pt idx="670">
                  <c:v>42578</c:v>
                </c:pt>
                <c:pt idx="671">
                  <c:v>42579</c:v>
                </c:pt>
                <c:pt idx="672">
                  <c:v>42580</c:v>
                </c:pt>
                <c:pt idx="673">
                  <c:v>42583</c:v>
                </c:pt>
                <c:pt idx="674">
                  <c:v>42584</c:v>
                </c:pt>
                <c:pt idx="675">
                  <c:v>42585</c:v>
                </c:pt>
                <c:pt idx="676">
                  <c:v>42586</c:v>
                </c:pt>
                <c:pt idx="677">
                  <c:v>42587</c:v>
                </c:pt>
                <c:pt idx="678">
                  <c:v>42590</c:v>
                </c:pt>
                <c:pt idx="679">
                  <c:v>42591</c:v>
                </c:pt>
                <c:pt idx="680">
                  <c:v>42592</c:v>
                </c:pt>
                <c:pt idx="681">
                  <c:v>42593</c:v>
                </c:pt>
                <c:pt idx="682">
                  <c:v>42594</c:v>
                </c:pt>
                <c:pt idx="683">
                  <c:v>42597</c:v>
                </c:pt>
                <c:pt idx="684">
                  <c:v>42598</c:v>
                </c:pt>
                <c:pt idx="685">
                  <c:v>42599</c:v>
                </c:pt>
                <c:pt idx="686">
                  <c:v>42600</c:v>
                </c:pt>
                <c:pt idx="687">
                  <c:v>42601</c:v>
                </c:pt>
                <c:pt idx="688">
                  <c:v>42604</c:v>
                </c:pt>
                <c:pt idx="689">
                  <c:v>42605</c:v>
                </c:pt>
                <c:pt idx="690">
                  <c:v>42606</c:v>
                </c:pt>
                <c:pt idx="691">
                  <c:v>42607</c:v>
                </c:pt>
                <c:pt idx="692">
                  <c:v>42608</c:v>
                </c:pt>
                <c:pt idx="693">
                  <c:v>42611</c:v>
                </c:pt>
                <c:pt idx="694">
                  <c:v>42612</c:v>
                </c:pt>
                <c:pt idx="695">
                  <c:v>42613</c:v>
                </c:pt>
                <c:pt idx="696">
                  <c:v>42614</c:v>
                </c:pt>
                <c:pt idx="697">
                  <c:v>42615</c:v>
                </c:pt>
                <c:pt idx="698">
                  <c:v>42618</c:v>
                </c:pt>
                <c:pt idx="699">
                  <c:v>42619</c:v>
                </c:pt>
                <c:pt idx="700">
                  <c:v>42620</c:v>
                </c:pt>
                <c:pt idx="701">
                  <c:v>42621</c:v>
                </c:pt>
                <c:pt idx="702">
                  <c:v>42622</c:v>
                </c:pt>
                <c:pt idx="703">
                  <c:v>42625</c:v>
                </c:pt>
                <c:pt idx="704">
                  <c:v>42626</c:v>
                </c:pt>
                <c:pt idx="705">
                  <c:v>42627</c:v>
                </c:pt>
                <c:pt idx="706">
                  <c:v>42628</c:v>
                </c:pt>
                <c:pt idx="707">
                  <c:v>42629</c:v>
                </c:pt>
                <c:pt idx="708">
                  <c:v>42632</c:v>
                </c:pt>
                <c:pt idx="709">
                  <c:v>42633</c:v>
                </c:pt>
                <c:pt idx="710">
                  <c:v>42634</c:v>
                </c:pt>
                <c:pt idx="711">
                  <c:v>42635</c:v>
                </c:pt>
                <c:pt idx="712">
                  <c:v>42636</c:v>
                </c:pt>
                <c:pt idx="713">
                  <c:v>42639</c:v>
                </c:pt>
                <c:pt idx="714">
                  <c:v>42640</c:v>
                </c:pt>
                <c:pt idx="715">
                  <c:v>42641</c:v>
                </c:pt>
                <c:pt idx="716">
                  <c:v>42642</c:v>
                </c:pt>
                <c:pt idx="717">
                  <c:v>42643</c:v>
                </c:pt>
                <c:pt idx="718">
                  <c:v>42646</c:v>
                </c:pt>
                <c:pt idx="719">
                  <c:v>42647</c:v>
                </c:pt>
                <c:pt idx="720">
                  <c:v>42648</c:v>
                </c:pt>
                <c:pt idx="721">
                  <c:v>42649</c:v>
                </c:pt>
                <c:pt idx="722">
                  <c:v>42650</c:v>
                </c:pt>
                <c:pt idx="723">
                  <c:v>42653</c:v>
                </c:pt>
                <c:pt idx="724">
                  <c:v>42654</c:v>
                </c:pt>
                <c:pt idx="725">
                  <c:v>42655</c:v>
                </c:pt>
                <c:pt idx="726">
                  <c:v>42656</c:v>
                </c:pt>
                <c:pt idx="727">
                  <c:v>42657</c:v>
                </c:pt>
                <c:pt idx="728">
                  <c:v>42660</c:v>
                </c:pt>
                <c:pt idx="729">
                  <c:v>42661</c:v>
                </c:pt>
                <c:pt idx="730">
                  <c:v>42662</c:v>
                </c:pt>
                <c:pt idx="731">
                  <c:v>42663</c:v>
                </c:pt>
                <c:pt idx="732">
                  <c:v>42664</c:v>
                </c:pt>
                <c:pt idx="733">
                  <c:v>42667</c:v>
                </c:pt>
                <c:pt idx="734">
                  <c:v>42668</c:v>
                </c:pt>
                <c:pt idx="735">
                  <c:v>42669</c:v>
                </c:pt>
                <c:pt idx="736">
                  <c:v>42670</c:v>
                </c:pt>
                <c:pt idx="737">
                  <c:v>42671</c:v>
                </c:pt>
                <c:pt idx="738">
                  <c:v>42674</c:v>
                </c:pt>
                <c:pt idx="739">
                  <c:v>42675</c:v>
                </c:pt>
                <c:pt idx="740">
                  <c:v>42676</c:v>
                </c:pt>
                <c:pt idx="741">
                  <c:v>42677</c:v>
                </c:pt>
                <c:pt idx="742">
                  <c:v>42678</c:v>
                </c:pt>
                <c:pt idx="743">
                  <c:v>42681</c:v>
                </c:pt>
                <c:pt idx="744">
                  <c:v>42682</c:v>
                </c:pt>
                <c:pt idx="745">
                  <c:v>42683</c:v>
                </c:pt>
                <c:pt idx="746">
                  <c:v>42684</c:v>
                </c:pt>
                <c:pt idx="747">
                  <c:v>42685</c:v>
                </c:pt>
                <c:pt idx="748">
                  <c:v>42688</c:v>
                </c:pt>
                <c:pt idx="749">
                  <c:v>42689</c:v>
                </c:pt>
                <c:pt idx="750">
                  <c:v>42690</c:v>
                </c:pt>
                <c:pt idx="751">
                  <c:v>42691</c:v>
                </c:pt>
                <c:pt idx="752">
                  <c:v>42692</c:v>
                </c:pt>
                <c:pt idx="753">
                  <c:v>42695</c:v>
                </c:pt>
                <c:pt idx="754">
                  <c:v>42696</c:v>
                </c:pt>
                <c:pt idx="755">
                  <c:v>42697</c:v>
                </c:pt>
                <c:pt idx="756">
                  <c:v>42698</c:v>
                </c:pt>
                <c:pt idx="757">
                  <c:v>42699</c:v>
                </c:pt>
                <c:pt idx="758">
                  <c:v>42702</c:v>
                </c:pt>
                <c:pt idx="759">
                  <c:v>42703</c:v>
                </c:pt>
                <c:pt idx="760">
                  <c:v>42704</c:v>
                </c:pt>
                <c:pt idx="761">
                  <c:v>42705</c:v>
                </c:pt>
                <c:pt idx="762">
                  <c:v>42706</c:v>
                </c:pt>
                <c:pt idx="763">
                  <c:v>42709</c:v>
                </c:pt>
                <c:pt idx="764">
                  <c:v>42710</c:v>
                </c:pt>
                <c:pt idx="765">
                  <c:v>42711</c:v>
                </c:pt>
                <c:pt idx="766">
                  <c:v>42712</c:v>
                </c:pt>
                <c:pt idx="767">
                  <c:v>42713</c:v>
                </c:pt>
                <c:pt idx="768">
                  <c:v>42716</c:v>
                </c:pt>
                <c:pt idx="769">
                  <c:v>42717</c:v>
                </c:pt>
                <c:pt idx="770">
                  <c:v>42718</c:v>
                </c:pt>
                <c:pt idx="771">
                  <c:v>42719</c:v>
                </c:pt>
                <c:pt idx="772">
                  <c:v>42720</c:v>
                </c:pt>
                <c:pt idx="773">
                  <c:v>42723</c:v>
                </c:pt>
                <c:pt idx="774">
                  <c:v>42724</c:v>
                </c:pt>
                <c:pt idx="775">
                  <c:v>42725</c:v>
                </c:pt>
                <c:pt idx="776">
                  <c:v>42726</c:v>
                </c:pt>
                <c:pt idx="777">
                  <c:v>42727</c:v>
                </c:pt>
                <c:pt idx="778">
                  <c:v>42730</c:v>
                </c:pt>
                <c:pt idx="779">
                  <c:v>42731</c:v>
                </c:pt>
                <c:pt idx="780">
                  <c:v>42732</c:v>
                </c:pt>
                <c:pt idx="781">
                  <c:v>42733</c:v>
                </c:pt>
                <c:pt idx="782">
                  <c:v>42734</c:v>
                </c:pt>
                <c:pt idx="783">
                  <c:v>42737</c:v>
                </c:pt>
                <c:pt idx="784">
                  <c:v>42738</c:v>
                </c:pt>
                <c:pt idx="785">
                  <c:v>42739</c:v>
                </c:pt>
                <c:pt idx="786">
                  <c:v>42740</c:v>
                </c:pt>
                <c:pt idx="787">
                  <c:v>42741</c:v>
                </c:pt>
                <c:pt idx="788">
                  <c:v>42744</c:v>
                </c:pt>
                <c:pt idx="789">
                  <c:v>42745</c:v>
                </c:pt>
                <c:pt idx="790">
                  <c:v>42746</c:v>
                </c:pt>
                <c:pt idx="791">
                  <c:v>42747</c:v>
                </c:pt>
                <c:pt idx="792">
                  <c:v>42748</c:v>
                </c:pt>
                <c:pt idx="793">
                  <c:v>42751</c:v>
                </c:pt>
                <c:pt idx="794">
                  <c:v>42752</c:v>
                </c:pt>
                <c:pt idx="795">
                  <c:v>42753</c:v>
                </c:pt>
                <c:pt idx="796">
                  <c:v>42754</c:v>
                </c:pt>
                <c:pt idx="797">
                  <c:v>42755</c:v>
                </c:pt>
                <c:pt idx="798">
                  <c:v>42758</c:v>
                </c:pt>
                <c:pt idx="799">
                  <c:v>42759</c:v>
                </c:pt>
                <c:pt idx="800">
                  <c:v>42760</c:v>
                </c:pt>
                <c:pt idx="801">
                  <c:v>42761</c:v>
                </c:pt>
                <c:pt idx="802">
                  <c:v>42762</c:v>
                </c:pt>
                <c:pt idx="803">
                  <c:v>42765</c:v>
                </c:pt>
                <c:pt idx="804">
                  <c:v>42766</c:v>
                </c:pt>
                <c:pt idx="805">
                  <c:v>42767</c:v>
                </c:pt>
                <c:pt idx="806">
                  <c:v>42768</c:v>
                </c:pt>
                <c:pt idx="807">
                  <c:v>42769</c:v>
                </c:pt>
                <c:pt idx="808">
                  <c:v>42772</c:v>
                </c:pt>
                <c:pt idx="809">
                  <c:v>42773</c:v>
                </c:pt>
                <c:pt idx="810">
                  <c:v>42774</c:v>
                </c:pt>
                <c:pt idx="811">
                  <c:v>42775</c:v>
                </c:pt>
                <c:pt idx="812">
                  <c:v>42776</c:v>
                </c:pt>
                <c:pt idx="813">
                  <c:v>42779</c:v>
                </c:pt>
                <c:pt idx="814">
                  <c:v>42780</c:v>
                </c:pt>
                <c:pt idx="815">
                  <c:v>42781</c:v>
                </c:pt>
                <c:pt idx="816">
                  <c:v>42782</c:v>
                </c:pt>
                <c:pt idx="817">
                  <c:v>42783</c:v>
                </c:pt>
                <c:pt idx="818">
                  <c:v>42786</c:v>
                </c:pt>
                <c:pt idx="819">
                  <c:v>42787</c:v>
                </c:pt>
                <c:pt idx="820">
                  <c:v>42788</c:v>
                </c:pt>
                <c:pt idx="821">
                  <c:v>42789</c:v>
                </c:pt>
                <c:pt idx="822">
                  <c:v>42790</c:v>
                </c:pt>
                <c:pt idx="823">
                  <c:v>42793</c:v>
                </c:pt>
                <c:pt idx="824">
                  <c:v>42794</c:v>
                </c:pt>
                <c:pt idx="825">
                  <c:v>42795</c:v>
                </c:pt>
                <c:pt idx="826">
                  <c:v>42796</c:v>
                </c:pt>
                <c:pt idx="827">
                  <c:v>42797</c:v>
                </c:pt>
                <c:pt idx="828">
                  <c:v>42800</c:v>
                </c:pt>
                <c:pt idx="829">
                  <c:v>42801</c:v>
                </c:pt>
                <c:pt idx="830">
                  <c:v>42802</c:v>
                </c:pt>
                <c:pt idx="831">
                  <c:v>42803</c:v>
                </c:pt>
                <c:pt idx="832">
                  <c:v>42804</c:v>
                </c:pt>
                <c:pt idx="833">
                  <c:v>42807</c:v>
                </c:pt>
                <c:pt idx="834">
                  <c:v>42808</c:v>
                </c:pt>
                <c:pt idx="835">
                  <c:v>42809</c:v>
                </c:pt>
                <c:pt idx="836">
                  <c:v>42810</c:v>
                </c:pt>
                <c:pt idx="837">
                  <c:v>42811</c:v>
                </c:pt>
                <c:pt idx="838">
                  <c:v>42814</c:v>
                </c:pt>
                <c:pt idx="839">
                  <c:v>42815</c:v>
                </c:pt>
                <c:pt idx="840">
                  <c:v>42816</c:v>
                </c:pt>
                <c:pt idx="841">
                  <c:v>42817</c:v>
                </c:pt>
                <c:pt idx="842">
                  <c:v>42818</c:v>
                </c:pt>
                <c:pt idx="843">
                  <c:v>42821</c:v>
                </c:pt>
                <c:pt idx="844">
                  <c:v>42822</c:v>
                </c:pt>
                <c:pt idx="845">
                  <c:v>42823</c:v>
                </c:pt>
                <c:pt idx="846">
                  <c:v>42824</c:v>
                </c:pt>
                <c:pt idx="847">
                  <c:v>42825</c:v>
                </c:pt>
                <c:pt idx="848">
                  <c:v>42828</c:v>
                </c:pt>
                <c:pt idx="849">
                  <c:v>42829</c:v>
                </c:pt>
                <c:pt idx="850">
                  <c:v>42830</c:v>
                </c:pt>
                <c:pt idx="851">
                  <c:v>42831</c:v>
                </c:pt>
                <c:pt idx="852">
                  <c:v>42832</c:v>
                </c:pt>
                <c:pt idx="853">
                  <c:v>42835</c:v>
                </c:pt>
                <c:pt idx="854">
                  <c:v>42836</c:v>
                </c:pt>
                <c:pt idx="855">
                  <c:v>42837</c:v>
                </c:pt>
                <c:pt idx="856">
                  <c:v>42838</c:v>
                </c:pt>
                <c:pt idx="857">
                  <c:v>42839</c:v>
                </c:pt>
                <c:pt idx="858">
                  <c:v>42842</c:v>
                </c:pt>
                <c:pt idx="859">
                  <c:v>42843</c:v>
                </c:pt>
                <c:pt idx="860">
                  <c:v>42844</c:v>
                </c:pt>
                <c:pt idx="861">
                  <c:v>42845</c:v>
                </c:pt>
                <c:pt idx="862">
                  <c:v>42846</c:v>
                </c:pt>
                <c:pt idx="863">
                  <c:v>42849</c:v>
                </c:pt>
                <c:pt idx="864">
                  <c:v>42850</c:v>
                </c:pt>
                <c:pt idx="865">
                  <c:v>42851</c:v>
                </c:pt>
                <c:pt idx="866">
                  <c:v>42852</c:v>
                </c:pt>
                <c:pt idx="867">
                  <c:v>42853</c:v>
                </c:pt>
                <c:pt idx="868">
                  <c:v>42856</c:v>
                </c:pt>
                <c:pt idx="869">
                  <c:v>42857</c:v>
                </c:pt>
                <c:pt idx="870">
                  <c:v>42858</c:v>
                </c:pt>
                <c:pt idx="871">
                  <c:v>42859</c:v>
                </c:pt>
                <c:pt idx="872">
                  <c:v>42860</c:v>
                </c:pt>
                <c:pt idx="873">
                  <c:v>42863</c:v>
                </c:pt>
                <c:pt idx="874">
                  <c:v>42864</c:v>
                </c:pt>
                <c:pt idx="875">
                  <c:v>42865</c:v>
                </c:pt>
                <c:pt idx="876">
                  <c:v>42866</c:v>
                </c:pt>
                <c:pt idx="877">
                  <c:v>42867</c:v>
                </c:pt>
                <c:pt idx="878">
                  <c:v>42870</c:v>
                </c:pt>
                <c:pt idx="879">
                  <c:v>42871</c:v>
                </c:pt>
                <c:pt idx="880">
                  <c:v>42872</c:v>
                </c:pt>
                <c:pt idx="881">
                  <c:v>42873</c:v>
                </c:pt>
                <c:pt idx="882">
                  <c:v>42874</c:v>
                </c:pt>
                <c:pt idx="883">
                  <c:v>42877</c:v>
                </c:pt>
                <c:pt idx="884">
                  <c:v>42878</c:v>
                </c:pt>
                <c:pt idx="885">
                  <c:v>42879</c:v>
                </c:pt>
                <c:pt idx="886">
                  <c:v>42880</c:v>
                </c:pt>
                <c:pt idx="887">
                  <c:v>42881</c:v>
                </c:pt>
                <c:pt idx="888">
                  <c:v>42884</c:v>
                </c:pt>
                <c:pt idx="889">
                  <c:v>42885</c:v>
                </c:pt>
                <c:pt idx="890">
                  <c:v>42886</c:v>
                </c:pt>
                <c:pt idx="891">
                  <c:v>42887</c:v>
                </c:pt>
                <c:pt idx="892">
                  <c:v>42888</c:v>
                </c:pt>
                <c:pt idx="893">
                  <c:v>42891</c:v>
                </c:pt>
                <c:pt idx="894">
                  <c:v>42892</c:v>
                </c:pt>
                <c:pt idx="895">
                  <c:v>42893</c:v>
                </c:pt>
                <c:pt idx="896">
                  <c:v>42894</c:v>
                </c:pt>
                <c:pt idx="897">
                  <c:v>42895</c:v>
                </c:pt>
                <c:pt idx="898">
                  <c:v>42898</c:v>
                </c:pt>
                <c:pt idx="899">
                  <c:v>42899</c:v>
                </c:pt>
                <c:pt idx="900">
                  <c:v>42900</c:v>
                </c:pt>
                <c:pt idx="901">
                  <c:v>42901</c:v>
                </c:pt>
                <c:pt idx="902">
                  <c:v>42902</c:v>
                </c:pt>
                <c:pt idx="903">
                  <c:v>42905</c:v>
                </c:pt>
                <c:pt idx="904">
                  <c:v>42906</c:v>
                </c:pt>
                <c:pt idx="905">
                  <c:v>42907</c:v>
                </c:pt>
                <c:pt idx="906">
                  <c:v>42908</c:v>
                </c:pt>
                <c:pt idx="907">
                  <c:v>42909</c:v>
                </c:pt>
                <c:pt idx="908">
                  <c:v>42912</c:v>
                </c:pt>
                <c:pt idx="909">
                  <c:v>42913</c:v>
                </c:pt>
                <c:pt idx="910">
                  <c:v>42914</c:v>
                </c:pt>
                <c:pt idx="911">
                  <c:v>42915</c:v>
                </c:pt>
                <c:pt idx="912">
                  <c:v>42916</c:v>
                </c:pt>
                <c:pt idx="913">
                  <c:v>42919</c:v>
                </c:pt>
                <c:pt idx="914">
                  <c:v>42920</c:v>
                </c:pt>
                <c:pt idx="915">
                  <c:v>42921</c:v>
                </c:pt>
                <c:pt idx="916">
                  <c:v>42922</c:v>
                </c:pt>
                <c:pt idx="917">
                  <c:v>42923</c:v>
                </c:pt>
                <c:pt idx="918">
                  <c:v>42926</c:v>
                </c:pt>
                <c:pt idx="919">
                  <c:v>42927</c:v>
                </c:pt>
                <c:pt idx="920">
                  <c:v>42928</c:v>
                </c:pt>
                <c:pt idx="921">
                  <c:v>42929</c:v>
                </c:pt>
                <c:pt idx="922">
                  <c:v>42930</c:v>
                </c:pt>
                <c:pt idx="923">
                  <c:v>42933</c:v>
                </c:pt>
                <c:pt idx="924">
                  <c:v>42934</c:v>
                </c:pt>
                <c:pt idx="925">
                  <c:v>42935</c:v>
                </c:pt>
                <c:pt idx="926">
                  <c:v>42936</c:v>
                </c:pt>
                <c:pt idx="927">
                  <c:v>42937</c:v>
                </c:pt>
                <c:pt idx="928">
                  <c:v>42940</c:v>
                </c:pt>
                <c:pt idx="929">
                  <c:v>42941</c:v>
                </c:pt>
                <c:pt idx="930">
                  <c:v>42942</c:v>
                </c:pt>
                <c:pt idx="931">
                  <c:v>42943</c:v>
                </c:pt>
                <c:pt idx="932">
                  <c:v>42944</c:v>
                </c:pt>
                <c:pt idx="933">
                  <c:v>42947</c:v>
                </c:pt>
                <c:pt idx="934">
                  <c:v>42948</c:v>
                </c:pt>
                <c:pt idx="935">
                  <c:v>42949</c:v>
                </c:pt>
                <c:pt idx="936">
                  <c:v>42950</c:v>
                </c:pt>
                <c:pt idx="937">
                  <c:v>42951</c:v>
                </c:pt>
                <c:pt idx="938">
                  <c:v>42954</c:v>
                </c:pt>
                <c:pt idx="939">
                  <c:v>42955</c:v>
                </c:pt>
                <c:pt idx="940">
                  <c:v>42956</c:v>
                </c:pt>
                <c:pt idx="941">
                  <c:v>42957</c:v>
                </c:pt>
                <c:pt idx="942">
                  <c:v>42958</c:v>
                </c:pt>
                <c:pt idx="943">
                  <c:v>42961</c:v>
                </c:pt>
                <c:pt idx="944">
                  <c:v>42962</c:v>
                </c:pt>
                <c:pt idx="945">
                  <c:v>42963</c:v>
                </c:pt>
                <c:pt idx="946">
                  <c:v>42964</c:v>
                </c:pt>
                <c:pt idx="947">
                  <c:v>42965</c:v>
                </c:pt>
                <c:pt idx="948">
                  <c:v>42968</c:v>
                </c:pt>
                <c:pt idx="949">
                  <c:v>42969</c:v>
                </c:pt>
                <c:pt idx="950">
                  <c:v>42970</c:v>
                </c:pt>
                <c:pt idx="951">
                  <c:v>42971</c:v>
                </c:pt>
                <c:pt idx="952">
                  <c:v>42972</c:v>
                </c:pt>
                <c:pt idx="953">
                  <c:v>42975</c:v>
                </c:pt>
                <c:pt idx="954">
                  <c:v>42976</c:v>
                </c:pt>
                <c:pt idx="955">
                  <c:v>42977</c:v>
                </c:pt>
                <c:pt idx="956">
                  <c:v>42978</c:v>
                </c:pt>
                <c:pt idx="957">
                  <c:v>42979</c:v>
                </c:pt>
                <c:pt idx="958">
                  <c:v>42982</c:v>
                </c:pt>
                <c:pt idx="959">
                  <c:v>42983</c:v>
                </c:pt>
                <c:pt idx="960">
                  <c:v>42984</c:v>
                </c:pt>
                <c:pt idx="961">
                  <c:v>42985</c:v>
                </c:pt>
                <c:pt idx="962">
                  <c:v>42986</c:v>
                </c:pt>
                <c:pt idx="963">
                  <c:v>42989</c:v>
                </c:pt>
                <c:pt idx="964">
                  <c:v>42990</c:v>
                </c:pt>
                <c:pt idx="965">
                  <c:v>42991</c:v>
                </c:pt>
                <c:pt idx="966">
                  <c:v>42992</c:v>
                </c:pt>
                <c:pt idx="967">
                  <c:v>42993</c:v>
                </c:pt>
                <c:pt idx="968">
                  <c:v>42996</c:v>
                </c:pt>
                <c:pt idx="969">
                  <c:v>42997</c:v>
                </c:pt>
                <c:pt idx="970">
                  <c:v>42998</c:v>
                </c:pt>
                <c:pt idx="971">
                  <c:v>42999</c:v>
                </c:pt>
                <c:pt idx="972">
                  <c:v>43000</c:v>
                </c:pt>
                <c:pt idx="973">
                  <c:v>43003</c:v>
                </c:pt>
                <c:pt idx="974">
                  <c:v>43004</c:v>
                </c:pt>
                <c:pt idx="975">
                  <c:v>43005</c:v>
                </c:pt>
                <c:pt idx="976">
                  <c:v>43006</c:v>
                </c:pt>
                <c:pt idx="977">
                  <c:v>43007</c:v>
                </c:pt>
                <c:pt idx="978">
                  <c:v>43010</c:v>
                </c:pt>
                <c:pt idx="979">
                  <c:v>43011</c:v>
                </c:pt>
                <c:pt idx="980">
                  <c:v>43012</c:v>
                </c:pt>
                <c:pt idx="981">
                  <c:v>43013</c:v>
                </c:pt>
                <c:pt idx="982">
                  <c:v>43014</c:v>
                </c:pt>
                <c:pt idx="983">
                  <c:v>43017</c:v>
                </c:pt>
                <c:pt idx="984">
                  <c:v>43018</c:v>
                </c:pt>
                <c:pt idx="985">
                  <c:v>43019</c:v>
                </c:pt>
                <c:pt idx="986">
                  <c:v>43020</c:v>
                </c:pt>
                <c:pt idx="987">
                  <c:v>43021</c:v>
                </c:pt>
                <c:pt idx="988">
                  <c:v>43024</c:v>
                </c:pt>
                <c:pt idx="989">
                  <c:v>43025</c:v>
                </c:pt>
                <c:pt idx="990">
                  <c:v>43026</c:v>
                </c:pt>
                <c:pt idx="991">
                  <c:v>43027</c:v>
                </c:pt>
                <c:pt idx="992">
                  <c:v>43028</c:v>
                </c:pt>
                <c:pt idx="993">
                  <c:v>43031</c:v>
                </c:pt>
                <c:pt idx="994">
                  <c:v>43032</c:v>
                </c:pt>
                <c:pt idx="995">
                  <c:v>43033</c:v>
                </c:pt>
                <c:pt idx="996">
                  <c:v>43034</c:v>
                </c:pt>
                <c:pt idx="997">
                  <c:v>43035</c:v>
                </c:pt>
                <c:pt idx="998">
                  <c:v>43038</c:v>
                </c:pt>
                <c:pt idx="999">
                  <c:v>43039</c:v>
                </c:pt>
                <c:pt idx="1000">
                  <c:v>43040</c:v>
                </c:pt>
                <c:pt idx="1001">
                  <c:v>43041</c:v>
                </c:pt>
                <c:pt idx="1002">
                  <c:v>43042</c:v>
                </c:pt>
                <c:pt idx="1003">
                  <c:v>43045</c:v>
                </c:pt>
                <c:pt idx="1004">
                  <c:v>43046</c:v>
                </c:pt>
                <c:pt idx="1005">
                  <c:v>43047</c:v>
                </c:pt>
                <c:pt idx="1006">
                  <c:v>43048</c:v>
                </c:pt>
                <c:pt idx="1007">
                  <c:v>43049</c:v>
                </c:pt>
                <c:pt idx="1008">
                  <c:v>43052</c:v>
                </c:pt>
                <c:pt idx="1009">
                  <c:v>43053</c:v>
                </c:pt>
                <c:pt idx="1010">
                  <c:v>43054</c:v>
                </c:pt>
                <c:pt idx="1011">
                  <c:v>43055</c:v>
                </c:pt>
                <c:pt idx="1012">
                  <c:v>43056</c:v>
                </c:pt>
                <c:pt idx="1013">
                  <c:v>43059</c:v>
                </c:pt>
                <c:pt idx="1014">
                  <c:v>43060</c:v>
                </c:pt>
                <c:pt idx="1015">
                  <c:v>43061</c:v>
                </c:pt>
                <c:pt idx="1016">
                  <c:v>43062</c:v>
                </c:pt>
                <c:pt idx="1017">
                  <c:v>43063</c:v>
                </c:pt>
                <c:pt idx="1018">
                  <c:v>43066</c:v>
                </c:pt>
                <c:pt idx="1019">
                  <c:v>43067</c:v>
                </c:pt>
                <c:pt idx="1020">
                  <c:v>43068</c:v>
                </c:pt>
                <c:pt idx="1021">
                  <c:v>43069</c:v>
                </c:pt>
                <c:pt idx="1022">
                  <c:v>43070</c:v>
                </c:pt>
                <c:pt idx="1023">
                  <c:v>43073</c:v>
                </c:pt>
                <c:pt idx="1024">
                  <c:v>43074</c:v>
                </c:pt>
                <c:pt idx="1025">
                  <c:v>43075</c:v>
                </c:pt>
                <c:pt idx="1026">
                  <c:v>43076</c:v>
                </c:pt>
                <c:pt idx="1027">
                  <c:v>43077</c:v>
                </c:pt>
                <c:pt idx="1028">
                  <c:v>43080</c:v>
                </c:pt>
                <c:pt idx="1029">
                  <c:v>43081</c:v>
                </c:pt>
                <c:pt idx="1030">
                  <c:v>43082</c:v>
                </c:pt>
                <c:pt idx="1031">
                  <c:v>43083</c:v>
                </c:pt>
                <c:pt idx="1032">
                  <c:v>43084</c:v>
                </c:pt>
                <c:pt idx="1033">
                  <c:v>43087</c:v>
                </c:pt>
                <c:pt idx="1034">
                  <c:v>43088</c:v>
                </c:pt>
                <c:pt idx="1035">
                  <c:v>43089</c:v>
                </c:pt>
                <c:pt idx="1036">
                  <c:v>43090</c:v>
                </c:pt>
                <c:pt idx="1037">
                  <c:v>43091</c:v>
                </c:pt>
                <c:pt idx="1038">
                  <c:v>43094</c:v>
                </c:pt>
                <c:pt idx="1039">
                  <c:v>43095</c:v>
                </c:pt>
                <c:pt idx="1040">
                  <c:v>43096</c:v>
                </c:pt>
                <c:pt idx="1041">
                  <c:v>43097</c:v>
                </c:pt>
                <c:pt idx="1042">
                  <c:v>43098</c:v>
                </c:pt>
                <c:pt idx="1043">
                  <c:v>43101</c:v>
                </c:pt>
                <c:pt idx="1044">
                  <c:v>43102</c:v>
                </c:pt>
                <c:pt idx="1045">
                  <c:v>43103</c:v>
                </c:pt>
                <c:pt idx="1046">
                  <c:v>43104</c:v>
                </c:pt>
                <c:pt idx="1047">
                  <c:v>43105</c:v>
                </c:pt>
                <c:pt idx="1048">
                  <c:v>43108</c:v>
                </c:pt>
                <c:pt idx="1049">
                  <c:v>43109</c:v>
                </c:pt>
                <c:pt idx="1050">
                  <c:v>43110</c:v>
                </c:pt>
                <c:pt idx="1051">
                  <c:v>43111</c:v>
                </c:pt>
                <c:pt idx="1052">
                  <c:v>43112</c:v>
                </c:pt>
                <c:pt idx="1053">
                  <c:v>43115</c:v>
                </c:pt>
                <c:pt idx="1054">
                  <c:v>43116</c:v>
                </c:pt>
                <c:pt idx="1055">
                  <c:v>43117</c:v>
                </c:pt>
                <c:pt idx="1056">
                  <c:v>43118</c:v>
                </c:pt>
                <c:pt idx="1057">
                  <c:v>43119</c:v>
                </c:pt>
                <c:pt idx="1058">
                  <c:v>43122</c:v>
                </c:pt>
                <c:pt idx="1059">
                  <c:v>43123</c:v>
                </c:pt>
                <c:pt idx="1060">
                  <c:v>43124</c:v>
                </c:pt>
                <c:pt idx="1061">
                  <c:v>43125</c:v>
                </c:pt>
                <c:pt idx="1062">
                  <c:v>43126</c:v>
                </c:pt>
                <c:pt idx="1063">
                  <c:v>43129</c:v>
                </c:pt>
                <c:pt idx="1064">
                  <c:v>43130</c:v>
                </c:pt>
                <c:pt idx="1065">
                  <c:v>43131</c:v>
                </c:pt>
                <c:pt idx="1066">
                  <c:v>43132</c:v>
                </c:pt>
                <c:pt idx="1067">
                  <c:v>43133</c:v>
                </c:pt>
                <c:pt idx="1068">
                  <c:v>43136</c:v>
                </c:pt>
                <c:pt idx="1069">
                  <c:v>43137</c:v>
                </c:pt>
                <c:pt idx="1070">
                  <c:v>43138</c:v>
                </c:pt>
                <c:pt idx="1071">
                  <c:v>43139</c:v>
                </c:pt>
                <c:pt idx="1072">
                  <c:v>43140</c:v>
                </c:pt>
                <c:pt idx="1073">
                  <c:v>43143</c:v>
                </c:pt>
                <c:pt idx="1074">
                  <c:v>43144</c:v>
                </c:pt>
                <c:pt idx="1075">
                  <c:v>43145</c:v>
                </c:pt>
                <c:pt idx="1076">
                  <c:v>43146</c:v>
                </c:pt>
                <c:pt idx="1077">
                  <c:v>43147</c:v>
                </c:pt>
                <c:pt idx="1078">
                  <c:v>43150</c:v>
                </c:pt>
                <c:pt idx="1079">
                  <c:v>43151</c:v>
                </c:pt>
                <c:pt idx="1080">
                  <c:v>43152</c:v>
                </c:pt>
                <c:pt idx="1081">
                  <c:v>43153</c:v>
                </c:pt>
                <c:pt idx="1082">
                  <c:v>43154</c:v>
                </c:pt>
                <c:pt idx="1083">
                  <c:v>43157</c:v>
                </c:pt>
                <c:pt idx="1084">
                  <c:v>43158</c:v>
                </c:pt>
                <c:pt idx="1085">
                  <c:v>43159</c:v>
                </c:pt>
                <c:pt idx="1086">
                  <c:v>43160</c:v>
                </c:pt>
                <c:pt idx="1087">
                  <c:v>43161</c:v>
                </c:pt>
                <c:pt idx="1088">
                  <c:v>43164</c:v>
                </c:pt>
                <c:pt idx="1089">
                  <c:v>43165</c:v>
                </c:pt>
                <c:pt idx="1090">
                  <c:v>43166</c:v>
                </c:pt>
                <c:pt idx="1091">
                  <c:v>43167</c:v>
                </c:pt>
                <c:pt idx="1092">
                  <c:v>43168</c:v>
                </c:pt>
                <c:pt idx="1093">
                  <c:v>43171</c:v>
                </c:pt>
                <c:pt idx="1094">
                  <c:v>43172</c:v>
                </c:pt>
                <c:pt idx="1095">
                  <c:v>43173</c:v>
                </c:pt>
                <c:pt idx="1096">
                  <c:v>43174</c:v>
                </c:pt>
                <c:pt idx="1097">
                  <c:v>43175</c:v>
                </c:pt>
                <c:pt idx="1098">
                  <c:v>43178</c:v>
                </c:pt>
                <c:pt idx="1099">
                  <c:v>43179</c:v>
                </c:pt>
                <c:pt idx="1100">
                  <c:v>43180</c:v>
                </c:pt>
                <c:pt idx="1101">
                  <c:v>43181</c:v>
                </c:pt>
                <c:pt idx="1102">
                  <c:v>43182</c:v>
                </c:pt>
                <c:pt idx="1103">
                  <c:v>43185</c:v>
                </c:pt>
                <c:pt idx="1104">
                  <c:v>43186</c:v>
                </c:pt>
                <c:pt idx="1105">
                  <c:v>43187</c:v>
                </c:pt>
                <c:pt idx="1106">
                  <c:v>43188</c:v>
                </c:pt>
                <c:pt idx="1107">
                  <c:v>43189</c:v>
                </c:pt>
                <c:pt idx="1108">
                  <c:v>43192</c:v>
                </c:pt>
                <c:pt idx="1109">
                  <c:v>43193</c:v>
                </c:pt>
                <c:pt idx="1110">
                  <c:v>43194</c:v>
                </c:pt>
                <c:pt idx="1111">
                  <c:v>43195</c:v>
                </c:pt>
                <c:pt idx="1112">
                  <c:v>43196</c:v>
                </c:pt>
                <c:pt idx="1113">
                  <c:v>43199</c:v>
                </c:pt>
                <c:pt idx="1114">
                  <c:v>43200</c:v>
                </c:pt>
                <c:pt idx="1115">
                  <c:v>43201</c:v>
                </c:pt>
                <c:pt idx="1116">
                  <c:v>43202</c:v>
                </c:pt>
                <c:pt idx="1117">
                  <c:v>43203</c:v>
                </c:pt>
                <c:pt idx="1118">
                  <c:v>43206</c:v>
                </c:pt>
                <c:pt idx="1119">
                  <c:v>43207</c:v>
                </c:pt>
                <c:pt idx="1120">
                  <c:v>43208</c:v>
                </c:pt>
                <c:pt idx="1121">
                  <c:v>43209</c:v>
                </c:pt>
                <c:pt idx="1122">
                  <c:v>43210</c:v>
                </c:pt>
                <c:pt idx="1123">
                  <c:v>43213</c:v>
                </c:pt>
                <c:pt idx="1124">
                  <c:v>43214</c:v>
                </c:pt>
                <c:pt idx="1125">
                  <c:v>43215</c:v>
                </c:pt>
                <c:pt idx="1126">
                  <c:v>43216</c:v>
                </c:pt>
                <c:pt idx="1127">
                  <c:v>43217</c:v>
                </c:pt>
                <c:pt idx="1128">
                  <c:v>43220</c:v>
                </c:pt>
                <c:pt idx="1129">
                  <c:v>43221</c:v>
                </c:pt>
                <c:pt idx="1130">
                  <c:v>43222</c:v>
                </c:pt>
                <c:pt idx="1131">
                  <c:v>43223</c:v>
                </c:pt>
                <c:pt idx="1132">
                  <c:v>43224</c:v>
                </c:pt>
                <c:pt idx="1133">
                  <c:v>43227</c:v>
                </c:pt>
                <c:pt idx="1134">
                  <c:v>43228</c:v>
                </c:pt>
                <c:pt idx="1135">
                  <c:v>43229</c:v>
                </c:pt>
                <c:pt idx="1136">
                  <c:v>43230</c:v>
                </c:pt>
                <c:pt idx="1137">
                  <c:v>43231</c:v>
                </c:pt>
                <c:pt idx="1138">
                  <c:v>43234</c:v>
                </c:pt>
                <c:pt idx="1139">
                  <c:v>43235</c:v>
                </c:pt>
                <c:pt idx="1140">
                  <c:v>43236</c:v>
                </c:pt>
                <c:pt idx="1141">
                  <c:v>43237</c:v>
                </c:pt>
                <c:pt idx="1142">
                  <c:v>43238</c:v>
                </c:pt>
                <c:pt idx="1143">
                  <c:v>43241</c:v>
                </c:pt>
                <c:pt idx="1144">
                  <c:v>43242</c:v>
                </c:pt>
                <c:pt idx="1145">
                  <c:v>43243</c:v>
                </c:pt>
                <c:pt idx="1146">
                  <c:v>43244</c:v>
                </c:pt>
                <c:pt idx="1147">
                  <c:v>43245</c:v>
                </c:pt>
                <c:pt idx="1148">
                  <c:v>43248</c:v>
                </c:pt>
                <c:pt idx="1149">
                  <c:v>43249</c:v>
                </c:pt>
                <c:pt idx="1150">
                  <c:v>43250</c:v>
                </c:pt>
                <c:pt idx="1151">
                  <c:v>43251</c:v>
                </c:pt>
                <c:pt idx="1152">
                  <c:v>43252</c:v>
                </c:pt>
                <c:pt idx="1153">
                  <c:v>43255</c:v>
                </c:pt>
                <c:pt idx="1154">
                  <c:v>43256</c:v>
                </c:pt>
                <c:pt idx="1155">
                  <c:v>43257</c:v>
                </c:pt>
                <c:pt idx="1156">
                  <c:v>43258</c:v>
                </c:pt>
                <c:pt idx="1157">
                  <c:v>43259</c:v>
                </c:pt>
                <c:pt idx="1158">
                  <c:v>43262</c:v>
                </c:pt>
                <c:pt idx="1159">
                  <c:v>43263</c:v>
                </c:pt>
                <c:pt idx="1160">
                  <c:v>43264</c:v>
                </c:pt>
                <c:pt idx="1161">
                  <c:v>43265</c:v>
                </c:pt>
                <c:pt idx="1162">
                  <c:v>43266</c:v>
                </c:pt>
                <c:pt idx="1163">
                  <c:v>43269</c:v>
                </c:pt>
                <c:pt idx="1164">
                  <c:v>43270</c:v>
                </c:pt>
                <c:pt idx="1165">
                  <c:v>43271</c:v>
                </c:pt>
                <c:pt idx="1166">
                  <c:v>43272</c:v>
                </c:pt>
                <c:pt idx="1167">
                  <c:v>43273</c:v>
                </c:pt>
                <c:pt idx="1168">
                  <c:v>43276</c:v>
                </c:pt>
                <c:pt idx="1169">
                  <c:v>43277</c:v>
                </c:pt>
                <c:pt idx="1170">
                  <c:v>43278</c:v>
                </c:pt>
                <c:pt idx="1171">
                  <c:v>43279</c:v>
                </c:pt>
                <c:pt idx="1172">
                  <c:v>43280</c:v>
                </c:pt>
                <c:pt idx="1173">
                  <c:v>43283</c:v>
                </c:pt>
                <c:pt idx="1174">
                  <c:v>43284</c:v>
                </c:pt>
                <c:pt idx="1175">
                  <c:v>43285</c:v>
                </c:pt>
                <c:pt idx="1176">
                  <c:v>43286</c:v>
                </c:pt>
                <c:pt idx="1177">
                  <c:v>43287</c:v>
                </c:pt>
                <c:pt idx="1178">
                  <c:v>43290</c:v>
                </c:pt>
                <c:pt idx="1179">
                  <c:v>43291</c:v>
                </c:pt>
                <c:pt idx="1180">
                  <c:v>43292</c:v>
                </c:pt>
                <c:pt idx="1181">
                  <c:v>43293</c:v>
                </c:pt>
                <c:pt idx="1182">
                  <c:v>43294</c:v>
                </c:pt>
                <c:pt idx="1183">
                  <c:v>43297</c:v>
                </c:pt>
                <c:pt idx="1184">
                  <c:v>43298</c:v>
                </c:pt>
                <c:pt idx="1185">
                  <c:v>43299</c:v>
                </c:pt>
                <c:pt idx="1186">
                  <c:v>43300</c:v>
                </c:pt>
                <c:pt idx="1187">
                  <c:v>43301</c:v>
                </c:pt>
                <c:pt idx="1188">
                  <c:v>43304</c:v>
                </c:pt>
                <c:pt idx="1189">
                  <c:v>43305</c:v>
                </c:pt>
                <c:pt idx="1190">
                  <c:v>43306</c:v>
                </c:pt>
                <c:pt idx="1191">
                  <c:v>43307</c:v>
                </c:pt>
                <c:pt idx="1192">
                  <c:v>43308</c:v>
                </c:pt>
                <c:pt idx="1193">
                  <c:v>43311</c:v>
                </c:pt>
                <c:pt idx="1194">
                  <c:v>43312</c:v>
                </c:pt>
                <c:pt idx="1195">
                  <c:v>43313</c:v>
                </c:pt>
                <c:pt idx="1196">
                  <c:v>43314</c:v>
                </c:pt>
                <c:pt idx="1197">
                  <c:v>43315</c:v>
                </c:pt>
                <c:pt idx="1198">
                  <c:v>43318</c:v>
                </c:pt>
                <c:pt idx="1199">
                  <c:v>43319</c:v>
                </c:pt>
                <c:pt idx="1200">
                  <c:v>43320</c:v>
                </c:pt>
                <c:pt idx="1201">
                  <c:v>43321</c:v>
                </c:pt>
                <c:pt idx="1202">
                  <c:v>43322</c:v>
                </c:pt>
                <c:pt idx="1203">
                  <c:v>43325</c:v>
                </c:pt>
                <c:pt idx="1204">
                  <c:v>43326</c:v>
                </c:pt>
                <c:pt idx="1205">
                  <c:v>43327</c:v>
                </c:pt>
                <c:pt idx="1206">
                  <c:v>43328</c:v>
                </c:pt>
                <c:pt idx="1207">
                  <c:v>43329</c:v>
                </c:pt>
                <c:pt idx="1208">
                  <c:v>43332</c:v>
                </c:pt>
                <c:pt idx="1209">
                  <c:v>43333</c:v>
                </c:pt>
                <c:pt idx="1210">
                  <c:v>43334</c:v>
                </c:pt>
                <c:pt idx="1211">
                  <c:v>43335</c:v>
                </c:pt>
                <c:pt idx="1212">
                  <c:v>43336</c:v>
                </c:pt>
                <c:pt idx="1213">
                  <c:v>43339</c:v>
                </c:pt>
                <c:pt idx="1214">
                  <c:v>43340</c:v>
                </c:pt>
                <c:pt idx="1215">
                  <c:v>43341</c:v>
                </c:pt>
                <c:pt idx="1216">
                  <c:v>43342</c:v>
                </c:pt>
                <c:pt idx="1217">
                  <c:v>43343</c:v>
                </c:pt>
                <c:pt idx="1218">
                  <c:v>43346</c:v>
                </c:pt>
                <c:pt idx="1219">
                  <c:v>43347</c:v>
                </c:pt>
                <c:pt idx="1220">
                  <c:v>43348</c:v>
                </c:pt>
                <c:pt idx="1221">
                  <c:v>43349</c:v>
                </c:pt>
                <c:pt idx="1222">
                  <c:v>43350</c:v>
                </c:pt>
                <c:pt idx="1223">
                  <c:v>43353</c:v>
                </c:pt>
                <c:pt idx="1224">
                  <c:v>43354</c:v>
                </c:pt>
                <c:pt idx="1225">
                  <c:v>43355</c:v>
                </c:pt>
                <c:pt idx="1226">
                  <c:v>43356</c:v>
                </c:pt>
                <c:pt idx="1227">
                  <c:v>43357</c:v>
                </c:pt>
                <c:pt idx="1228">
                  <c:v>43360</c:v>
                </c:pt>
                <c:pt idx="1229">
                  <c:v>43361</c:v>
                </c:pt>
                <c:pt idx="1230">
                  <c:v>43362</c:v>
                </c:pt>
                <c:pt idx="1231">
                  <c:v>43363</c:v>
                </c:pt>
                <c:pt idx="1232">
                  <c:v>43364</c:v>
                </c:pt>
                <c:pt idx="1233">
                  <c:v>43367</c:v>
                </c:pt>
                <c:pt idx="1234">
                  <c:v>43368</c:v>
                </c:pt>
                <c:pt idx="1235">
                  <c:v>43369</c:v>
                </c:pt>
                <c:pt idx="1236">
                  <c:v>43370</c:v>
                </c:pt>
                <c:pt idx="1237">
                  <c:v>43371</c:v>
                </c:pt>
                <c:pt idx="1238">
                  <c:v>43374</c:v>
                </c:pt>
                <c:pt idx="1239">
                  <c:v>43375</c:v>
                </c:pt>
                <c:pt idx="1240">
                  <c:v>43376</c:v>
                </c:pt>
                <c:pt idx="1241">
                  <c:v>43377</c:v>
                </c:pt>
                <c:pt idx="1242">
                  <c:v>43378</c:v>
                </c:pt>
                <c:pt idx="1243">
                  <c:v>43381</c:v>
                </c:pt>
                <c:pt idx="1244">
                  <c:v>43382</c:v>
                </c:pt>
                <c:pt idx="1245">
                  <c:v>43383</c:v>
                </c:pt>
                <c:pt idx="1246">
                  <c:v>43384</c:v>
                </c:pt>
                <c:pt idx="1247">
                  <c:v>43385</c:v>
                </c:pt>
                <c:pt idx="1248">
                  <c:v>43388</c:v>
                </c:pt>
                <c:pt idx="1249">
                  <c:v>43389</c:v>
                </c:pt>
                <c:pt idx="1250">
                  <c:v>43390</c:v>
                </c:pt>
                <c:pt idx="1251">
                  <c:v>43391</c:v>
                </c:pt>
                <c:pt idx="1252">
                  <c:v>43392</c:v>
                </c:pt>
                <c:pt idx="1253">
                  <c:v>43395</c:v>
                </c:pt>
                <c:pt idx="1254">
                  <c:v>43396</c:v>
                </c:pt>
                <c:pt idx="1255">
                  <c:v>43397</c:v>
                </c:pt>
                <c:pt idx="1256">
                  <c:v>43398</c:v>
                </c:pt>
                <c:pt idx="1257">
                  <c:v>43399</c:v>
                </c:pt>
                <c:pt idx="1258">
                  <c:v>43402</c:v>
                </c:pt>
                <c:pt idx="1259">
                  <c:v>43403</c:v>
                </c:pt>
                <c:pt idx="1260">
                  <c:v>43404</c:v>
                </c:pt>
                <c:pt idx="1261">
                  <c:v>43405</c:v>
                </c:pt>
                <c:pt idx="1262">
                  <c:v>43406</c:v>
                </c:pt>
                <c:pt idx="1263">
                  <c:v>43409</c:v>
                </c:pt>
                <c:pt idx="1264">
                  <c:v>43410</c:v>
                </c:pt>
                <c:pt idx="1265">
                  <c:v>43411</c:v>
                </c:pt>
                <c:pt idx="1266">
                  <c:v>43412</c:v>
                </c:pt>
                <c:pt idx="1267">
                  <c:v>43413</c:v>
                </c:pt>
                <c:pt idx="1268">
                  <c:v>43416</c:v>
                </c:pt>
                <c:pt idx="1269">
                  <c:v>43417</c:v>
                </c:pt>
                <c:pt idx="1270">
                  <c:v>43418</c:v>
                </c:pt>
                <c:pt idx="1271">
                  <c:v>43419</c:v>
                </c:pt>
                <c:pt idx="1272">
                  <c:v>43420</c:v>
                </c:pt>
                <c:pt idx="1273">
                  <c:v>43423</c:v>
                </c:pt>
                <c:pt idx="1274">
                  <c:v>43424</c:v>
                </c:pt>
                <c:pt idx="1275">
                  <c:v>43425</c:v>
                </c:pt>
                <c:pt idx="1276">
                  <c:v>43426</c:v>
                </c:pt>
                <c:pt idx="1277">
                  <c:v>43427</c:v>
                </c:pt>
                <c:pt idx="1278">
                  <c:v>43430</c:v>
                </c:pt>
                <c:pt idx="1279">
                  <c:v>43431</c:v>
                </c:pt>
                <c:pt idx="1280">
                  <c:v>43432</c:v>
                </c:pt>
                <c:pt idx="1281">
                  <c:v>43433</c:v>
                </c:pt>
                <c:pt idx="1282">
                  <c:v>43434</c:v>
                </c:pt>
                <c:pt idx="1283">
                  <c:v>43437</c:v>
                </c:pt>
                <c:pt idx="1284">
                  <c:v>43438</c:v>
                </c:pt>
                <c:pt idx="1285">
                  <c:v>43439</c:v>
                </c:pt>
                <c:pt idx="1286">
                  <c:v>43440</c:v>
                </c:pt>
                <c:pt idx="1287">
                  <c:v>43441</c:v>
                </c:pt>
                <c:pt idx="1288">
                  <c:v>43444</c:v>
                </c:pt>
                <c:pt idx="1289">
                  <c:v>43445</c:v>
                </c:pt>
                <c:pt idx="1290">
                  <c:v>43446</c:v>
                </c:pt>
                <c:pt idx="1291">
                  <c:v>43447</c:v>
                </c:pt>
                <c:pt idx="1292">
                  <c:v>43448</c:v>
                </c:pt>
                <c:pt idx="1293">
                  <c:v>43451</c:v>
                </c:pt>
                <c:pt idx="1294">
                  <c:v>43452</c:v>
                </c:pt>
                <c:pt idx="1295">
                  <c:v>43453</c:v>
                </c:pt>
                <c:pt idx="1296">
                  <c:v>43454</c:v>
                </c:pt>
                <c:pt idx="1297">
                  <c:v>43455</c:v>
                </c:pt>
                <c:pt idx="1298">
                  <c:v>43458</c:v>
                </c:pt>
                <c:pt idx="1299">
                  <c:v>43459</c:v>
                </c:pt>
                <c:pt idx="1300">
                  <c:v>43460</c:v>
                </c:pt>
                <c:pt idx="1301">
                  <c:v>43461</c:v>
                </c:pt>
                <c:pt idx="1302">
                  <c:v>43462</c:v>
                </c:pt>
                <c:pt idx="1303">
                  <c:v>43465</c:v>
                </c:pt>
                <c:pt idx="1304">
                  <c:v>43466</c:v>
                </c:pt>
                <c:pt idx="1305">
                  <c:v>43467</c:v>
                </c:pt>
                <c:pt idx="1306">
                  <c:v>43468</c:v>
                </c:pt>
                <c:pt idx="1307">
                  <c:v>43469</c:v>
                </c:pt>
                <c:pt idx="1308">
                  <c:v>43472</c:v>
                </c:pt>
                <c:pt idx="1309">
                  <c:v>43473</c:v>
                </c:pt>
                <c:pt idx="1310">
                  <c:v>43474</c:v>
                </c:pt>
                <c:pt idx="1311">
                  <c:v>43475</c:v>
                </c:pt>
                <c:pt idx="1312">
                  <c:v>43476</c:v>
                </c:pt>
                <c:pt idx="1313">
                  <c:v>43479</c:v>
                </c:pt>
                <c:pt idx="1314">
                  <c:v>43480</c:v>
                </c:pt>
                <c:pt idx="1315">
                  <c:v>43481</c:v>
                </c:pt>
                <c:pt idx="1316">
                  <c:v>43482</c:v>
                </c:pt>
                <c:pt idx="1317">
                  <c:v>43483</c:v>
                </c:pt>
                <c:pt idx="1318">
                  <c:v>43486</c:v>
                </c:pt>
                <c:pt idx="1319">
                  <c:v>43487</c:v>
                </c:pt>
                <c:pt idx="1320">
                  <c:v>43488</c:v>
                </c:pt>
                <c:pt idx="1321">
                  <c:v>43489</c:v>
                </c:pt>
                <c:pt idx="1322">
                  <c:v>43490</c:v>
                </c:pt>
                <c:pt idx="1323">
                  <c:v>43493</c:v>
                </c:pt>
                <c:pt idx="1324">
                  <c:v>43494</c:v>
                </c:pt>
                <c:pt idx="1325">
                  <c:v>43495</c:v>
                </c:pt>
                <c:pt idx="1326">
                  <c:v>43496</c:v>
                </c:pt>
                <c:pt idx="1327">
                  <c:v>43497</c:v>
                </c:pt>
                <c:pt idx="1328">
                  <c:v>43500</c:v>
                </c:pt>
                <c:pt idx="1329">
                  <c:v>43501</c:v>
                </c:pt>
                <c:pt idx="1330">
                  <c:v>43502</c:v>
                </c:pt>
                <c:pt idx="1331">
                  <c:v>43503</c:v>
                </c:pt>
                <c:pt idx="1332">
                  <c:v>43504</c:v>
                </c:pt>
                <c:pt idx="1333">
                  <c:v>43507</c:v>
                </c:pt>
                <c:pt idx="1334">
                  <c:v>43508</c:v>
                </c:pt>
                <c:pt idx="1335">
                  <c:v>43509</c:v>
                </c:pt>
                <c:pt idx="1336">
                  <c:v>43510</c:v>
                </c:pt>
                <c:pt idx="1337">
                  <c:v>43511</c:v>
                </c:pt>
                <c:pt idx="1338">
                  <c:v>43514</c:v>
                </c:pt>
                <c:pt idx="1339">
                  <c:v>43515</c:v>
                </c:pt>
                <c:pt idx="1340">
                  <c:v>43516</c:v>
                </c:pt>
                <c:pt idx="1341">
                  <c:v>43517</c:v>
                </c:pt>
                <c:pt idx="1342">
                  <c:v>43518</c:v>
                </c:pt>
                <c:pt idx="1343">
                  <c:v>43521</c:v>
                </c:pt>
                <c:pt idx="1344">
                  <c:v>43522</c:v>
                </c:pt>
                <c:pt idx="1345">
                  <c:v>43523</c:v>
                </c:pt>
                <c:pt idx="1346">
                  <c:v>43524</c:v>
                </c:pt>
                <c:pt idx="1347">
                  <c:v>43525</c:v>
                </c:pt>
                <c:pt idx="1348">
                  <c:v>43528</c:v>
                </c:pt>
                <c:pt idx="1349">
                  <c:v>43529</c:v>
                </c:pt>
                <c:pt idx="1350">
                  <c:v>43530</c:v>
                </c:pt>
                <c:pt idx="1351">
                  <c:v>43531</c:v>
                </c:pt>
                <c:pt idx="1352">
                  <c:v>43532</c:v>
                </c:pt>
                <c:pt idx="1353">
                  <c:v>43535</c:v>
                </c:pt>
                <c:pt idx="1354">
                  <c:v>43536</c:v>
                </c:pt>
                <c:pt idx="1355">
                  <c:v>43537</c:v>
                </c:pt>
                <c:pt idx="1356">
                  <c:v>43538</c:v>
                </c:pt>
                <c:pt idx="1357">
                  <c:v>43539</c:v>
                </c:pt>
                <c:pt idx="1358">
                  <c:v>43542</c:v>
                </c:pt>
                <c:pt idx="1359">
                  <c:v>43543</c:v>
                </c:pt>
                <c:pt idx="1360">
                  <c:v>43544</c:v>
                </c:pt>
                <c:pt idx="1361">
                  <c:v>43545</c:v>
                </c:pt>
                <c:pt idx="1362">
                  <c:v>43546</c:v>
                </c:pt>
                <c:pt idx="1363">
                  <c:v>43549</c:v>
                </c:pt>
                <c:pt idx="1364">
                  <c:v>43550</c:v>
                </c:pt>
                <c:pt idx="1365">
                  <c:v>43551</c:v>
                </c:pt>
                <c:pt idx="1366">
                  <c:v>43552</c:v>
                </c:pt>
                <c:pt idx="1367">
                  <c:v>43553</c:v>
                </c:pt>
                <c:pt idx="1368">
                  <c:v>43556</c:v>
                </c:pt>
                <c:pt idx="1369">
                  <c:v>43557</c:v>
                </c:pt>
                <c:pt idx="1370">
                  <c:v>43558</c:v>
                </c:pt>
                <c:pt idx="1371">
                  <c:v>43559</c:v>
                </c:pt>
                <c:pt idx="1372">
                  <c:v>43560</c:v>
                </c:pt>
                <c:pt idx="1373">
                  <c:v>43563</c:v>
                </c:pt>
                <c:pt idx="1374">
                  <c:v>43564</c:v>
                </c:pt>
                <c:pt idx="1375">
                  <c:v>43565</c:v>
                </c:pt>
                <c:pt idx="1376">
                  <c:v>43566</c:v>
                </c:pt>
                <c:pt idx="1377">
                  <c:v>43567</c:v>
                </c:pt>
                <c:pt idx="1378">
                  <c:v>43570</c:v>
                </c:pt>
                <c:pt idx="1379">
                  <c:v>43571</c:v>
                </c:pt>
                <c:pt idx="1380">
                  <c:v>43572</c:v>
                </c:pt>
                <c:pt idx="1381">
                  <c:v>43573</c:v>
                </c:pt>
                <c:pt idx="1382">
                  <c:v>43574</c:v>
                </c:pt>
                <c:pt idx="1383">
                  <c:v>43577</c:v>
                </c:pt>
                <c:pt idx="1384">
                  <c:v>43578</c:v>
                </c:pt>
                <c:pt idx="1385">
                  <c:v>43579</c:v>
                </c:pt>
                <c:pt idx="1386">
                  <c:v>43580</c:v>
                </c:pt>
                <c:pt idx="1387">
                  <c:v>43581</c:v>
                </c:pt>
                <c:pt idx="1388">
                  <c:v>43584</c:v>
                </c:pt>
                <c:pt idx="1389">
                  <c:v>43585</c:v>
                </c:pt>
                <c:pt idx="1390">
                  <c:v>43586</c:v>
                </c:pt>
                <c:pt idx="1391">
                  <c:v>43587</c:v>
                </c:pt>
                <c:pt idx="1392">
                  <c:v>43588</c:v>
                </c:pt>
                <c:pt idx="1393">
                  <c:v>43591</c:v>
                </c:pt>
                <c:pt idx="1394">
                  <c:v>43592</c:v>
                </c:pt>
                <c:pt idx="1395">
                  <c:v>43593</c:v>
                </c:pt>
                <c:pt idx="1396">
                  <c:v>43594</c:v>
                </c:pt>
                <c:pt idx="1397">
                  <c:v>43595</c:v>
                </c:pt>
                <c:pt idx="1398">
                  <c:v>43598</c:v>
                </c:pt>
                <c:pt idx="1399">
                  <c:v>43599</c:v>
                </c:pt>
                <c:pt idx="1400">
                  <c:v>43600</c:v>
                </c:pt>
                <c:pt idx="1401">
                  <c:v>43601</c:v>
                </c:pt>
                <c:pt idx="1402">
                  <c:v>43602</c:v>
                </c:pt>
                <c:pt idx="1403">
                  <c:v>43605</c:v>
                </c:pt>
                <c:pt idx="1404">
                  <c:v>43606</c:v>
                </c:pt>
                <c:pt idx="1405">
                  <c:v>43607</c:v>
                </c:pt>
                <c:pt idx="1406">
                  <c:v>43608</c:v>
                </c:pt>
                <c:pt idx="1407">
                  <c:v>43609</c:v>
                </c:pt>
                <c:pt idx="1408">
                  <c:v>43612</c:v>
                </c:pt>
                <c:pt idx="1409">
                  <c:v>43613</c:v>
                </c:pt>
                <c:pt idx="1410">
                  <c:v>43614</c:v>
                </c:pt>
                <c:pt idx="1411">
                  <c:v>43615</c:v>
                </c:pt>
                <c:pt idx="1412">
                  <c:v>43616</c:v>
                </c:pt>
                <c:pt idx="1413">
                  <c:v>43619</c:v>
                </c:pt>
                <c:pt idx="1414">
                  <c:v>43620</c:v>
                </c:pt>
                <c:pt idx="1415">
                  <c:v>43621</c:v>
                </c:pt>
                <c:pt idx="1416">
                  <c:v>43622</c:v>
                </c:pt>
                <c:pt idx="1417">
                  <c:v>43623</c:v>
                </c:pt>
                <c:pt idx="1418">
                  <c:v>43626</c:v>
                </c:pt>
                <c:pt idx="1419">
                  <c:v>43627</c:v>
                </c:pt>
                <c:pt idx="1420">
                  <c:v>43628</c:v>
                </c:pt>
                <c:pt idx="1421">
                  <c:v>43629</c:v>
                </c:pt>
                <c:pt idx="1422">
                  <c:v>43630</c:v>
                </c:pt>
                <c:pt idx="1423">
                  <c:v>43633</c:v>
                </c:pt>
                <c:pt idx="1424">
                  <c:v>43634</c:v>
                </c:pt>
                <c:pt idx="1425">
                  <c:v>43635</c:v>
                </c:pt>
                <c:pt idx="1426">
                  <c:v>43636</c:v>
                </c:pt>
                <c:pt idx="1427">
                  <c:v>43637</c:v>
                </c:pt>
                <c:pt idx="1428">
                  <c:v>43640</c:v>
                </c:pt>
                <c:pt idx="1429">
                  <c:v>43641</c:v>
                </c:pt>
                <c:pt idx="1430">
                  <c:v>43642</c:v>
                </c:pt>
                <c:pt idx="1431">
                  <c:v>43643</c:v>
                </c:pt>
                <c:pt idx="1432">
                  <c:v>43644</c:v>
                </c:pt>
                <c:pt idx="1433">
                  <c:v>43645</c:v>
                </c:pt>
                <c:pt idx="1434">
                  <c:v>43646</c:v>
                </c:pt>
                <c:pt idx="1435">
                  <c:v>43647</c:v>
                </c:pt>
                <c:pt idx="1436">
                  <c:v>43648</c:v>
                </c:pt>
                <c:pt idx="1437">
                  <c:v>43649</c:v>
                </c:pt>
                <c:pt idx="1438">
                  <c:v>43650</c:v>
                </c:pt>
                <c:pt idx="1439">
                  <c:v>43651</c:v>
                </c:pt>
                <c:pt idx="1440">
                  <c:v>43652</c:v>
                </c:pt>
                <c:pt idx="1441">
                  <c:v>43653</c:v>
                </c:pt>
                <c:pt idx="1442">
                  <c:v>43654</c:v>
                </c:pt>
                <c:pt idx="1443">
                  <c:v>43655</c:v>
                </c:pt>
                <c:pt idx="1444">
                  <c:v>43656</c:v>
                </c:pt>
                <c:pt idx="1445">
                  <c:v>43657</c:v>
                </c:pt>
                <c:pt idx="1446">
                  <c:v>43658</c:v>
                </c:pt>
                <c:pt idx="1447">
                  <c:v>43659</c:v>
                </c:pt>
                <c:pt idx="1448">
                  <c:v>43660</c:v>
                </c:pt>
                <c:pt idx="1449">
                  <c:v>43661</c:v>
                </c:pt>
                <c:pt idx="1450">
                  <c:v>43662</c:v>
                </c:pt>
                <c:pt idx="1451">
                  <c:v>43663</c:v>
                </c:pt>
                <c:pt idx="1452">
                  <c:v>43664</c:v>
                </c:pt>
                <c:pt idx="1453">
                  <c:v>43665</c:v>
                </c:pt>
                <c:pt idx="1454">
                  <c:v>43666</c:v>
                </c:pt>
                <c:pt idx="1455">
                  <c:v>43667</c:v>
                </c:pt>
                <c:pt idx="1456">
                  <c:v>43668</c:v>
                </c:pt>
                <c:pt idx="1457">
                  <c:v>43669</c:v>
                </c:pt>
                <c:pt idx="1458">
                  <c:v>43670</c:v>
                </c:pt>
                <c:pt idx="1459">
                  <c:v>43671</c:v>
                </c:pt>
                <c:pt idx="1460">
                  <c:v>43672</c:v>
                </c:pt>
                <c:pt idx="1461">
                  <c:v>43673</c:v>
                </c:pt>
                <c:pt idx="1462">
                  <c:v>43674</c:v>
                </c:pt>
                <c:pt idx="1463">
                  <c:v>43675</c:v>
                </c:pt>
                <c:pt idx="1464">
                  <c:v>43676</c:v>
                </c:pt>
                <c:pt idx="1465">
                  <c:v>43677</c:v>
                </c:pt>
                <c:pt idx="1466">
                  <c:v>43678</c:v>
                </c:pt>
                <c:pt idx="1467">
                  <c:v>43679</c:v>
                </c:pt>
                <c:pt idx="1468">
                  <c:v>43680</c:v>
                </c:pt>
                <c:pt idx="1469">
                  <c:v>43681</c:v>
                </c:pt>
                <c:pt idx="1470">
                  <c:v>43682</c:v>
                </c:pt>
                <c:pt idx="1471">
                  <c:v>43683</c:v>
                </c:pt>
                <c:pt idx="1472">
                  <c:v>43684</c:v>
                </c:pt>
                <c:pt idx="1473">
                  <c:v>43685</c:v>
                </c:pt>
                <c:pt idx="1474">
                  <c:v>43686</c:v>
                </c:pt>
                <c:pt idx="1475">
                  <c:v>43687</c:v>
                </c:pt>
                <c:pt idx="1476">
                  <c:v>43688</c:v>
                </c:pt>
                <c:pt idx="1477">
                  <c:v>43689</c:v>
                </c:pt>
                <c:pt idx="1478">
                  <c:v>43690</c:v>
                </c:pt>
                <c:pt idx="1479">
                  <c:v>43691</c:v>
                </c:pt>
                <c:pt idx="1480">
                  <c:v>43692</c:v>
                </c:pt>
                <c:pt idx="1481">
                  <c:v>43693</c:v>
                </c:pt>
                <c:pt idx="1482">
                  <c:v>43694</c:v>
                </c:pt>
                <c:pt idx="1483">
                  <c:v>43695</c:v>
                </c:pt>
                <c:pt idx="1484">
                  <c:v>43696</c:v>
                </c:pt>
                <c:pt idx="1485">
                  <c:v>43697</c:v>
                </c:pt>
                <c:pt idx="1486">
                  <c:v>43698</c:v>
                </c:pt>
                <c:pt idx="1487">
                  <c:v>43699</c:v>
                </c:pt>
                <c:pt idx="1488">
                  <c:v>43700</c:v>
                </c:pt>
                <c:pt idx="1489">
                  <c:v>43701</c:v>
                </c:pt>
                <c:pt idx="1490">
                  <c:v>43702</c:v>
                </c:pt>
                <c:pt idx="1491">
                  <c:v>43703</c:v>
                </c:pt>
                <c:pt idx="1492">
                  <c:v>43704</c:v>
                </c:pt>
                <c:pt idx="1493">
                  <c:v>43705</c:v>
                </c:pt>
                <c:pt idx="1494">
                  <c:v>43706</c:v>
                </c:pt>
                <c:pt idx="1495">
                  <c:v>43707</c:v>
                </c:pt>
                <c:pt idx="1496">
                  <c:v>43708</c:v>
                </c:pt>
                <c:pt idx="1497">
                  <c:v>43709</c:v>
                </c:pt>
                <c:pt idx="1498">
                  <c:v>43710</c:v>
                </c:pt>
                <c:pt idx="1499">
                  <c:v>43711</c:v>
                </c:pt>
                <c:pt idx="1500">
                  <c:v>43712</c:v>
                </c:pt>
                <c:pt idx="1501">
                  <c:v>43713</c:v>
                </c:pt>
                <c:pt idx="1502">
                  <c:v>43714</c:v>
                </c:pt>
                <c:pt idx="1503">
                  <c:v>43715</c:v>
                </c:pt>
                <c:pt idx="1504">
                  <c:v>43716</c:v>
                </c:pt>
                <c:pt idx="1505">
                  <c:v>43717</c:v>
                </c:pt>
                <c:pt idx="1506">
                  <c:v>43718</c:v>
                </c:pt>
                <c:pt idx="1507">
                  <c:v>43719</c:v>
                </c:pt>
                <c:pt idx="1508">
                  <c:v>43720</c:v>
                </c:pt>
                <c:pt idx="1509">
                  <c:v>43721</c:v>
                </c:pt>
                <c:pt idx="1510">
                  <c:v>43722</c:v>
                </c:pt>
                <c:pt idx="1511">
                  <c:v>43723</c:v>
                </c:pt>
                <c:pt idx="1512">
                  <c:v>43724</c:v>
                </c:pt>
                <c:pt idx="1513">
                  <c:v>43725</c:v>
                </c:pt>
                <c:pt idx="1514">
                  <c:v>43726</c:v>
                </c:pt>
                <c:pt idx="1515">
                  <c:v>43727</c:v>
                </c:pt>
                <c:pt idx="1516">
                  <c:v>43728</c:v>
                </c:pt>
                <c:pt idx="1517">
                  <c:v>43729</c:v>
                </c:pt>
                <c:pt idx="1518">
                  <c:v>43730</c:v>
                </c:pt>
                <c:pt idx="1519">
                  <c:v>43731</c:v>
                </c:pt>
                <c:pt idx="1520">
                  <c:v>43732</c:v>
                </c:pt>
                <c:pt idx="1521">
                  <c:v>43733</c:v>
                </c:pt>
                <c:pt idx="1522">
                  <c:v>43734</c:v>
                </c:pt>
                <c:pt idx="1523">
                  <c:v>43735</c:v>
                </c:pt>
                <c:pt idx="1524">
                  <c:v>43736</c:v>
                </c:pt>
                <c:pt idx="1525">
                  <c:v>43737</c:v>
                </c:pt>
                <c:pt idx="1526">
                  <c:v>43738</c:v>
                </c:pt>
                <c:pt idx="1527">
                  <c:v>43739</c:v>
                </c:pt>
                <c:pt idx="1528">
                  <c:v>43740</c:v>
                </c:pt>
                <c:pt idx="1529">
                  <c:v>43741</c:v>
                </c:pt>
                <c:pt idx="1530">
                  <c:v>43742</c:v>
                </c:pt>
                <c:pt idx="1531">
                  <c:v>43743</c:v>
                </c:pt>
                <c:pt idx="1532">
                  <c:v>43744</c:v>
                </c:pt>
                <c:pt idx="1533">
                  <c:v>43745</c:v>
                </c:pt>
                <c:pt idx="1534">
                  <c:v>43746</c:v>
                </c:pt>
                <c:pt idx="1535">
                  <c:v>43747</c:v>
                </c:pt>
                <c:pt idx="1536">
                  <c:v>43748</c:v>
                </c:pt>
                <c:pt idx="1537">
                  <c:v>43749</c:v>
                </c:pt>
                <c:pt idx="1538">
                  <c:v>43750</c:v>
                </c:pt>
                <c:pt idx="1539">
                  <c:v>43751</c:v>
                </c:pt>
                <c:pt idx="1540">
                  <c:v>43752</c:v>
                </c:pt>
                <c:pt idx="1541">
                  <c:v>43753</c:v>
                </c:pt>
                <c:pt idx="1542">
                  <c:v>43754</c:v>
                </c:pt>
                <c:pt idx="1543">
                  <c:v>43755</c:v>
                </c:pt>
                <c:pt idx="1544">
                  <c:v>43756</c:v>
                </c:pt>
                <c:pt idx="1545">
                  <c:v>43757</c:v>
                </c:pt>
                <c:pt idx="1546">
                  <c:v>43758</c:v>
                </c:pt>
                <c:pt idx="1547">
                  <c:v>43759</c:v>
                </c:pt>
                <c:pt idx="1548">
                  <c:v>43760</c:v>
                </c:pt>
                <c:pt idx="1549">
                  <c:v>43761</c:v>
                </c:pt>
                <c:pt idx="1550">
                  <c:v>43762</c:v>
                </c:pt>
                <c:pt idx="1551">
                  <c:v>43763</c:v>
                </c:pt>
                <c:pt idx="1552">
                  <c:v>43764</c:v>
                </c:pt>
                <c:pt idx="1553">
                  <c:v>43765</c:v>
                </c:pt>
                <c:pt idx="1554">
                  <c:v>43766</c:v>
                </c:pt>
                <c:pt idx="1555">
                  <c:v>43767</c:v>
                </c:pt>
                <c:pt idx="1556">
                  <c:v>43768</c:v>
                </c:pt>
                <c:pt idx="1557">
                  <c:v>43769</c:v>
                </c:pt>
                <c:pt idx="1558">
                  <c:v>43770</c:v>
                </c:pt>
                <c:pt idx="1559">
                  <c:v>43771</c:v>
                </c:pt>
                <c:pt idx="1560">
                  <c:v>43772</c:v>
                </c:pt>
                <c:pt idx="1561">
                  <c:v>43773</c:v>
                </c:pt>
                <c:pt idx="1562">
                  <c:v>43774</c:v>
                </c:pt>
                <c:pt idx="1563">
                  <c:v>43775</c:v>
                </c:pt>
                <c:pt idx="1564">
                  <c:v>43776</c:v>
                </c:pt>
                <c:pt idx="1565">
                  <c:v>43777</c:v>
                </c:pt>
                <c:pt idx="1566">
                  <c:v>43778</c:v>
                </c:pt>
                <c:pt idx="1567">
                  <c:v>43779</c:v>
                </c:pt>
                <c:pt idx="1568">
                  <c:v>43780</c:v>
                </c:pt>
                <c:pt idx="1569">
                  <c:v>43781</c:v>
                </c:pt>
                <c:pt idx="1570">
                  <c:v>43782</c:v>
                </c:pt>
                <c:pt idx="1571">
                  <c:v>43783</c:v>
                </c:pt>
                <c:pt idx="1572">
                  <c:v>43784</c:v>
                </c:pt>
                <c:pt idx="1573">
                  <c:v>43785</c:v>
                </c:pt>
                <c:pt idx="1574">
                  <c:v>43786</c:v>
                </c:pt>
                <c:pt idx="1575">
                  <c:v>43787</c:v>
                </c:pt>
                <c:pt idx="1576">
                  <c:v>43788</c:v>
                </c:pt>
                <c:pt idx="1577">
                  <c:v>43789</c:v>
                </c:pt>
                <c:pt idx="1578">
                  <c:v>43790</c:v>
                </c:pt>
                <c:pt idx="1579">
                  <c:v>43791</c:v>
                </c:pt>
                <c:pt idx="1580">
                  <c:v>43792</c:v>
                </c:pt>
                <c:pt idx="1581">
                  <c:v>43793</c:v>
                </c:pt>
                <c:pt idx="1582">
                  <c:v>43794</c:v>
                </c:pt>
                <c:pt idx="1583">
                  <c:v>43795</c:v>
                </c:pt>
                <c:pt idx="1584">
                  <c:v>43796</c:v>
                </c:pt>
                <c:pt idx="1585">
                  <c:v>43797</c:v>
                </c:pt>
                <c:pt idx="1586">
                  <c:v>43798</c:v>
                </c:pt>
                <c:pt idx="1587">
                  <c:v>43799</c:v>
                </c:pt>
                <c:pt idx="1588">
                  <c:v>43800</c:v>
                </c:pt>
                <c:pt idx="1589">
                  <c:v>43801</c:v>
                </c:pt>
                <c:pt idx="1590">
                  <c:v>43802</c:v>
                </c:pt>
                <c:pt idx="1591">
                  <c:v>43803</c:v>
                </c:pt>
                <c:pt idx="1592">
                  <c:v>43804</c:v>
                </c:pt>
                <c:pt idx="1593">
                  <c:v>43805</c:v>
                </c:pt>
                <c:pt idx="1594">
                  <c:v>43806</c:v>
                </c:pt>
                <c:pt idx="1595">
                  <c:v>43807</c:v>
                </c:pt>
                <c:pt idx="1596">
                  <c:v>43808</c:v>
                </c:pt>
                <c:pt idx="1597">
                  <c:v>43809</c:v>
                </c:pt>
                <c:pt idx="1598">
                  <c:v>43810</c:v>
                </c:pt>
                <c:pt idx="1599">
                  <c:v>43811</c:v>
                </c:pt>
                <c:pt idx="1600">
                  <c:v>43812</c:v>
                </c:pt>
                <c:pt idx="1601">
                  <c:v>43813</c:v>
                </c:pt>
                <c:pt idx="1602">
                  <c:v>43814</c:v>
                </c:pt>
                <c:pt idx="1603">
                  <c:v>43815</c:v>
                </c:pt>
                <c:pt idx="1604">
                  <c:v>43816</c:v>
                </c:pt>
                <c:pt idx="1605">
                  <c:v>43817</c:v>
                </c:pt>
                <c:pt idx="1606">
                  <c:v>43818</c:v>
                </c:pt>
                <c:pt idx="1607">
                  <c:v>43819</c:v>
                </c:pt>
                <c:pt idx="1608">
                  <c:v>43820</c:v>
                </c:pt>
                <c:pt idx="1609">
                  <c:v>43821</c:v>
                </c:pt>
                <c:pt idx="1610">
                  <c:v>43822</c:v>
                </c:pt>
                <c:pt idx="1611">
                  <c:v>43823</c:v>
                </c:pt>
                <c:pt idx="1612">
                  <c:v>43824</c:v>
                </c:pt>
                <c:pt idx="1613">
                  <c:v>43825</c:v>
                </c:pt>
                <c:pt idx="1614">
                  <c:v>43826</c:v>
                </c:pt>
                <c:pt idx="1615">
                  <c:v>43827</c:v>
                </c:pt>
                <c:pt idx="1616">
                  <c:v>43828</c:v>
                </c:pt>
                <c:pt idx="1617">
                  <c:v>43829</c:v>
                </c:pt>
                <c:pt idx="1618">
                  <c:v>43830</c:v>
                </c:pt>
              </c:numCache>
            </c:numRef>
          </c:cat>
          <c:val>
            <c:numRef>
              <c:f>Sheet1!$D$7:$D$1625</c:f>
              <c:numCache>
                <c:formatCode>_-* #,##0_-;\-* #,##0_-;_-* "-"??_-;_-@_-</c:formatCode>
                <c:ptCount val="1619"/>
                <c:pt idx="0">
                  <c:v>51507.16</c:v>
                </c:pt>
                <c:pt idx="1">
                  <c:v>50341.25</c:v>
                </c:pt>
                <c:pt idx="2">
                  <c:v>50981.09</c:v>
                </c:pt>
                <c:pt idx="3">
                  <c:v>50973.62</c:v>
                </c:pt>
                <c:pt idx="4">
                  <c:v>50430.02</c:v>
                </c:pt>
                <c:pt idx="5">
                  <c:v>50576.639999999999</c:v>
                </c:pt>
                <c:pt idx="6">
                  <c:v>49321.68</c:v>
                </c:pt>
                <c:pt idx="7">
                  <c:v>49696.45</c:v>
                </c:pt>
                <c:pt idx="8">
                  <c:v>49426.9</c:v>
                </c:pt>
                <c:pt idx="9">
                  <c:v>49703.1</c:v>
                </c:pt>
                <c:pt idx="10">
                  <c:v>50105.37</c:v>
                </c:pt>
                <c:pt idx="11">
                  <c:v>49696.28</c:v>
                </c:pt>
                <c:pt idx="12">
                  <c:v>49181.86</c:v>
                </c:pt>
                <c:pt idx="13">
                  <c:v>48708.41</c:v>
                </c:pt>
                <c:pt idx="14">
                  <c:v>48542.07</c:v>
                </c:pt>
                <c:pt idx="15">
                  <c:v>49299.66</c:v>
                </c:pt>
                <c:pt idx="16">
                  <c:v>48320.639999999999</c:v>
                </c:pt>
                <c:pt idx="17">
                  <c:v>47787.38</c:v>
                </c:pt>
                <c:pt idx="18">
                  <c:v>47701.05</c:v>
                </c:pt>
                <c:pt idx="19">
                  <c:v>47840.93</c:v>
                </c:pt>
                <c:pt idx="20">
                  <c:v>47556.78</c:v>
                </c:pt>
                <c:pt idx="21">
                  <c:v>47244.26</c:v>
                </c:pt>
                <c:pt idx="22">
                  <c:v>47638.99</c:v>
                </c:pt>
                <c:pt idx="23">
                  <c:v>46147.519999999997</c:v>
                </c:pt>
                <c:pt idx="24">
                  <c:v>46964.22</c:v>
                </c:pt>
                <c:pt idx="25">
                  <c:v>46624.39</c:v>
                </c:pt>
                <c:pt idx="26">
                  <c:v>47738.09</c:v>
                </c:pt>
                <c:pt idx="27">
                  <c:v>48073.599999999999</c:v>
                </c:pt>
                <c:pt idx="28">
                  <c:v>47710.82</c:v>
                </c:pt>
                <c:pt idx="29">
                  <c:v>48462.79</c:v>
                </c:pt>
                <c:pt idx="30">
                  <c:v>48216.89</c:v>
                </c:pt>
                <c:pt idx="31">
                  <c:v>47812.83</c:v>
                </c:pt>
                <c:pt idx="32">
                  <c:v>48201.11</c:v>
                </c:pt>
                <c:pt idx="33">
                  <c:v>47576.33</c:v>
                </c:pt>
                <c:pt idx="34">
                  <c:v>46599.76</c:v>
                </c:pt>
                <c:pt idx="35">
                  <c:v>47150.83</c:v>
                </c:pt>
                <c:pt idx="36">
                  <c:v>47288.61</c:v>
                </c:pt>
                <c:pt idx="37">
                  <c:v>47380.24</c:v>
                </c:pt>
                <c:pt idx="38">
                  <c:v>47393.5</c:v>
                </c:pt>
                <c:pt idx="39">
                  <c:v>46715.91</c:v>
                </c:pt>
                <c:pt idx="40">
                  <c:v>46599.21</c:v>
                </c:pt>
                <c:pt idx="41">
                  <c:v>47606.75</c:v>
                </c:pt>
                <c:pt idx="42">
                  <c:v>47094.400000000001</c:v>
                </c:pt>
                <c:pt idx="43">
                  <c:v>47094.400000000001</c:v>
                </c:pt>
                <c:pt idx="44">
                  <c:v>47094.400000000001</c:v>
                </c:pt>
                <c:pt idx="45">
                  <c:v>46589</c:v>
                </c:pt>
                <c:pt idx="46">
                  <c:v>47093.13</c:v>
                </c:pt>
                <c:pt idx="47">
                  <c:v>46244.07</c:v>
                </c:pt>
                <c:pt idx="48">
                  <c:v>45533.2</c:v>
                </c:pt>
                <c:pt idx="49">
                  <c:v>45697.62</c:v>
                </c:pt>
                <c:pt idx="50">
                  <c:v>45861.81</c:v>
                </c:pt>
                <c:pt idx="51">
                  <c:v>45443.83</c:v>
                </c:pt>
                <c:pt idx="52">
                  <c:v>44965.66</c:v>
                </c:pt>
                <c:pt idx="53">
                  <c:v>45117.8</c:v>
                </c:pt>
                <c:pt idx="54">
                  <c:v>46150.96</c:v>
                </c:pt>
                <c:pt idx="55">
                  <c:v>46567.23</c:v>
                </c:pt>
                <c:pt idx="56">
                  <c:v>47278.48</c:v>
                </c:pt>
                <c:pt idx="57">
                  <c:v>47380.94</c:v>
                </c:pt>
                <c:pt idx="58">
                  <c:v>47993.42</c:v>
                </c:pt>
                <c:pt idx="59">
                  <c:v>48180.14</c:v>
                </c:pt>
                <c:pt idx="60">
                  <c:v>47965.61</c:v>
                </c:pt>
                <c:pt idx="61">
                  <c:v>49646.79</c:v>
                </c:pt>
                <c:pt idx="62">
                  <c:v>49768.06</c:v>
                </c:pt>
                <c:pt idx="63">
                  <c:v>50414.92</c:v>
                </c:pt>
                <c:pt idx="64">
                  <c:v>50270.37</c:v>
                </c:pt>
                <c:pt idx="65">
                  <c:v>51701.05</c:v>
                </c:pt>
                <c:pt idx="66">
                  <c:v>51408.21</c:v>
                </c:pt>
                <c:pt idx="67">
                  <c:v>51081.78</c:v>
                </c:pt>
                <c:pt idx="68">
                  <c:v>52155.28</c:v>
                </c:pt>
                <c:pt idx="69">
                  <c:v>51629.07</c:v>
                </c:pt>
                <c:pt idx="70">
                  <c:v>51185.4</c:v>
                </c:pt>
                <c:pt idx="71">
                  <c:v>51127.48</c:v>
                </c:pt>
                <c:pt idx="72">
                  <c:v>51867.29</c:v>
                </c:pt>
                <c:pt idx="73">
                  <c:v>51596.55</c:v>
                </c:pt>
                <c:pt idx="74">
                  <c:v>50454.35</c:v>
                </c:pt>
                <c:pt idx="75">
                  <c:v>51200.56</c:v>
                </c:pt>
                <c:pt idx="76">
                  <c:v>52111.85</c:v>
                </c:pt>
                <c:pt idx="77">
                  <c:v>52111.85</c:v>
                </c:pt>
                <c:pt idx="78">
                  <c:v>52111.85</c:v>
                </c:pt>
                <c:pt idx="79">
                  <c:v>51976.86</c:v>
                </c:pt>
                <c:pt idx="80">
                  <c:v>51569.69</c:v>
                </c:pt>
                <c:pt idx="81">
                  <c:v>51817.45</c:v>
                </c:pt>
                <c:pt idx="82">
                  <c:v>51399.35</c:v>
                </c:pt>
                <c:pt idx="83">
                  <c:v>51383.68</c:v>
                </c:pt>
                <c:pt idx="84">
                  <c:v>51838.61</c:v>
                </c:pt>
                <c:pt idx="85">
                  <c:v>51626.69</c:v>
                </c:pt>
                <c:pt idx="86">
                  <c:v>51626.69</c:v>
                </c:pt>
                <c:pt idx="87">
                  <c:v>52980.31</c:v>
                </c:pt>
                <c:pt idx="88">
                  <c:v>53446.17</c:v>
                </c:pt>
                <c:pt idx="89">
                  <c:v>53779.74</c:v>
                </c:pt>
                <c:pt idx="90">
                  <c:v>54052.74</c:v>
                </c:pt>
                <c:pt idx="91">
                  <c:v>53422.37</c:v>
                </c:pt>
                <c:pt idx="92">
                  <c:v>53100.34</c:v>
                </c:pt>
                <c:pt idx="93">
                  <c:v>54052.9</c:v>
                </c:pt>
                <c:pt idx="94">
                  <c:v>53907.46</c:v>
                </c:pt>
                <c:pt idx="95">
                  <c:v>54412.54</c:v>
                </c:pt>
                <c:pt idx="96">
                  <c:v>53855.54</c:v>
                </c:pt>
                <c:pt idx="97">
                  <c:v>53975.76</c:v>
                </c:pt>
                <c:pt idx="98">
                  <c:v>53353.1</c:v>
                </c:pt>
                <c:pt idx="99">
                  <c:v>52366.19</c:v>
                </c:pt>
                <c:pt idx="100">
                  <c:v>52203.37</c:v>
                </c:pt>
                <c:pt idx="101">
                  <c:v>52806.22</c:v>
                </c:pt>
                <c:pt idx="102">
                  <c:v>52626.41</c:v>
                </c:pt>
                <c:pt idx="103">
                  <c:v>52932.91</c:v>
                </c:pt>
                <c:pt idx="104">
                  <c:v>52173.98</c:v>
                </c:pt>
                <c:pt idx="105">
                  <c:v>52639.75</c:v>
                </c:pt>
                <c:pt idx="106">
                  <c:v>52239.34</c:v>
                </c:pt>
                <c:pt idx="107">
                  <c:v>51239.34</c:v>
                </c:pt>
                <c:pt idx="108">
                  <c:v>51605.83</c:v>
                </c:pt>
                <c:pt idx="109">
                  <c:v>52032.38</c:v>
                </c:pt>
                <c:pt idx="110">
                  <c:v>51832.98</c:v>
                </c:pt>
                <c:pt idx="111">
                  <c:v>51558.79</c:v>
                </c:pt>
                <c:pt idx="112">
                  <c:v>53128.66</c:v>
                </c:pt>
                <c:pt idx="113">
                  <c:v>54273.16</c:v>
                </c:pt>
                <c:pt idx="114">
                  <c:v>54604.34</c:v>
                </c:pt>
                <c:pt idx="115">
                  <c:v>55102.44</c:v>
                </c:pt>
                <c:pt idx="116">
                  <c:v>55102.44</c:v>
                </c:pt>
                <c:pt idx="117">
                  <c:v>54806.64</c:v>
                </c:pt>
                <c:pt idx="118">
                  <c:v>54629.55</c:v>
                </c:pt>
                <c:pt idx="119">
                  <c:v>54299.95</c:v>
                </c:pt>
                <c:pt idx="120">
                  <c:v>55202.54</c:v>
                </c:pt>
                <c:pt idx="121">
                  <c:v>55202.54</c:v>
                </c:pt>
                <c:pt idx="122">
                  <c:v>54638.19</c:v>
                </c:pt>
                <c:pt idx="123">
                  <c:v>54210.05</c:v>
                </c:pt>
                <c:pt idx="124">
                  <c:v>54280.78</c:v>
                </c:pt>
                <c:pt idx="125">
                  <c:v>53425.74</c:v>
                </c:pt>
                <c:pt idx="126">
                  <c:v>53506.75</c:v>
                </c:pt>
                <c:pt idx="127">
                  <c:v>53157.3</c:v>
                </c:pt>
                <c:pt idx="128">
                  <c:v>53168.22</c:v>
                </c:pt>
                <c:pt idx="129">
                  <c:v>53171.49</c:v>
                </c:pt>
                <c:pt idx="130">
                  <c:v>53028.78</c:v>
                </c:pt>
                <c:pt idx="131">
                  <c:v>53874.58</c:v>
                </c:pt>
                <c:pt idx="132">
                  <c:v>54055.9</c:v>
                </c:pt>
                <c:pt idx="133">
                  <c:v>53801.83</c:v>
                </c:pt>
                <c:pt idx="134">
                  <c:v>53634.69</c:v>
                </c:pt>
                <c:pt idx="135">
                  <c:v>53634.69</c:v>
                </c:pt>
                <c:pt idx="136">
                  <c:v>54592.75</c:v>
                </c:pt>
                <c:pt idx="137">
                  <c:v>54785.93</c:v>
                </c:pt>
                <c:pt idx="138">
                  <c:v>55743.98</c:v>
                </c:pt>
                <c:pt idx="139">
                  <c:v>55973.61</c:v>
                </c:pt>
                <c:pt idx="140">
                  <c:v>55717.36</c:v>
                </c:pt>
                <c:pt idx="141">
                  <c:v>55637.51</c:v>
                </c:pt>
                <c:pt idx="142">
                  <c:v>57012.9</c:v>
                </c:pt>
                <c:pt idx="143">
                  <c:v>57633.919999999998</c:v>
                </c:pt>
                <c:pt idx="144">
                  <c:v>57983.32</c:v>
                </c:pt>
                <c:pt idx="145">
                  <c:v>57419.96</c:v>
                </c:pt>
                <c:pt idx="146">
                  <c:v>57977.56</c:v>
                </c:pt>
                <c:pt idx="147">
                  <c:v>57821.08</c:v>
                </c:pt>
                <c:pt idx="148">
                  <c:v>57695.72</c:v>
                </c:pt>
                <c:pt idx="149">
                  <c:v>57118.81</c:v>
                </c:pt>
                <c:pt idx="150">
                  <c:v>56877.97</c:v>
                </c:pt>
                <c:pt idx="151">
                  <c:v>55829.41</c:v>
                </c:pt>
                <c:pt idx="152">
                  <c:v>55902.87</c:v>
                </c:pt>
                <c:pt idx="153">
                  <c:v>56616.33</c:v>
                </c:pt>
                <c:pt idx="154">
                  <c:v>56202.1</c:v>
                </c:pt>
                <c:pt idx="155">
                  <c:v>56487.18</c:v>
                </c:pt>
                <c:pt idx="156">
                  <c:v>56188.05</c:v>
                </c:pt>
                <c:pt idx="157">
                  <c:v>55572.93</c:v>
                </c:pt>
                <c:pt idx="158">
                  <c:v>56613.32</c:v>
                </c:pt>
                <c:pt idx="159">
                  <c:v>56442.34</c:v>
                </c:pt>
                <c:pt idx="160">
                  <c:v>55581.19</c:v>
                </c:pt>
                <c:pt idx="161">
                  <c:v>55780.41</c:v>
                </c:pt>
                <c:pt idx="162">
                  <c:v>56963.65</c:v>
                </c:pt>
                <c:pt idx="163">
                  <c:v>57560.72</c:v>
                </c:pt>
                <c:pt idx="164">
                  <c:v>58449.29</c:v>
                </c:pt>
                <c:pt idx="165">
                  <c:v>58878.239999999998</c:v>
                </c:pt>
                <c:pt idx="166">
                  <c:v>58992.11</c:v>
                </c:pt>
                <c:pt idx="167">
                  <c:v>58407.32</c:v>
                </c:pt>
                <c:pt idx="168">
                  <c:v>59735.17</c:v>
                </c:pt>
                <c:pt idx="169">
                  <c:v>59821.45</c:v>
                </c:pt>
                <c:pt idx="170">
                  <c:v>60950.57</c:v>
                </c:pt>
                <c:pt idx="171">
                  <c:v>60290.87</c:v>
                </c:pt>
                <c:pt idx="172">
                  <c:v>61288.15</c:v>
                </c:pt>
                <c:pt idx="173">
                  <c:v>61141.27</c:v>
                </c:pt>
                <c:pt idx="174">
                  <c:v>61895.98</c:v>
                </c:pt>
                <c:pt idx="175">
                  <c:v>61837.04</c:v>
                </c:pt>
                <c:pt idx="176">
                  <c:v>60800.02</c:v>
                </c:pt>
                <c:pt idx="177">
                  <c:v>60681.98</c:v>
                </c:pt>
                <c:pt idx="178">
                  <c:v>59192.75</c:v>
                </c:pt>
                <c:pt idx="179">
                  <c:v>58676.34</c:v>
                </c:pt>
                <c:pt idx="180">
                  <c:v>58198.66</c:v>
                </c:pt>
                <c:pt idx="181">
                  <c:v>58337.29</c:v>
                </c:pt>
                <c:pt idx="182">
                  <c:v>56927.81</c:v>
                </c:pt>
                <c:pt idx="183">
                  <c:v>57948.76</c:v>
                </c:pt>
                <c:pt idx="184">
                  <c:v>59114.66</c:v>
                </c:pt>
                <c:pt idx="185">
                  <c:v>59108.19</c:v>
                </c:pt>
                <c:pt idx="186">
                  <c:v>58374.48</c:v>
                </c:pt>
                <c:pt idx="187">
                  <c:v>57788.7</c:v>
                </c:pt>
                <c:pt idx="188">
                  <c:v>56818.11</c:v>
                </c:pt>
                <c:pt idx="189">
                  <c:v>56540.5</c:v>
                </c:pt>
                <c:pt idx="190">
                  <c:v>56824.42</c:v>
                </c:pt>
                <c:pt idx="191">
                  <c:v>55962.080000000002</c:v>
                </c:pt>
                <c:pt idx="192">
                  <c:v>57212.38</c:v>
                </c:pt>
                <c:pt idx="193">
                  <c:v>54625.35</c:v>
                </c:pt>
                <c:pt idx="194">
                  <c:v>54115.98</c:v>
                </c:pt>
                <c:pt idx="195">
                  <c:v>52858.43</c:v>
                </c:pt>
                <c:pt idx="196">
                  <c:v>53518.57</c:v>
                </c:pt>
                <c:pt idx="197">
                  <c:v>54539.55</c:v>
                </c:pt>
                <c:pt idx="198">
                  <c:v>57115.9</c:v>
                </c:pt>
                <c:pt idx="199">
                  <c:v>57436.33</c:v>
                </c:pt>
                <c:pt idx="200">
                  <c:v>57058.48</c:v>
                </c:pt>
                <c:pt idx="201">
                  <c:v>57267.53</c:v>
                </c:pt>
                <c:pt idx="202">
                  <c:v>55311.59</c:v>
                </c:pt>
                <c:pt idx="203">
                  <c:v>57956.53</c:v>
                </c:pt>
                <c:pt idx="204">
                  <c:v>58015.46</c:v>
                </c:pt>
                <c:pt idx="205">
                  <c:v>56135.27</c:v>
                </c:pt>
                <c:pt idx="206">
                  <c:v>54298.33</c:v>
                </c:pt>
                <c:pt idx="207">
                  <c:v>55723.79</c:v>
                </c:pt>
                <c:pt idx="208">
                  <c:v>54302.57</c:v>
                </c:pt>
                <c:pt idx="209">
                  <c:v>52432.43</c:v>
                </c:pt>
                <c:pt idx="210">
                  <c:v>52411.03</c:v>
                </c:pt>
                <c:pt idx="211">
                  <c:v>50713.26</c:v>
                </c:pt>
                <c:pt idx="212">
                  <c:v>51940.73</c:v>
                </c:pt>
                <c:pt idx="213">
                  <c:v>50503.66</c:v>
                </c:pt>
                <c:pt idx="214">
                  <c:v>52330.03</c:v>
                </c:pt>
                <c:pt idx="215">
                  <c:v>51049.32</c:v>
                </c:pt>
                <c:pt idx="216">
                  <c:v>52336.83</c:v>
                </c:pt>
                <c:pt idx="217">
                  <c:v>54628.6</c:v>
                </c:pt>
                <c:pt idx="218">
                  <c:v>53947.21</c:v>
                </c:pt>
                <c:pt idx="219">
                  <c:v>54383.59</c:v>
                </c:pt>
                <c:pt idx="220">
                  <c:v>53698.42</c:v>
                </c:pt>
                <c:pt idx="221">
                  <c:v>52637.06</c:v>
                </c:pt>
                <c:pt idx="222">
                  <c:v>53222.85</c:v>
                </c:pt>
                <c:pt idx="223">
                  <c:v>52725.38</c:v>
                </c:pt>
                <c:pt idx="224">
                  <c:v>52474.27</c:v>
                </c:pt>
                <c:pt idx="225">
                  <c:v>52978.89</c:v>
                </c:pt>
                <c:pt idx="226">
                  <c:v>51846.03</c:v>
                </c:pt>
                <c:pt idx="227">
                  <c:v>51772.4</c:v>
                </c:pt>
                <c:pt idx="228">
                  <c:v>51256.99</c:v>
                </c:pt>
                <c:pt idx="229">
                  <c:v>52061.86</c:v>
                </c:pt>
                <c:pt idx="230">
                  <c:v>53402.81</c:v>
                </c:pt>
                <c:pt idx="231">
                  <c:v>53402.81</c:v>
                </c:pt>
                <c:pt idx="232">
                  <c:v>56084.04</c:v>
                </c:pt>
                <c:pt idx="233">
                  <c:v>55406.91</c:v>
                </c:pt>
                <c:pt idx="234">
                  <c:v>55560.81</c:v>
                </c:pt>
                <c:pt idx="235">
                  <c:v>55098.47</c:v>
                </c:pt>
                <c:pt idx="236">
                  <c:v>54721.32</c:v>
                </c:pt>
                <c:pt idx="237">
                  <c:v>54724</c:v>
                </c:pt>
                <c:pt idx="238">
                  <c:v>52276.58</c:v>
                </c:pt>
                <c:pt idx="239">
                  <c:v>51612.47</c:v>
                </c:pt>
                <c:pt idx="240">
                  <c:v>52320.480000000003</c:v>
                </c:pt>
                <c:pt idx="241">
                  <c:v>51426.87</c:v>
                </c:pt>
                <c:pt idx="242">
                  <c:v>51992.89</c:v>
                </c:pt>
                <c:pt idx="243">
                  <c:v>50274.07</c:v>
                </c:pt>
                <c:pt idx="244">
                  <c:v>50193.47</c:v>
                </c:pt>
                <c:pt idx="245">
                  <c:v>49548.08</c:v>
                </c:pt>
                <c:pt idx="246">
                  <c:v>49861.81</c:v>
                </c:pt>
                <c:pt idx="247">
                  <c:v>48001.98</c:v>
                </c:pt>
                <c:pt idx="248">
                  <c:v>47018.68</c:v>
                </c:pt>
                <c:pt idx="249">
                  <c:v>47007.51</c:v>
                </c:pt>
                <c:pt idx="250">
                  <c:v>48713.64</c:v>
                </c:pt>
                <c:pt idx="251">
                  <c:v>48495.7</c:v>
                </c:pt>
                <c:pt idx="252">
                  <c:v>49650.98</c:v>
                </c:pt>
                <c:pt idx="253">
                  <c:v>50120.86</c:v>
                </c:pt>
                <c:pt idx="254">
                  <c:v>50889.81</c:v>
                </c:pt>
                <c:pt idx="255">
                  <c:v>50889.81</c:v>
                </c:pt>
                <c:pt idx="256">
                  <c:v>50889.81</c:v>
                </c:pt>
                <c:pt idx="257">
                  <c:v>50144.63</c:v>
                </c:pt>
                <c:pt idx="258">
                  <c:v>50593.82</c:v>
                </c:pt>
                <c:pt idx="259">
                  <c:v>50007.41</c:v>
                </c:pt>
                <c:pt idx="260">
                  <c:v>50007.41</c:v>
                </c:pt>
                <c:pt idx="261">
                  <c:v>50007.41</c:v>
                </c:pt>
                <c:pt idx="262">
                  <c:v>48512.22</c:v>
                </c:pt>
                <c:pt idx="263">
                  <c:v>47516.82</c:v>
                </c:pt>
                <c:pt idx="264">
                  <c:v>48000.92</c:v>
                </c:pt>
                <c:pt idx="265">
                  <c:v>49462.91</c:v>
                </c:pt>
                <c:pt idx="266">
                  <c:v>49943.3</c:v>
                </c:pt>
                <c:pt idx="267">
                  <c:v>48840.25</c:v>
                </c:pt>
                <c:pt idx="268">
                  <c:v>48139.74</c:v>
                </c:pt>
                <c:pt idx="269">
                  <c:v>48041.67</c:v>
                </c:pt>
                <c:pt idx="270">
                  <c:v>47645.87</c:v>
                </c:pt>
                <c:pt idx="271">
                  <c:v>48026.31</c:v>
                </c:pt>
                <c:pt idx="272">
                  <c:v>49016.52</c:v>
                </c:pt>
                <c:pt idx="273">
                  <c:v>47758.01</c:v>
                </c:pt>
                <c:pt idx="274">
                  <c:v>47876.66</c:v>
                </c:pt>
                <c:pt idx="275">
                  <c:v>49224.08</c:v>
                </c:pt>
                <c:pt idx="276">
                  <c:v>49442.62</c:v>
                </c:pt>
                <c:pt idx="277">
                  <c:v>48775.3</c:v>
                </c:pt>
                <c:pt idx="278">
                  <c:v>48576.55</c:v>
                </c:pt>
                <c:pt idx="279">
                  <c:v>48591.23</c:v>
                </c:pt>
                <c:pt idx="280">
                  <c:v>47694.54</c:v>
                </c:pt>
                <c:pt idx="281">
                  <c:v>47762.239999999998</c:v>
                </c:pt>
                <c:pt idx="282">
                  <c:v>46907.68</c:v>
                </c:pt>
                <c:pt idx="283">
                  <c:v>47650.73</c:v>
                </c:pt>
                <c:pt idx="284">
                  <c:v>48963.66</c:v>
                </c:pt>
                <c:pt idx="285">
                  <c:v>49301.05</c:v>
                </c:pt>
                <c:pt idx="286">
                  <c:v>49233.85</c:v>
                </c:pt>
                <c:pt idx="287">
                  <c:v>48792.27</c:v>
                </c:pt>
                <c:pt idx="288">
                  <c:v>49382.58</c:v>
                </c:pt>
                <c:pt idx="289">
                  <c:v>48510.28</c:v>
                </c:pt>
                <c:pt idx="290">
                  <c:v>48239.67</c:v>
                </c:pt>
                <c:pt idx="291">
                  <c:v>49532.72</c:v>
                </c:pt>
                <c:pt idx="292">
                  <c:v>50635.92</c:v>
                </c:pt>
                <c:pt idx="293">
                  <c:v>50635.92</c:v>
                </c:pt>
                <c:pt idx="294">
                  <c:v>50635.92</c:v>
                </c:pt>
                <c:pt idx="295">
                  <c:v>51280.36</c:v>
                </c:pt>
                <c:pt idx="296">
                  <c:v>51294.03</c:v>
                </c:pt>
                <c:pt idx="297">
                  <c:v>51237.7</c:v>
                </c:pt>
                <c:pt idx="298">
                  <c:v>51280.639999999999</c:v>
                </c:pt>
                <c:pt idx="299">
                  <c:v>51874.17</c:v>
                </c:pt>
                <c:pt idx="300">
                  <c:v>51811.02</c:v>
                </c:pt>
                <c:pt idx="301">
                  <c:v>51760.54</c:v>
                </c:pt>
                <c:pt idx="302">
                  <c:v>51583.09</c:v>
                </c:pt>
                <c:pt idx="303">
                  <c:v>51020.81</c:v>
                </c:pt>
                <c:pt idx="304">
                  <c:v>51304.1</c:v>
                </c:pt>
                <c:pt idx="305">
                  <c:v>50468.05</c:v>
                </c:pt>
                <c:pt idx="306">
                  <c:v>50365.2</c:v>
                </c:pt>
                <c:pt idx="307">
                  <c:v>49981.19</c:v>
                </c:pt>
                <c:pt idx="308">
                  <c:v>49181.01</c:v>
                </c:pt>
                <c:pt idx="309">
                  <c:v>48293.4</c:v>
                </c:pt>
                <c:pt idx="310">
                  <c:v>48905.58</c:v>
                </c:pt>
                <c:pt idx="311">
                  <c:v>48880.4</c:v>
                </c:pt>
                <c:pt idx="312">
                  <c:v>48595.81</c:v>
                </c:pt>
                <c:pt idx="313">
                  <c:v>48848.21</c:v>
                </c:pt>
                <c:pt idx="314">
                  <c:v>50285.120000000003</c:v>
                </c:pt>
                <c:pt idx="315">
                  <c:v>51526.19</c:v>
                </c:pt>
                <c:pt idx="316">
                  <c:v>50953.53</c:v>
                </c:pt>
                <c:pt idx="317">
                  <c:v>51966.58</c:v>
                </c:pt>
                <c:pt idx="318">
                  <c:v>51908.46</c:v>
                </c:pt>
                <c:pt idx="319">
                  <c:v>51506.07</c:v>
                </c:pt>
                <c:pt idx="320">
                  <c:v>51858.3</c:v>
                </c:pt>
                <c:pt idx="321">
                  <c:v>50579.85</c:v>
                </c:pt>
                <c:pt idx="322">
                  <c:v>50094.66</c:v>
                </c:pt>
                <c:pt idx="323">
                  <c:v>51243.45</c:v>
                </c:pt>
                <c:pt idx="324">
                  <c:v>51150.16</c:v>
                </c:pt>
                <c:pt idx="325">
                  <c:v>52321.760000000002</c:v>
                </c:pt>
                <c:pt idx="326">
                  <c:v>53123.02</c:v>
                </c:pt>
                <c:pt idx="327">
                  <c:v>53123.02</c:v>
                </c:pt>
                <c:pt idx="328">
                  <c:v>53737.26</c:v>
                </c:pt>
                <c:pt idx="329">
                  <c:v>53729.16</c:v>
                </c:pt>
                <c:pt idx="330">
                  <c:v>53661.11</c:v>
                </c:pt>
                <c:pt idx="331">
                  <c:v>53802.66</c:v>
                </c:pt>
                <c:pt idx="332">
                  <c:v>54214.11</c:v>
                </c:pt>
                <c:pt idx="333">
                  <c:v>54239.77</c:v>
                </c:pt>
                <c:pt idx="334">
                  <c:v>53981.919999999998</c:v>
                </c:pt>
                <c:pt idx="335">
                  <c:v>54918.74</c:v>
                </c:pt>
                <c:pt idx="336">
                  <c:v>54674.21</c:v>
                </c:pt>
                <c:pt idx="337">
                  <c:v>53954.79</c:v>
                </c:pt>
                <c:pt idx="338">
                  <c:v>53761.27</c:v>
                </c:pt>
                <c:pt idx="339">
                  <c:v>53761.27</c:v>
                </c:pt>
                <c:pt idx="340">
                  <c:v>54617.36</c:v>
                </c:pt>
                <c:pt idx="341">
                  <c:v>55684.85</c:v>
                </c:pt>
                <c:pt idx="342">
                  <c:v>56594.22</c:v>
                </c:pt>
                <c:pt idx="343">
                  <c:v>55534.5</c:v>
                </c:pt>
                <c:pt idx="344">
                  <c:v>55812.03</c:v>
                </c:pt>
                <c:pt idx="345">
                  <c:v>55325.29</c:v>
                </c:pt>
                <c:pt idx="346">
                  <c:v>56229.38</c:v>
                </c:pt>
                <c:pt idx="347">
                  <c:v>56229.38</c:v>
                </c:pt>
                <c:pt idx="348">
                  <c:v>57353.98</c:v>
                </c:pt>
                <c:pt idx="349">
                  <c:v>58051.61</c:v>
                </c:pt>
                <c:pt idx="350">
                  <c:v>57103.14</c:v>
                </c:pt>
                <c:pt idx="351">
                  <c:v>56921.39</c:v>
                </c:pt>
                <c:pt idx="352">
                  <c:v>57149.33</c:v>
                </c:pt>
                <c:pt idx="353">
                  <c:v>57197.1</c:v>
                </c:pt>
                <c:pt idx="354">
                  <c:v>56792.05</c:v>
                </c:pt>
                <c:pt idx="355">
                  <c:v>56372.04</c:v>
                </c:pt>
                <c:pt idx="356">
                  <c:v>56656.57</c:v>
                </c:pt>
                <c:pt idx="357">
                  <c:v>57248.63</c:v>
                </c:pt>
                <c:pt idx="358">
                  <c:v>56204.23</c:v>
                </c:pt>
                <c:pt idx="359">
                  <c:v>55498.82</c:v>
                </c:pt>
                <c:pt idx="360">
                  <c:v>54901.02</c:v>
                </c:pt>
                <c:pt idx="361">
                  <c:v>55112.05</c:v>
                </c:pt>
                <c:pt idx="362">
                  <c:v>54377.29</c:v>
                </c:pt>
                <c:pt idx="363">
                  <c:v>54609.25</c:v>
                </c:pt>
                <c:pt idx="364">
                  <c:v>53629.78</c:v>
                </c:pt>
                <c:pt idx="365">
                  <c:v>54236.25</c:v>
                </c:pt>
                <c:pt idx="366">
                  <c:v>53976.28</c:v>
                </c:pt>
                <c:pt idx="367">
                  <c:v>52760.480000000003</c:v>
                </c:pt>
                <c:pt idx="368">
                  <c:v>53031.32</c:v>
                </c:pt>
                <c:pt idx="369">
                  <c:v>54236.43</c:v>
                </c:pt>
                <c:pt idx="370">
                  <c:v>53522.91</c:v>
                </c:pt>
                <c:pt idx="371">
                  <c:v>53522.91</c:v>
                </c:pt>
                <c:pt idx="372">
                  <c:v>52973.38</c:v>
                </c:pt>
                <c:pt idx="373">
                  <c:v>52809.64</c:v>
                </c:pt>
                <c:pt idx="374">
                  <c:v>52815.99</c:v>
                </c:pt>
                <c:pt idx="375">
                  <c:v>53876.45</c:v>
                </c:pt>
                <c:pt idx="376">
                  <c:v>53688.52</c:v>
                </c:pt>
                <c:pt idx="377">
                  <c:v>53347.53</c:v>
                </c:pt>
                <c:pt idx="378">
                  <c:v>53137.53</c:v>
                </c:pt>
                <c:pt idx="379">
                  <c:v>53702.15</c:v>
                </c:pt>
                <c:pt idx="380">
                  <c:v>53248.54</c:v>
                </c:pt>
                <c:pt idx="381">
                  <c:v>54238.59</c:v>
                </c:pt>
                <c:pt idx="382">
                  <c:v>53749.41</c:v>
                </c:pt>
                <c:pt idx="383">
                  <c:v>53863.68</c:v>
                </c:pt>
                <c:pt idx="384">
                  <c:v>53772.43</c:v>
                </c:pt>
                <c:pt idx="385">
                  <c:v>53842.54</c:v>
                </c:pt>
                <c:pt idx="386">
                  <c:v>53175.67</c:v>
                </c:pt>
                <c:pt idx="387">
                  <c:v>54016.97</c:v>
                </c:pt>
                <c:pt idx="388">
                  <c:v>53014.21</c:v>
                </c:pt>
                <c:pt idx="389">
                  <c:v>53080.88</c:v>
                </c:pt>
                <c:pt idx="390">
                  <c:v>52757.54</c:v>
                </c:pt>
                <c:pt idx="391">
                  <c:v>53106.19</c:v>
                </c:pt>
                <c:pt idx="392">
                  <c:v>52519.41</c:v>
                </c:pt>
                <c:pt idx="393">
                  <c:v>52149.37</c:v>
                </c:pt>
                <c:pt idx="394">
                  <c:v>52343.71</c:v>
                </c:pt>
                <c:pt idx="395">
                  <c:v>51781.75</c:v>
                </c:pt>
                <c:pt idx="396">
                  <c:v>51781.75</c:v>
                </c:pt>
                <c:pt idx="397">
                  <c:v>52590.720000000001</c:v>
                </c:pt>
                <c:pt idx="398">
                  <c:v>53119.47</c:v>
                </c:pt>
                <c:pt idx="399">
                  <c:v>53239.18</c:v>
                </c:pt>
                <c:pt idx="400">
                  <c:v>52902.28</c:v>
                </c:pt>
                <c:pt idx="401">
                  <c:v>53069.75</c:v>
                </c:pt>
                <c:pt idx="402">
                  <c:v>52341.8</c:v>
                </c:pt>
                <c:pt idx="403">
                  <c:v>51600.08</c:v>
                </c:pt>
                <c:pt idx="404">
                  <c:v>51474.28</c:v>
                </c:pt>
                <c:pt idx="405">
                  <c:v>50915.79</c:v>
                </c:pt>
                <c:pt idx="406">
                  <c:v>49806.63</c:v>
                </c:pt>
                <c:pt idx="407">
                  <c:v>49245.85</c:v>
                </c:pt>
                <c:pt idx="408">
                  <c:v>48735.54</c:v>
                </c:pt>
                <c:pt idx="409">
                  <c:v>49601.599999999999</c:v>
                </c:pt>
                <c:pt idx="410">
                  <c:v>50245.14</c:v>
                </c:pt>
                <c:pt idx="411">
                  <c:v>49897.4</c:v>
                </c:pt>
                <c:pt idx="412">
                  <c:v>50864.77</c:v>
                </c:pt>
                <c:pt idx="413">
                  <c:v>50138.05</c:v>
                </c:pt>
                <c:pt idx="414">
                  <c:v>50058.49</c:v>
                </c:pt>
                <c:pt idx="415">
                  <c:v>50287.27</c:v>
                </c:pt>
                <c:pt idx="416">
                  <c:v>50011.32</c:v>
                </c:pt>
                <c:pt idx="417">
                  <c:v>48577.32</c:v>
                </c:pt>
                <c:pt idx="418">
                  <c:v>49353</c:v>
                </c:pt>
                <c:pt idx="419">
                  <c:v>49072.34</c:v>
                </c:pt>
                <c:pt idx="420">
                  <c:v>48388.05</c:v>
                </c:pt>
                <c:pt idx="421">
                  <c:v>48009.57</c:v>
                </c:pt>
                <c:pt idx="422">
                  <c:v>47508.41</c:v>
                </c:pt>
                <c:pt idx="423">
                  <c:v>47217.43</c:v>
                </c:pt>
                <c:pt idx="424">
                  <c:v>47450.58</c:v>
                </c:pt>
                <c:pt idx="425">
                  <c:v>46588.39</c:v>
                </c:pt>
                <c:pt idx="426">
                  <c:v>46649.23</c:v>
                </c:pt>
                <c:pt idx="427">
                  <c:v>45719.64</c:v>
                </c:pt>
                <c:pt idx="428">
                  <c:v>44336.47</c:v>
                </c:pt>
                <c:pt idx="429">
                  <c:v>44544.86</c:v>
                </c:pt>
                <c:pt idx="430">
                  <c:v>46038.080000000002</c:v>
                </c:pt>
                <c:pt idx="431">
                  <c:v>47715.27</c:v>
                </c:pt>
                <c:pt idx="432">
                  <c:v>47153.87</c:v>
                </c:pt>
                <c:pt idx="433">
                  <c:v>46625.52</c:v>
                </c:pt>
                <c:pt idx="434">
                  <c:v>45477.06</c:v>
                </c:pt>
                <c:pt idx="435">
                  <c:v>46463.96</c:v>
                </c:pt>
                <c:pt idx="436">
                  <c:v>47365.87</c:v>
                </c:pt>
                <c:pt idx="437">
                  <c:v>46497.72</c:v>
                </c:pt>
                <c:pt idx="438">
                  <c:v>46497.72</c:v>
                </c:pt>
                <c:pt idx="439">
                  <c:v>46762.07</c:v>
                </c:pt>
                <c:pt idx="440">
                  <c:v>46657.1</c:v>
                </c:pt>
                <c:pt idx="441">
                  <c:v>46503.99</c:v>
                </c:pt>
                <c:pt idx="442">
                  <c:v>46400.5</c:v>
                </c:pt>
                <c:pt idx="443">
                  <c:v>47281.52</c:v>
                </c:pt>
                <c:pt idx="444">
                  <c:v>47364.07</c:v>
                </c:pt>
                <c:pt idx="445">
                  <c:v>48553.1</c:v>
                </c:pt>
                <c:pt idx="446">
                  <c:v>48551.08</c:v>
                </c:pt>
                <c:pt idx="447">
                  <c:v>47264.08</c:v>
                </c:pt>
                <c:pt idx="448">
                  <c:v>46590.2</c:v>
                </c:pt>
                <c:pt idx="449">
                  <c:v>46264.61</c:v>
                </c:pt>
                <c:pt idx="450">
                  <c:v>45340.11</c:v>
                </c:pt>
                <c:pt idx="451">
                  <c:v>45291.96</c:v>
                </c:pt>
                <c:pt idx="452">
                  <c:v>44831.46</c:v>
                </c:pt>
                <c:pt idx="453">
                  <c:v>43956.63</c:v>
                </c:pt>
                <c:pt idx="454">
                  <c:v>44131.82</c:v>
                </c:pt>
                <c:pt idx="455">
                  <c:v>45059.34</c:v>
                </c:pt>
                <c:pt idx="456">
                  <c:v>45313.27</c:v>
                </c:pt>
                <c:pt idx="457">
                  <c:v>47033.46</c:v>
                </c:pt>
                <c:pt idx="458">
                  <c:v>47598.07</c:v>
                </c:pt>
                <c:pt idx="459">
                  <c:v>47735.11</c:v>
                </c:pt>
                <c:pt idx="460">
                  <c:v>48914.32</c:v>
                </c:pt>
                <c:pt idx="461">
                  <c:v>49106.559999999998</c:v>
                </c:pt>
                <c:pt idx="462">
                  <c:v>49338.41</c:v>
                </c:pt>
                <c:pt idx="463">
                  <c:v>49338.41</c:v>
                </c:pt>
                <c:pt idx="464">
                  <c:v>47362.64</c:v>
                </c:pt>
                <c:pt idx="465">
                  <c:v>46710.44</c:v>
                </c:pt>
                <c:pt idx="466">
                  <c:v>47161.15</c:v>
                </c:pt>
                <c:pt idx="467">
                  <c:v>47236.11</c:v>
                </c:pt>
                <c:pt idx="468">
                  <c:v>47447.31</c:v>
                </c:pt>
                <c:pt idx="469">
                  <c:v>47076.55</c:v>
                </c:pt>
                <c:pt idx="470">
                  <c:v>47025.87</c:v>
                </c:pt>
                <c:pt idx="471">
                  <c:v>47772.14</c:v>
                </c:pt>
                <c:pt idx="472">
                  <c:v>47596.59</c:v>
                </c:pt>
                <c:pt idx="473">
                  <c:v>47209.32</c:v>
                </c:pt>
                <c:pt idx="474">
                  <c:v>47042.95</c:v>
                </c:pt>
                <c:pt idx="475">
                  <c:v>46740.85</c:v>
                </c:pt>
                <c:pt idx="476">
                  <c:v>45628.35</c:v>
                </c:pt>
                <c:pt idx="477">
                  <c:v>45868.82</c:v>
                </c:pt>
                <c:pt idx="478">
                  <c:v>45868.82</c:v>
                </c:pt>
                <c:pt idx="479">
                  <c:v>48053.67</c:v>
                </c:pt>
                <c:pt idx="480">
                  <c:v>47710.1</c:v>
                </c:pt>
                <c:pt idx="481">
                  <c:v>48046.76</c:v>
                </c:pt>
                <c:pt idx="482">
                  <c:v>46918.52</c:v>
                </c:pt>
                <c:pt idx="483">
                  <c:v>46194.92</c:v>
                </c:pt>
                <c:pt idx="484">
                  <c:v>46206.57</c:v>
                </c:pt>
                <c:pt idx="485">
                  <c:v>47065.01</c:v>
                </c:pt>
                <c:pt idx="486">
                  <c:v>46883.58</c:v>
                </c:pt>
                <c:pt idx="487">
                  <c:v>46517.04</c:v>
                </c:pt>
                <c:pt idx="488">
                  <c:v>46846.879999999997</c:v>
                </c:pt>
                <c:pt idx="489">
                  <c:v>47247.8</c:v>
                </c:pt>
                <c:pt idx="490">
                  <c:v>47435.58</c:v>
                </c:pt>
                <c:pt idx="491">
                  <c:v>48138.89</c:v>
                </c:pt>
                <c:pt idx="492">
                  <c:v>48138.89</c:v>
                </c:pt>
                <c:pt idx="493">
                  <c:v>48150.27</c:v>
                </c:pt>
                <c:pt idx="494">
                  <c:v>48284.19</c:v>
                </c:pt>
                <c:pt idx="495">
                  <c:v>46866.63</c:v>
                </c:pt>
                <c:pt idx="496">
                  <c:v>47145.63</c:v>
                </c:pt>
                <c:pt idx="497">
                  <c:v>45872.91</c:v>
                </c:pt>
                <c:pt idx="498">
                  <c:v>45120.36</c:v>
                </c:pt>
                <c:pt idx="499">
                  <c:v>45046.75</c:v>
                </c:pt>
                <c:pt idx="500">
                  <c:v>44914.53</c:v>
                </c:pt>
                <c:pt idx="501">
                  <c:v>46393.26</c:v>
                </c:pt>
                <c:pt idx="502">
                  <c:v>45360.76</c:v>
                </c:pt>
                <c:pt idx="503">
                  <c:v>45222.7</c:v>
                </c:pt>
                <c:pt idx="504">
                  <c:v>44443.26</c:v>
                </c:pt>
                <c:pt idx="505">
                  <c:v>46108.03</c:v>
                </c:pt>
                <c:pt idx="506">
                  <c:v>45630.71</c:v>
                </c:pt>
                <c:pt idx="507">
                  <c:v>45262.720000000001</c:v>
                </c:pt>
                <c:pt idx="508">
                  <c:v>44747.31</c:v>
                </c:pt>
                <c:pt idx="509">
                  <c:v>44872.47</c:v>
                </c:pt>
                <c:pt idx="510">
                  <c:v>45015.839999999997</c:v>
                </c:pt>
                <c:pt idx="511">
                  <c:v>45261.48</c:v>
                </c:pt>
                <c:pt idx="512">
                  <c:v>43910.6</c:v>
                </c:pt>
                <c:pt idx="513">
                  <c:v>43199.95</c:v>
                </c:pt>
                <c:pt idx="514">
                  <c:v>43469.52</c:v>
                </c:pt>
                <c:pt idx="515">
                  <c:v>44014.93</c:v>
                </c:pt>
                <c:pt idx="516">
                  <c:v>44014.93</c:v>
                </c:pt>
                <c:pt idx="517">
                  <c:v>44014.93</c:v>
                </c:pt>
                <c:pt idx="518">
                  <c:v>43764.34</c:v>
                </c:pt>
                <c:pt idx="519">
                  <c:v>43653.97</c:v>
                </c:pt>
                <c:pt idx="520">
                  <c:v>43349.96</c:v>
                </c:pt>
                <c:pt idx="521">
                  <c:v>43349.96</c:v>
                </c:pt>
                <c:pt idx="522">
                  <c:v>43349.96</c:v>
                </c:pt>
                <c:pt idx="523">
                  <c:v>42141.04</c:v>
                </c:pt>
                <c:pt idx="524">
                  <c:v>42419.32</c:v>
                </c:pt>
                <c:pt idx="525">
                  <c:v>41773.14</c:v>
                </c:pt>
                <c:pt idx="526">
                  <c:v>40694.720000000001</c:v>
                </c:pt>
                <c:pt idx="527">
                  <c:v>40612.21</c:v>
                </c:pt>
                <c:pt idx="528">
                  <c:v>39950.49</c:v>
                </c:pt>
                <c:pt idx="529">
                  <c:v>39513.83</c:v>
                </c:pt>
                <c:pt idx="530">
                  <c:v>38944.44</c:v>
                </c:pt>
                <c:pt idx="531">
                  <c:v>39500.11</c:v>
                </c:pt>
                <c:pt idx="532">
                  <c:v>38569.129999999997</c:v>
                </c:pt>
                <c:pt idx="533">
                  <c:v>37937.269999999997</c:v>
                </c:pt>
                <c:pt idx="534">
                  <c:v>38057.019999999997</c:v>
                </c:pt>
                <c:pt idx="535">
                  <c:v>37645.480000000003</c:v>
                </c:pt>
                <c:pt idx="536">
                  <c:v>37717.11</c:v>
                </c:pt>
                <c:pt idx="537">
                  <c:v>38031.22</c:v>
                </c:pt>
                <c:pt idx="538">
                  <c:v>38031.22</c:v>
                </c:pt>
                <c:pt idx="539">
                  <c:v>37497.480000000003</c:v>
                </c:pt>
                <c:pt idx="540">
                  <c:v>38376.370000000003</c:v>
                </c:pt>
                <c:pt idx="541">
                  <c:v>38630.19</c:v>
                </c:pt>
                <c:pt idx="542">
                  <c:v>40405.99</c:v>
                </c:pt>
                <c:pt idx="543">
                  <c:v>40570.04</c:v>
                </c:pt>
                <c:pt idx="544">
                  <c:v>38596.17</c:v>
                </c:pt>
                <c:pt idx="545">
                  <c:v>39588.82</c:v>
                </c:pt>
                <c:pt idx="546">
                  <c:v>40821.730000000003</c:v>
                </c:pt>
                <c:pt idx="547">
                  <c:v>40592.089999999997</c:v>
                </c:pt>
                <c:pt idx="548">
                  <c:v>40592.089999999997</c:v>
                </c:pt>
                <c:pt idx="549">
                  <c:v>40592.089999999997</c:v>
                </c:pt>
                <c:pt idx="550">
                  <c:v>40376.58</c:v>
                </c:pt>
                <c:pt idx="551">
                  <c:v>39318.300000000003</c:v>
                </c:pt>
                <c:pt idx="552">
                  <c:v>39808.050000000003</c:v>
                </c:pt>
                <c:pt idx="553">
                  <c:v>40092.89</c:v>
                </c:pt>
                <c:pt idx="554">
                  <c:v>40947.699999999997</c:v>
                </c:pt>
                <c:pt idx="555">
                  <c:v>41630.82</c:v>
                </c:pt>
                <c:pt idx="556">
                  <c:v>41477.629999999997</c:v>
                </c:pt>
                <c:pt idx="557">
                  <c:v>41543.410000000003</c:v>
                </c:pt>
                <c:pt idx="558">
                  <c:v>43234.86</c:v>
                </c:pt>
                <c:pt idx="559">
                  <c:v>42520.94</c:v>
                </c:pt>
                <c:pt idx="560">
                  <c:v>42084.56</c:v>
                </c:pt>
                <c:pt idx="561">
                  <c:v>41887.9</c:v>
                </c:pt>
                <c:pt idx="562">
                  <c:v>41593.08</c:v>
                </c:pt>
                <c:pt idx="563">
                  <c:v>42793.86</c:v>
                </c:pt>
                <c:pt idx="564">
                  <c:v>44121.79</c:v>
                </c:pt>
                <c:pt idx="565">
                  <c:v>44893.48</c:v>
                </c:pt>
                <c:pt idx="566">
                  <c:v>47193.39</c:v>
                </c:pt>
                <c:pt idx="567">
                  <c:v>49084.87</c:v>
                </c:pt>
                <c:pt idx="568">
                  <c:v>49246.1</c:v>
                </c:pt>
                <c:pt idx="569">
                  <c:v>49102.14</c:v>
                </c:pt>
                <c:pt idx="570">
                  <c:v>48665.09</c:v>
                </c:pt>
                <c:pt idx="571">
                  <c:v>49571.11</c:v>
                </c:pt>
                <c:pt idx="572">
                  <c:v>49638.68</c:v>
                </c:pt>
                <c:pt idx="573">
                  <c:v>48867.34</c:v>
                </c:pt>
                <c:pt idx="574">
                  <c:v>47130.02</c:v>
                </c:pt>
                <c:pt idx="575">
                  <c:v>47763.43</c:v>
                </c:pt>
                <c:pt idx="576">
                  <c:v>50913.79</c:v>
                </c:pt>
                <c:pt idx="577">
                  <c:v>50814.66</c:v>
                </c:pt>
                <c:pt idx="578">
                  <c:v>51171.55</c:v>
                </c:pt>
                <c:pt idx="579">
                  <c:v>51010.2</c:v>
                </c:pt>
                <c:pt idx="580">
                  <c:v>49690.05</c:v>
                </c:pt>
                <c:pt idx="581">
                  <c:v>49657.39</c:v>
                </c:pt>
                <c:pt idx="582">
                  <c:v>49657.39</c:v>
                </c:pt>
                <c:pt idx="583">
                  <c:v>50838.23</c:v>
                </c:pt>
                <c:pt idx="584">
                  <c:v>51154.99</c:v>
                </c:pt>
                <c:pt idx="585">
                  <c:v>51248.93</c:v>
                </c:pt>
                <c:pt idx="586">
                  <c:v>50055.27</c:v>
                </c:pt>
                <c:pt idx="587">
                  <c:v>50561.53</c:v>
                </c:pt>
                <c:pt idx="588">
                  <c:v>48779.98</c:v>
                </c:pt>
                <c:pt idx="589">
                  <c:v>49053.62</c:v>
                </c:pt>
                <c:pt idx="590">
                  <c:v>48096.24</c:v>
                </c:pt>
                <c:pt idx="591">
                  <c:v>48513.1</c:v>
                </c:pt>
                <c:pt idx="592">
                  <c:v>50292.93</c:v>
                </c:pt>
                <c:pt idx="593">
                  <c:v>50165.47</c:v>
                </c:pt>
                <c:pt idx="594">
                  <c:v>52001.86</c:v>
                </c:pt>
                <c:pt idx="595">
                  <c:v>53149.84</c:v>
                </c:pt>
                <c:pt idx="596">
                  <c:v>52411.02</c:v>
                </c:pt>
                <c:pt idx="597">
                  <c:v>53227.74</c:v>
                </c:pt>
                <c:pt idx="598">
                  <c:v>52894.080000000002</c:v>
                </c:pt>
                <c:pt idx="599">
                  <c:v>53710.05</c:v>
                </c:pt>
                <c:pt idx="600">
                  <c:v>53630.93</c:v>
                </c:pt>
                <c:pt idx="601">
                  <c:v>53630.93</c:v>
                </c:pt>
                <c:pt idx="602">
                  <c:v>52907.88</c:v>
                </c:pt>
                <c:pt idx="603">
                  <c:v>51861.71</c:v>
                </c:pt>
                <c:pt idx="604">
                  <c:v>53082.5</c:v>
                </c:pt>
                <c:pt idx="605">
                  <c:v>54477.78</c:v>
                </c:pt>
                <c:pt idx="606">
                  <c:v>54311.96</c:v>
                </c:pt>
                <c:pt idx="607">
                  <c:v>53910.51</c:v>
                </c:pt>
                <c:pt idx="608">
                  <c:v>53561.54</c:v>
                </c:pt>
                <c:pt idx="609">
                  <c:v>52260.19</c:v>
                </c:pt>
                <c:pt idx="610">
                  <c:v>52552.800000000003</c:v>
                </c:pt>
                <c:pt idx="611">
                  <c:v>51671.040000000001</c:v>
                </c:pt>
                <c:pt idx="612">
                  <c:v>51717.82</c:v>
                </c:pt>
                <c:pt idx="613">
                  <c:v>50990.07</c:v>
                </c:pt>
                <c:pt idx="614">
                  <c:v>53070.91</c:v>
                </c:pt>
                <c:pt idx="615">
                  <c:v>52764.46</c:v>
                </c:pt>
                <c:pt idx="616">
                  <c:v>53241.32</c:v>
                </c:pt>
                <c:pt idx="617">
                  <c:v>51804.31</c:v>
                </c:pt>
                <c:pt idx="618">
                  <c:v>51802.92</c:v>
                </c:pt>
                <c:pt idx="619">
                  <c:v>50839.45</c:v>
                </c:pt>
                <c:pt idx="620">
                  <c:v>50561.7</c:v>
                </c:pt>
                <c:pt idx="621">
                  <c:v>50132.53</c:v>
                </c:pt>
                <c:pt idx="622">
                  <c:v>49722.75</c:v>
                </c:pt>
                <c:pt idx="623">
                  <c:v>49330.42</c:v>
                </c:pt>
                <c:pt idx="624">
                  <c:v>49345.19</c:v>
                </c:pt>
                <c:pt idx="625">
                  <c:v>49482.86</c:v>
                </c:pt>
                <c:pt idx="626">
                  <c:v>49482.86</c:v>
                </c:pt>
                <c:pt idx="627">
                  <c:v>49051.49</c:v>
                </c:pt>
                <c:pt idx="628">
                  <c:v>48964.34</c:v>
                </c:pt>
                <c:pt idx="629">
                  <c:v>48471.71</c:v>
                </c:pt>
                <c:pt idx="630">
                  <c:v>49012.65</c:v>
                </c:pt>
                <c:pt idx="631">
                  <c:v>49887.24</c:v>
                </c:pt>
                <c:pt idx="632">
                  <c:v>50619.5</c:v>
                </c:pt>
                <c:pt idx="633">
                  <c:v>50431.8</c:v>
                </c:pt>
                <c:pt idx="634">
                  <c:v>50487.86</c:v>
                </c:pt>
                <c:pt idx="635">
                  <c:v>51629.29</c:v>
                </c:pt>
                <c:pt idx="636">
                  <c:v>51118.46</c:v>
                </c:pt>
                <c:pt idx="637">
                  <c:v>49422.16</c:v>
                </c:pt>
                <c:pt idx="638">
                  <c:v>49660.79</c:v>
                </c:pt>
                <c:pt idx="639">
                  <c:v>48648.29</c:v>
                </c:pt>
                <c:pt idx="640">
                  <c:v>48914.74</c:v>
                </c:pt>
                <c:pt idx="641">
                  <c:v>49411.62</c:v>
                </c:pt>
                <c:pt idx="642">
                  <c:v>49533.84</c:v>
                </c:pt>
                <c:pt idx="643">
                  <c:v>50329.36</c:v>
                </c:pt>
                <c:pt idx="644">
                  <c:v>50837.8</c:v>
                </c:pt>
                <c:pt idx="645">
                  <c:v>50156.3</c:v>
                </c:pt>
                <c:pt idx="646">
                  <c:v>51559.82</c:v>
                </c:pt>
                <c:pt idx="647">
                  <c:v>50105.26</c:v>
                </c:pt>
                <c:pt idx="648">
                  <c:v>49245.53</c:v>
                </c:pt>
                <c:pt idx="649">
                  <c:v>50006.559999999998</c:v>
                </c:pt>
                <c:pt idx="650">
                  <c:v>51001.91</c:v>
                </c:pt>
                <c:pt idx="651">
                  <c:v>51526.93</c:v>
                </c:pt>
                <c:pt idx="652">
                  <c:v>52233.04</c:v>
                </c:pt>
                <c:pt idx="653">
                  <c:v>52568.66</c:v>
                </c:pt>
                <c:pt idx="654">
                  <c:v>51842.27</c:v>
                </c:pt>
                <c:pt idx="655">
                  <c:v>51901.81</c:v>
                </c:pt>
                <c:pt idx="656">
                  <c:v>52014.66</c:v>
                </c:pt>
                <c:pt idx="657">
                  <c:v>53140.74</c:v>
                </c:pt>
                <c:pt idx="658">
                  <c:v>53960.11</c:v>
                </c:pt>
                <c:pt idx="659">
                  <c:v>54256.41</c:v>
                </c:pt>
                <c:pt idx="660">
                  <c:v>54598.29</c:v>
                </c:pt>
                <c:pt idx="661">
                  <c:v>55480.87</c:v>
                </c:pt>
                <c:pt idx="662">
                  <c:v>55578.239999999998</c:v>
                </c:pt>
                <c:pt idx="663">
                  <c:v>56484.21</c:v>
                </c:pt>
                <c:pt idx="664">
                  <c:v>56698.06</c:v>
                </c:pt>
                <c:pt idx="665">
                  <c:v>56578.05</c:v>
                </c:pt>
                <c:pt idx="666">
                  <c:v>56641.49</c:v>
                </c:pt>
                <c:pt idx="667">
                  <c:v>57002.080000000002</c:v>
                </c:pt>
                <c:pt idx="668">
                  <c:v>56872.73</c:v>
                </c:pt>
                <c:pt idx="669">
                  <c:v>56782.75</c:v>
                </c:pt>
                <c:pt idx="670">
                  <c:v>56852.84</c:v>
                </c:pt>
                <c:pt idx="671">
                  <c:v>56667.12</c:v>
                </c:pt>
                <c:pt idx="672">
                  <c:v>57308.21</c:v>
                </c:pt>
                <c:pt idx="673">
                  <c:v>56755.76</c:v>
                </c:pt>
                <c:pt idx="674">
                  <c:v>56162.38</c:v>
                </c:pt>
                <c:pt idx="675">
                  <c:v>57076.91</c:v>
                </c:pt>
                <c:pt idx="676">
                  <c:v>57593.89</c:v>
                </c:pt>
                <c:pt idx="677">
                  <c:v>57661.14</c:v>
                </c:pt>
                <c:pt idx="678">
                  <c:v>57635.43</c:v>
                </c:pt>
                <c:pt idx="679">
                  <c:v>57689.41</c:v>
                </c:pt>
                <c:pt idx="680">
                  <c:v>56919.78</c:v>
                </c:pt>
                <c:pt idx="681">
                  <c:v>58299.57</c:v>
                </c:pt>
                <c:pt idx="682">
                  <c:v>58298.41</c:v>
                </c:pt>
                <c:pt idx="683">
                  <c:v>59145.98</c:v>
                </c:pt>
                <c:pt idx="684">
                  <c:v>58855.43</c:v>
                </c:pt>
                <c:pt idx="685">
                  <c:v>59323.83</c:v>
                </c:pt>
                <c:pt idx="686">
                  <c:v>59166.02</c:v>
                </c:pt>
                <c:pt idx="687">
                  <c:v>59098.92</c:v>
                </c:pt>
                <c:pt idx="688">
                  <c:v>57781.24</c:v>
                </c:pt>
                <c:pt idx="689">
                  <c:v>58020.04</c:v>
                </c:pt>
                <c:pt idx="690">
                  <c:v>57717.88</c:v>
                </c:pt>
                <c:pt idx="691">
                  <c:v>57722.14</c:v>
                </c:pt>
                <c:pt idx="692">
                  <c:v>57716.25</c:v>
                </c:pt>
                <c:pt idx="693">
                  <c:v>58610.39</c:v>
                </c:pt>
                <c:pt idx="694">
                  <c:v>58575.42</c:v>
                </c:pt>
                <c:pt idx="695">
                  <c:v>57901.11</c:v>
                </c:pt>
                <c:pt idx="696">
                  <c:v>58236.27</c:v>
                </c:pt>
                <c:pt idx="697">
                  <c:v>59616.4</c:v>
                </c:pt>
                <c:pt idx="698">
                  <c:v>59566.34</c:v>
                </c:pt>
                <c:pt idx="699">
                  <c:v>60129.440000000002</c:v>
                </c:pt>
                <c:pt idx="700">
                  <c:v>60129.440000000002</c:v>
                </c:pt>
                <c:pt idx="701">
                  <c:v>60231.66</c:v>
                </c:pt>
                <c:pt idx="702">
                  <c:v>57999.73</c:v>
                </c:pt>
                <c:pt idx="703">
                  <c:v>58586.11</c:v>
                </c:pt>
                <c:pt idx="704">
                  <c:v>56820.77</c:v>
                </c:pt>
                <c:pt idx="705">
                  <c:v>57059.46</c:v>
                </c:pt>
                <c:pt idx="706">
                  <c:v>57909.49</c:v>
                </c:pt>
                <c:pt idx="707">
                  <c:v>57079.76</c:v>
                </c:pt>
                <c:pt idx="708">
                  <c:v>57350.38</c:v>
                </c:pt>
                <c:pt idx="709">
                  <c:v>57736.46</c:v>
                </c:pt>
                <c:pt idx="710">
                  <c:v>58393.919999999998</c:v>
                </c:pt>
                <c:pt idx="711">
                  <c:v>58994.17</c:v>
                </c:pt>
                <c:pt idx="712">
                  <c:v>58697</c:v>
                </c:pt>
                <c:pt idx="713">
                  <c:v>58053.53</c:v>
                </c:pt>
                <c:pt idx="714">
                  <c:v>58382.49</c:v>
                </c:pt>
                <c:pt idx="715">
                  <c:v>59355.77</c:v>
                </c:pt>
                <c:pt idx="716">
                  <c:v>58350.57</c:v>
                </c:pt>
                <c:pt idx="717">
                  <c:v>58367.05</c:v>
                </c:pt>
                <c:pt idx="718">
                  <c:v>59461.23</c:v>
                </c:pt>
                <c:pt idx="719">
                  <c:v>59339.23</c:v>
                </c:pt>
                <c:pt idx="720">
                  <c:v>60254.34</c:v>
                </c:pt>
                <c:pt idx="721">
                  <c:v>60644.24</c:v>
                </c:pt>
                <c:pt idx="722">
                  <c:v>61108.98</c:v>
                </c:pt>
                <c:pt idx="723">
                  <c:v>61668.33</c:v>
                </c:pt>
                <c:pt idx="724">
                  <c:v>61021.85</c:v>
                </c:pt>
                <c:pt idx="725">
                  <c:v>61021.85</c:v>
                </c:pt>
                <c:pt idx="726">
                  <c:v>61118.58</c:v>
                </c:pt>
                <c:pt idx="727">
                  <c:v>61767.22</c:v>
                </c:pt>
                <c:pt idx="728">
                  <c:v>62696.11</c:v>
                </c:pt>
                <c:pt idx="729">
                  <c:v>63782.21</c:v>
                </c:pt>
                <c:pt idx="730">
                  <c:v>63505.61</c:v>
                </c:pt>
                <c:pt idx="731">
                  <c:v>63837.85</c:v>
                </c:pt>
                <c:pt idx="732">
                  <c:v>64108.08</c:v>
                </c:pt>
                <c:pt idx="733">
                  <c:v>64059.89</c:v>
                </c:pt>
                <c:pt idx="734">
                  <c:v>63866.2</c:v>
                </c:pt>
                <c:pt idx="735">
                  <c:v>63825.69</c:v>
                </c:pt>
                <c:pt idx="736">
                  <c:v>64249.5</c:v>
                </c:pt>
                <c:pt idx="737">
                  <c:v>64307.63</c:v>
                </c:pt>
                <c:pt idx="738">
                  <c:v>64924.52</c:v>
                </c:pt>
                <c:pt idx="739">
                  <c:v>63326.42</c:v>
                </c:pt>
                <c:pt idx="740">
                  <c:v>63326.42</c:v>
                </c:pt>
                <c:pt idx="741">
                  <c:v>61750.17</c:v>
                </c:pt>
                <c:pt idx="742">
                  <c:v>61598.39</c:v>
                </c:pt>
                <c:pt idx="743">
                  <c:v>64051.65</c:v>
                </c:pt>
                <c:pt idx="744">
                  <c:v>64157.68</c:v>
                </c:pt>
                <c:pt idx="745">
                  <c:v>63258.27</c:v>
                </c:pt>
                <c:pt idx="746">
                  <c:v>61200.959999999999</c:v>
                </c:pt>
                <c:pt idx="747">
                  <c:v>59183.51</c:v>
                </c:pt>
                <c:pt idx="748">
                  <c:v>59657.46</c:v>
                </c:pt>
                <c:pt idx="749">
                  <c:v>59657.46</c:v>
                </c:pt>
                <c:pt idx="750">
                  <c:v>60759.32</c:v>
                </c:pt>
                <c:pt idx="751">
                  <c:v>59770.47</c:v>
                </c:pt>
                <c:pt idx="752">
                  <c:v>59961.760000000002</c:v>
                </c:pt>
                <c:pt idx="753">
                  <c:v>61070.27</c:v>
                </c:pt>
                <c:pt idx="754">
                  <c:v>61954.47</c:v>
                </c:pt>
                <c:pt idx="755">
                  <c:v>61985.91</c:v>
                </c:pt>
                <c:pt idx="756">
                  <c:v>61395.53</c:v>
                </c:pt>
                <c:pt idx="757">
                  <c:v>61559.08</c:v>
                </c:pt>
                <c:pt idx="758">
                  <c:v>62855.5</c:v>
                </c:pt>
                <c:pt idx="759">
                  <c:v>60986.52</c:v>
                </c:pt>
                <c:pt idx="760">
                  <c:v>61906.36</c:v>
                </c:pt>
                <c:pt idx="761">
                  <c:v>59506.54</c:v>
                </c:pt>
                <c:pt idx="762">
                  <c:v>60316.13</c:v>
                </c:pt>
                <c:pt idx="763">
                  <c:v>59831.73</c:v>
                </c:pt>
                <c:pt idx="764">
                  <c:v>61088.25</c:v>
                </c:pt>
                <c:pt idx="765">
                  <c:v>61414.400000000001</c:v>
                </c:pt>
                <c:pt idx="766">
                  <c:v>60676.57</c:v>
                </c:pt>
                <c:pt idx="767">
                  <c:v>60500.62</c:v>
                </c:pt>
                <c:pt idx="768">
                  <c:v>59178.62</c:v>
                </c:pt>
                <c:pt idx="769">
                  <c:v>59280.57</c:v>
                </c:pt>
                <c:pt idx="770">
                  <c:v>58212.12</c:v>
                </c:pt>
                <c:pt idx="771">
                  <c:v>58396.160000000003</c:v>
                </c:pt>
                <c:pt idx="772">
                  <c:v>58389.04</c:v>
                </c:pt>
                <c:pt idx="773">
                  <c:v>57111</c:v>
                </c:pt>
                <c:pt idx="774">
                  <c:v>57582.89</c:v>
                </c:pt>
                <c:pt idx="775">
                  <c:v>57646.52</c:v>
                </c:pt>
                <c:pt idx="776">
                  <c:v>57255.22</c:v>
                </c:pt>
                <c:pt idx="777">
                  <c:v>57937.11</c:v>
                </c:pt>
                <c:pt idx="778">
                  <c:v>58620.26</c:v>
                </c:pt>
                <c:pt idx="779">
                  <c:v>58696.69</c:v>
                </c:pt>
                <c:pt idx="780">
                  <c:v>59781.63</c:v>
                </c:pt>
                <c:pt idx="781">
                  <c:v>60227.28</c:v>
                </c:pt>
                <c:pt idx="782">
                  <c:v>60227.28</c:v>
                </c:pt>
                <c:pt idx="783">
                  <c:v>59588.7</c:v>
                </c:pt>
                <c:pt idx="784">
                  <c:v>61813.83</c:v>
                </c:pt>
                <c:pt idx="785">
                  <c:v>61589.06</c:v>
                </c:pt>
                <c:pt idx="786">
                  <c:v>62070.98</c:v>
                </c:pt>
                <c:pt idx="787">
                  <c:v>61665.37</c:v>
                </c:pt>
                <c:pt idx="788">
                  <c:v>61700.29</c:v>
                </c:pt>
                <c:pt idx="789">
                  <c:v>62131.8</c:v>
                </c:pt>
                <c:pt idx="790">
                  <c:v>62446.26</c:v>
                </c:pt>
                <c:pt idx="791">
                  <c:v>63953.93</c:v>
                </c:pt>
                <c:pt idx="792">
                  <c:v>63651.519999999997</c:v>
                </c:pt>
                <c:pt idx="793">
                  <c:v>63831.28</c:v>
                </c:pt>
                <c:pt idx="794">
                  <c:v>64354.34</c:v>
                </c:pt>
                <c:pt idx="795">
                  <c:v>64149.57</c:v>
                </c:pt>
                <c:pt idx="796">
                  <c:v>63950.86</c:v>
                </c:pt>
                <c:pt idx="797">
                  <c:v>64521.18</c:v>
                </c:pt>
                <c:pt idx="798">
                  <c:v>65748.63</c:v>
                </c:pt>
                <c:pt idx="799">
                  <c:v>65840.09</c:v>
                </c:pt>
                <c:pt idx="800">
                  <c:v>65840.09</c:v>
                </c:pt>
                <c:pt idx="801">
                  <c:v>66190.63</c:v>
                </c:pt>
                <c:pt idx="802">
                  <c:v>66033.98</c:v>
                </c:pt>
                <c:pt idx="803">
                  <c:v>64301.73</c:v>
                </c:pt>
                <c:pt idx="804">
                  <c:v>64670.78</c:v>
                </c:pt>
                <c:pt idx="805">
                  <c:v>64836.13</c:v>
                </c:pt>
                <c:pt idx="806">
                  <c:v>64578.21</c:v>
                </c:pt>
                <c:pt idx="807">
                  <c:v>64953.93</c:v>
                </c:pt>
                <c:pt idx="808">
                  <c:v>63992.93</c:v>
                </c:pt>
                <c:pt idx="809">
                  <c:v>64198.9</c:v>
                </c:pt>
                <c:pt idx="810">
                  <c:v>64835.4</c:v>
                </c:pt>
                <c:pt idx="811">
                  <c:v>64964.89</c:v>
                </c:pt>
                <c:pt idx="812">
                  <c:v>66124.52</c:v>
                </c:pt>
                <c:pt idx="813">
                  <c:v>66967.64</c:v>
                </c:pt>
                <c:pt idx="814">
                  <c:v>66712.88</c:v>
                </c:pt>
                <c:pt idx="815">
                  <c:v>67975.58</c:v>
                </c:pt>
                <c:pt idx="816">
                  <c:v>67814.240000000005</c:v>
                </c:pt>
                <c:pt idx="817">
                  <c:v>67748.42</c:v>
                </c:pt>
                <c:pt idx="818">
                  <c:v>68532.86</c:v>
                </c:pt>
                <c:pt idx="819">
                  <c:v>69052.02</c:v>
                </c:pt>
                <c:pt idx="820">
                  <c:v>68589.55</c:v>
                </c:pt>
                <c:pt idx="821">
                  <c:v>67461.39</c:v>
                </c:pt>
                <c:pt idx="822">
                  <c:v>66662.100000000006</c:v>
                </c:pt>
                <c:pt idx="823">
                  <c:v>66662.100000000006</c:v>
                </c:pt>
                <c:pt idx="824">
                  <c:v>66662.100000000006</c:v>
                </c:pt>
                <c:pt idx="825">
                  <c:v>66988.88</c:v>
                </c:pt>
                <c:pt idx="826">
                  <c:v>65854.929999999993</c:v>
                </c:pt>
                <c:pt idx="827">
                  <c:v>66785.53</c:v>
                </c:pt>
                <c:pt idx="828">
                  <c:v>66341.37</c:v>
                </c:pt>
                <c:pt idx="829">
                  <c:v>65742.33</c:v>
                </c:pt>
                <c:pt idx="830">
                  <c:v>64718.02</c:v>
                </c:pt>
                <c:pt idx="831">
                  <c:v>64585.23</c:v>
                </c:pt>
                <c:pt idx="832">
                  <c:v>64675.46</c:v>
                </c:pt>
                <c:pt idx="833">
                  <c:v>65534.3</c:v>
                </c:pt>
                <c:pt idx="834">
                  <c:v>64699.46</c:v>
                </c:pt>
                <c:pt idx="835">
                  <c:v>66234.880000000005</c:v>
                </c:pt>
                <c:pt idx="836">
                  <c:v>65782.850000000006</c:v>
                </c:pt>
                <c:pt idx="837">
                  <c:v>64209.94</c:v>
                </c:pt>
                <c:pt idx="838">
                  <c:v>64884.27</c:v>
                </c:pt>
                <c:pt idx="839">
                  <c:v>62980.37</c:v>
                </c:pt>
                <c:pt idx="840">
                  <c:v>63521.34</c:v>
                </c:pt>
                <c:pt idx="841">
                  <c:v>63530.79</c:v>
                </c:pt>
                <c:pt idx="842">
                  <c:v>63853.77</c:v>
                </c:pt>
                <c:pt idx="843">
                  <c:v>64308.39</c:v>
                </c:pt>
                <c:pt idx="844">
                  <c:v>64640.45</c:v>
                </c:pt>
                <c:pt idx="845">
                  <c:v>65528.29</c:v>
                </c:pt>
                <c:pt idx="846">
                  <c:v>65265.98</c:v>
                </c:pt>
                <c:pt idx="847">
                  <c:v>64984.07</c:v>
                </c:pt>
                <c:pt idx="848">
                  <c:v>65211.48</c:v>
                </c:pt>
                <c:pt idx="849">
                  <c:v>65768.91</c:v>
                </c:pt>
                <c:pt idx="850">
                  <c:v>64774.77</c:v>
                </c:pt>
                <c:pt idx="851">
                  <c:v>64222.720000000001</c:v>
                </c:pt>
                <c:pt idx="852">
                  <c:v>64593.11</c:v>
                </c:pt>
                <c:pt idx="853">
                  <c:v>64649.82</c:v>
                </c:pt>
                <c:pt idx="854">
                  <c:v>64359.79</c:v>
                </c:pt>
                <c:pt idx="855">
                  <c:v>63891.68</c:v>
                </c:pt>
                <c:pt idx="856">
                  <c:v>62826.28</c:v>
                </c:pt>
                <c:pt idx="857">
                  <c:v>62826.28</c:v>
                </c:pt>
                <c:pt idx="858">
                  <c:v>64334.93</c:v>
                </c:pt>
                <c:pt idx="859">
                  <c:v>64158.84</c:v>
                </c:pt>
                <c:pt idx="860">
                  <c:v>63406.97</c:v>
                </c:pt>
                <c:pt idx="861">
                  <c:v>63760.62</c:v>
                </c:pt>
                <c:pt idx="862">
                  <c:v>63760.62</c:v>
                </c:pt>
                <c:pt idx="863">
                  <c:v>64389.02</c:v>
                </c:pt>
                <c:pt idx="864">
                  <c:v>65148.35</c:v>
                </c:pt>
                <c:pt idx="865">
                  <c:v>64861.919999999998</c:v>
                </c:pt>
                <c:pt idx="866">
                  <c:v>64676.55</c:v>
                </c:pt>
                <c:pt idx="867">
                  <c:v>65403.25</c:v>
                </c:pt>
                <c:pt idx="868">
                  <c:v>65403.25</c:v>
                </c:pt>
                <c:pt idx="869">
                  <c:v>66721.75</c:v>
                </c:pt>
                <c:pt idx="870">
                  <c:v>66093.78</c:v>
                </c:pt>
                <c:pt idx="871">
                  <c:v>64862.61</c:v>
                </c:pt>
                <c:pt idx="872">
                  <c:v>65709.73</c:v>
                </c:pt>
                <c:pt idx="873">
                  <c:v>65526.04</c:v>
                </c:pt>
                <c:pt idx="874">
                  <c:v>66277.67</c:v>
                </c:pt>
                <c:pt idx="875">
                  <c:v>67349.73</c:v>
                </c:pt>
                <c:pt idx="876">
                  <c:v>67537.62</c:v>
                </c:pt>
                <c:pt idx="877">
                  <c:v>68221.94</c:v>
                </c:pt>
                <c:pt idx="878">
                  <c:v>68474.19</c:v>
                </c:pt>
                <c:pt idx="879">
                  <c:v>68684.5</c:v>
                </c:pt>
                <c:pt idx="880">
                  <c:v>67540.25</c:v>
                </c:pt>
                <c:pt idx="881">
                  <c:v>61597.05</c:v>
                </c:pt>
                <c:pt idx="882">
                  <c:v>62639.31</c:v>
                </c:pt>
                <c:pt idx="883">
                  <c:v>61673.49</c:v>
                </c:pt>
                <c:pt idx="884">
                  <c:v>62662.48</c:v>
                </c:pt>
                <c:pt idx="885">
                  <c:v>63257.36</c:v>
                </c:pt>
                <c:pt idx="886">
                  <c:v>63226.79</c:v>
                </c:pt>
                <c:pt idx="887">
                  <c:v>64085.41</c:v>
                </c:pt>
                <c:pt idx="888">
                  <c:v>63760.94</c:v>
                </c:pt>
                <c:pt idx="889">
                  <c:v>63962.27</c:v>
                </c:pt>
                <c:pt idx="890">
                  <c:v>62711.47</c:v>
                </c:pt>
                <c:pt idx="891">
                  <c:v>62288.52</c:v>
                </c:pt>
                <c:pt idx="892">
                  <c:v>62510.7</c:v>
                </c:pt>
                <c:pt idx="893">
                  <c:v>62450.45</c:v>
                </c:pt>
                <c:pt idx="894">
                  <c:v>62954.69</c:v>
                </c:pt>
                <c:pt idx="895">
                  <c:v>63170.73</c:v>
                </c:pt>
                <c:pt idx="896">
                  <c:v>62755.57</c:v>
                </c:pt>
                <c:pt idx="897">
                  <c:v>62210.559999999998</c:v>
                </c:pt>
                <c:pt idx="898">
                  <c:v>61700.23</c:v>
                </c:pt>
                <c:pt idx="899">
                  <c:v>61828.99</c:v>
                </c:pt>
                <c:pt idx="900">
                  <c:v>61922.93</c:v>
                </c:pt>
                <c:pt idx="901">
                  <c:v>61922.93</c:v>
                </c:pt>
                <c:pt idx="902">
                  <c:v>61626.41</c:v>
                </c:pt>
                <c:pt idx="903">
                  <c:v>62014.03</c:v>
                </c:pt>
                <c:pt idx="904">
                  <c:v>60766.16</c:v>
                </c:pt>
                <c:pt idx="905">
                  <c:v>60761.74</c:v>
                </c:pt>
                <c:pt idx="906">
                  <c:v>61272.21</c:v>
                </c:pt>
                <c:pt idx="907">
                  <c:v>61087.14</c:v>
                </c:pt>
                <c:pt idx="908">
                  <c:v>62188.09</c:v>
                </c:pt>
                <c:pt idx="909">
                  <c:v>61675.46</c:v>
                </c:pt>
                <c:pt idx="910">
                  <c:v>62017.97</c:v>
                </c:pt>
                <c:pt idx="911">
                  <c:v>62238.95</c:v>
                </c:pt>
                <c:pt idx="912">
                  <c:v>62899.97</c:v>
                </c:pt>
                <c:pt idx="913">
                  <c:v>63279.58</c:v>
                </c:pt>
                <c:pt idx="914">
                  <c:v>63231.59</c:v>
                </c:pt>
                <c:pt idx="915">
                  <c:v>63154.17</c:v>
                </c:pt>
                <c:pt idx="916">
                  <c:v>62470.33</c:v>
                </c:pt>
                <c:pt idx="917">
                  <c:v>62322.400000000001</c:v>
                </c:pt>
                <c:pt idx="918">
                  <c:v>63025.47</c:v>
                </c:pt>
                <c:pt idx="919">
                  <c:v>63832.15</c:v>
                </c:pt>
                <c:pt idx="920">
                  <c:v>64835.55</c:v>
                </c:pt>
                <c:pt idx="921">
                  <c:v>65178.35</c:v>
                </c:pt>
                <c:pt idx="922">
                  <c:v>65436.18</c:v>
                </c:pt>
                <c:pt idx="923">
                  <c:v>65212.31</c:v>
                </c:pt>
                <c:pt idx="924">
                  <c:v>65337.67</c:v>
                </c:pt>
                <c:pt idx="925">
                  <c:v>65179.92</c:v>
                </c:pt>
                <c:pt idx="926">
                  <c:v>64938.02</c:v>
                </c:pt>
                <c:pt idx="927">
                  <c:v>64684.18</c:v>
                </c:pt>
                <c:pt idx="928">
                  <c:v>65099.55</c:v>
                </c:pt>
                <c:pt idx="929">
                  <c:v>65667.63</c:v>
                </c:pt>
                <c:pt idx="930">
                  <c:v>65010.57</c:v>
                </c:pt>
                <c:pt idx="931">
                  <c:v>65277.38</c:v>
                </c:pt>
                <c:pt idx="932">
                  <c:v>65497.13</c:v>
                </c:pt>
                <c:pt idx="933">
                  <c:v>65920.36</c:v>
                </c:pt>
                <c:pt idx="934">
                  <c:v>66516.23</c:v>
                </c:pt>
                <c:pt idx="935">
                  <c:v>67135.990000000005</c:v>
                </c:pt>
                <c:pt idx="936">
                  <c:v>66777.13</c:v>
                </c:pt>
                <c:pt idx="937">
                  <c:v>66897.98</c:v>
                </c:pt>
                <c:pt idx="938">
                  <c:v>67939.66</c:v>
                </c:pt>
                <c:pt idx="939">
                  <c:v>67898.94</c:v>
                </c:pt>
                <c:pt idx="940">
                  <c:v>67671.06</c:v>
                </c:pt>
                <c:pt idx="941">
                  <c:v>66992.09</c:v>
                </c:pt>
                <c:pt idx="942">
                  <c:v>67358.59</c:v>
                </c:pt>
                <c:pt idx="943">
                  <c:v>68284.66</c:v>
                </c:pt>
                <c:pt idx="944">
                  <c:v>68355.13</c:v>
                </c:pt>
                <c:pt idx="945">
                  <c:v>68594.3</c:v>
                </c:pt>
                <c:pt idx="946">
                  <c:v>67976.800000000003</c:v>
                </c:pt>
                <c:pt idx="947">
                  <c:v>68714.66</c:v>
                </c:pt>
                <c:pt idx="948">
                  <c:v>68634.649999999994</c:v>
                </c:pt>
                <c:pt idx="949">
                  <c:v>70011.25</c:v>
                </c:pt>
                <c:pt idx="950">
                  <c:v>70477.63</c:v>
                </c:pt>
                <c:pt idx="951">
                  <c:v>71132.800000000003</c:v>
                </c:pt>
                <c:pt idx="952">
                  <c:v>71073.649999999994</c:v>
                </c:pt>
                <c:pt idx="953">
                  <c:v>71016.59</c:v>
                </c:pt>
                <c:pt idx="954">
                  <c:v>71329.850000000006</c:v>
                </c:pt>
                <c:pt idx="955">
                  <c:v>70886.259999999995</c:v>
                </c:pt>
                <c:pt idx="956">
                  <c:v>70835.05</c:v>
                </c:pt>
                <c:pt idx="957">
                  <c:v>71923.11</c:v>
                </c:pt>
                <c:pt idx="958">
                  <c:v>72128.83</c:v>
                </c:pt>
                <c:pt idx="959">
                  <c:v>72150.880000000005</c:v>
                </c:pt>
                <c:pt idx="960">
                  <c:v>73412.41</c:v>
                </c:pt>
                <c:pt idx="961">
                  <c:v>73412.41</c:v>
                </c:pt>
                <c:pt idx="962">
                  <c:v>73078.850000000006</c:v>
                </c:pt>
                <c:pt idx="963">
                  <c:v>74319.22</c:v>
                </c:pt>
                <c:pt idx="964">
                  <c:v>74538.55</c:v>
                </c:pt>
                <c:pt idx="965">
                  <c:v>74787.570000000007</c:v>
                </c:pt>
                <c:pt idx="966">
                  <c:v>74656.679999999993</c:v>
                </c:pt>
                <c:pt idx="967">
                  <c:v>75756.52</c:v>
                </c:pt>
                <c:pt idx="968">
                  <c:v>75990.41</c:v>
                </c:pt>
                <c:pt idx="969">
                  <c:v>75974.179999999993</c:v>
                </c:pt>
                <c:pt idx="970">
                  <c:v>76004.149999999994</c:v>
                </c:pt>
                <c:pt idx="971">
                  <c:v>75604.34</c:v>
                </c:pt>
                <c:pt idx="972">
                  <c:v>75389.75</c:v>
                </c:pt>
                <c:pt idx="973">
                  <c:v>74443.48</c:v>
                </c:pt>
                <c:pt idx="974">
                  <c:v>74318.720000000001</c:v>
                </c:pt>
                <c:pt idx="975">
                  <c:v>73796.710000000006</c:v>
                </c:pt>
                <c:pt idx="976">
                  <c:v>73567.25</c:v>
                </c:pt>
                <c:pt idx="977">
                  <c:v>74293.509999999995</c:v>
                </c:pt>
                <c:pt idx="978">
                  <c:v>74359.83</c:v>
                </c:pt>
                <c:pt idx="979">
                  <c:v>76762.91</c:v>
                </c:pt>
                <c:pt idx="980">
                  <c:v>76591.44</c:v>
                </c:pt>
                <c:pt idx="981">
                  <c:v>76617.53</c:v>
                </c:pt>
                <c:pt idx="982">
                  <c:v>76054.720000000001</c:v>
                </c:pt>
                <c:pt idx="983">
                  <c:v>75726.8</c:v>
                </c:pt>
                <c:pt idx="984">
                  <c:v>76897.210000000006</c:v>
                </c:pt>
                <c:pt idx="985">
                  <c:v>76659.8</c:v>
                </c:pt>
                <c:pt idx="986">
                  <c:v>76659.8</c:v>
                </c:pt>
                <c:pt idx="987">
                  <c:v>76989.789999999994</c:v>
                </c:pt>
                <c:pt idx="988">
                  <c:v>76891.839999999997</c:v>
                </c:pt>
                <c:pt idx="989">
                  <c:v>76201.25</c:v>
                </c:pt>
                <c:pt idx="990">
                  <c:v>76591.09</c:v>
                </c:pt>
                <c:pt idx="991">
                  <c:v>76283.16</c:v>
                </c:pt>
                <c:pt idx="992">
                  <c:v>76390.52</c:v>
                </c:pt>
                <c:pt idx="993">
                  <c:v>75413.13</c:v>
                </c:pt>
                <c:pt idx="994">
                  <c:v>76350.2</c:v>
                </c:pt>
                <c:pt idx="995">
                  <c:v>76671.13</c:v>
                </c:pt>
                <c:pt idx="996">
                  <c:v>75896.350000000006</c:v>
                </c:pt>
                <c:pt idx="997">
                  <c:v>75975.710000000006</c:v>
                </c:pt>
                <c:pt idx="998">
                  <c:v>74800.34</c:v>
                </c:pt>
                <c:pt idx="999">
                  <c:v>74308.490000000005</c:v>
                </c:pt>
                <c:pt idx="1000">
                  <c:v>73823.740000000005</c:v>
                </c:pt>
                <c:pt idx="1001">
                  <c:v>73823.740000000005</c:v>
                </c:pt>
                <c:pt idx="1002">
                  <c:v>73915.42</c:v>
                </c:pt>
                <c:pt idx="1003">
                  <c:v>74310.789999999994</c:v>
                </c:pt>
                <c:pt idx="1004">
                  <c:v>72414.880000000005</c:v>
                </c:pt>
                <c:pt idx="1005">
                  <c:v>74363.13</c:v>
                </c:pt>
                <c:pt idx="1006">
                  <c:v>72930.69</c:v>
                </c:pt>
                <c:pt idx="1007">
                  <c:v>72165.64</c:v>
                </c:pt>
                <c:pt idx="1008">
                  <c:v>72475.17</c:v>
                </c:pt>
                <c:pt idx="1009">
                  <c:v>70826.59</c:v>
                </c:pt>
                <c:pt idx="1010">
                  <c:v>70826.59</c:v>
                </c:pt>
                <c:pt idx="1011">
                  <c:v>72511.789999999994</c:v>
                </c:pt>
                <c:pt idx="1012">
                  <c:v>73437.279999999999</c:v>
                </c:pt>
                <c:pt idx="1013">
                  <c:v>73437.279999999999</c:v>
                </c:pt>
                <c:pt idx="1014">
                  <c:v>74594.62</c:v>
                </c:pt>
                <c:pt idx="1015">
                  <c:v>74518.789999999994</c:v>
                </c:pt>
                <c:pt idx="1016">
                  <c:v>74486.58</c:v>
                </c:pt>
                <c:pt idx="1017">
                  <c:v>74157.38</c:v>
                </c:pt>
                <c:pt idx="1018">
                  <c:v>74058.91</c:v>
                </c:pt>
                <c:pt idx="1019">
                  <c:v>74139.72</c:v>
                </c:pt>
                <c:pt idx="1020">
                  <c:v>72700.45</c:v>
                </c:pt>
                <c:pt idx="1021">
                  <c:v>71970.990000000005</c:v>
                </c:pt>
                <c:pt idx="1022">
                  <c:v>72264.45</c:v>
                </c:pt>
                <c:pt idx="1023">
                  <c:v>73090.17</c:v>
                </c:pt>
                <c:pt idx="1024">
                  <c:v>72546.17</c:v>
                </c:pt>
                <c:pt idx="1025">
                  <c:v>73268.350000000006</c:v>
                </c:pt>
                <c:pt idx="1026">
                  <c:v>72487.45</c:v>
                </c:pt>
                <c:pt idx="1027">
                  <c:v>72731.839999999997</c:v>
                </c:pt>
                <c:pt idx="1028">
                  <c:v>72800.039999999994</c:v>
                </c:pt>
                <c:pt idx="1029">
                  <c:v>73813.53</c:v>
                </c:pt>
                <c:pt idx="1030">
                  <c:v>72914.34</c:v>
                </c:pt>
                <c:pt idx="1031">
                  <c:v>72428.929999999993</c:v>
                </c:pt>
                <c:pt idx="1032">
                  <c:v>72607.7</c:v>
                </c:pt>
                <c:pt idx="1033">
                  <c:v>73115.45</c:v>
                </c:pt>
                <c:pt idx="1034">
                  <c:v>72680.37</c:v>
                </c:pt>
                <c:pt idx="1035">
                  <c:v>73367.03</c:v>
                </c:pt>
                <c:pt idx="1036">
                  <c:v>75133.429999999993</c:v>
                </c:pt>
                <c:pt idx="1037">
                  <c:v>75186.53</c:v>
                </c:pt>
                <c:pt idx="1038">
                  <c:v>75186.53</c:v>
                </c:pt>
                <c:pt idx="1039">
                  <c:v>75707.73</c:v>
                </c:pt>
                <c:pt idx="1040">
                  <c:v>76072.539999999994</c:v>
                </c:pt>
                <c:pt idx="1041">
                  <c:v>76402.080000000002</c:v>
                </c:pt>
                <c:pt idx="1042">
                  <c:v>76402.080000000002</c:v>
                </c:pt>
                <c:pt idx="1043">
                  <c:v>76402.080000000002</c:v>
                </c:pt>
                <c:pt idx="1044">
                  <c:v>77891.039999999994</c:v>
                </c:pt>
                <c:pt idx="1045">
                  <c:v>77995.16</c:v>
                </c:pt>
                <c:pt idx="1046">
                  <c:v>78647.42</c:v>
                </c:pt>
                <c:pt idx="1047">
                  <c:v>79071.47</c:v>
                </c:pt>
                <c:pt idx="1048">
                  <c:v>79378.53</c:v>
                </c:pt>
                <c:pt idx="1049">
                  <c:v>78863.539999999994</c:v>
                </c:pt>
                <c:pt idx="1050">
                  <c:v>78200.570000000007</c:v>
                </c:pt>
                <c:pt idx="1051">
                  <c:v>79365.440000000002</c:v>
                </c:pt>
                <c:pt idx="1052">
                  <c:v>79349.119999999995</c:v>
                </c:pt>
                <c:pt idx="1053">
                  <c:v>79752.38</c:v>
                </c:pt>
                <c:pt idx="1054">
                  <c:v>79831.77</c:v>
                </c:pt>
                <c:pt idx="1055">
                  <c:v>81189.16</c:v>
                </c:pt>
                <c:pt idx="1056">
                  <c:v>80962.649999999994</c:v>
                </c:pt>
                <c:pt idx="1057">
                  <c:v>81219.5</c:v>
                </c:pt>
                <c:pt idx="1058">
                  <c:v>81675.42</c:v>
                </c:pt>
                <c:pt idx="1059">
                  <c:v>80678.34</c:v>
                </c:pt>
                <c:pt idx="1060">
                  <c:v>83680</c:v>
                </c:pt>
                <c:pt idx="1061">
                  <c:v>83680</c:v>
                </c:pt>
                <c:pt idx="1062">
                  <c:v>85530.84</c:v>
                </c:pt>
                <c:pt idx="1063">
                  <c:v>84698.02</c:v>
                </c:pt>
                <c:pt idx="1064">
                  <c:v>84482.46</c:v>
                </c:pt>
                <c:pt idx="1065">
                  <c:v>84912.7</c:v>
                </c:pt>
                <c:pt idx="1066">
                  <c:v>85495.24</c:v>
                </c:pt>
                <c:pt idx="1067">
                  <c:v>84041.34</c:v>
                </c:pt>
                <c:pt idx="1068">
                  <c:v>81861.09</c:v>
                </c:pt>
                <c:pt idx="1069">
                  <c:v>83894.04</c:v>
                </c:pt>
                <c:pt idx="1070">
                  <c:v>82766.73</c:v>
                </c:pt>
                <c:pt idx="1071">
                  <c:v>81532.53</c:v>
                </c:pt>
                <c:pt idx="1072">
                  <c:v>80898.7</c:v>
                </c:pt>
                <c:pt idx="1073">
                  <c:v>80898.7</c:v>
                </c:pt>
                <c:pt idx="1074">
                  <c:v>80898.7</c:v>
                </c:pt>
                <c:pt idx="1075">
                  <c:v>83542.84</c:v>
                </c:pt>
                <c:pt idx="1076">
                  <c:v>84290.559999999998</c:v>
                </c:pt>
                <c:pt idx="1077">
                  <c:v>84524.58</c:v>
                </c:pt>
                <c:pt idx="1078">
                  <c:v>84792.71</c:v>
                </c:pt>
                <c:pt idx="1079">
                  <c:v>85803.95</c:v>
                </c:pt>
                <c:pt idx="1080">
                  <c:v>86051.82</c:v>
                </c:pt>
                <c:pt idx="1081">
                  <c:v>86686.45</c:v>
                </c:pt>
                <c:pt idx="1082">
                  <c:v>87293.24</c:v>
                </c:pt>
                <c:pt idx="1083">
                  <c:v>87652.64</c:v>
                </c:pt>
                <c:pt idx="1084">
                  <c:v>86935.44</c:v>
                </c:pt>
                <c:pt idx="1085">
                  <c:v>85353.59</c:v>
                </c:pt>
                <c:pt idx="1086">
                  <c:v>85377.79</c:v>
                </c:pt>
                <c:pt idx="1087">
                  <c:v>85761.34</c:v>
                </c:pt>
                <c:pt idx="1088">
                  <c:v>86022.83</c:v>
                </c:pt>
                <c:pt idx="1089">
                  <c:v>85653.02</c:v>
                </c:pt>
                <c:pt idx="1090">
                  <c:v>85483.55</c:v>
                </c:pt>
                <c:pt idx="1091">
                  <c:v>84984.61</c:v>
                </c:pt>
                <c:pt idx="1092">
                  <c:v>86371.41</c:v>
                </c:pt>
                <c:pt idx="1093">
                  <c:v>86900.43</c:v>
                </c:pt>
                <c:pt idx="1094">
                  <c:v>86383.84</c:v>
                </c:pt>
                <c:pt idx="1095">
                  <c:v>86050.96</c:v>
                </c:pt>
                <c:pt idx="1096">
                  <c:v>84928.2</c:v>
                </c:pt>
                <c:pt idx="1097">
                  <c:v>84886.48</c:v>
                </c:pt>
                <c:pt idx="1098">
                  <c:v>83913.06</c:v>
                </c:pt>
                <c:pt idx="1099">
                  <c:v>84163.8</c:v>
                </c:pt>
                <c:pt idx="1100">
                  <c:v>84976.59</c:v>
                </c:pt>
                <c:pt idx="1101">
                  <c:v>84767.88</c:v>
                </c:pt>
                <c:pt idx="1102">
                  <c:v>84377.2</c:v>
                </c:pt>
                <c:pt idx="1103">
                  <c:v>85087.86</c:v>
                </c:pt>
                <c:pt idx="1104">
                  <c:v>83808.05</c:v>
                </c:pt>
                <c:pt idx="1105">
                  <c:v>83874.13</c:v>
                </c:pt>
                <c:pt idx="1106">
                  <c:v>85365.56</c:v>
                </c:pt>
                <c:pt idx="1107">
                  <c:v>85365.56</c:v>
                </c:pt>
                <c:pt idx="1108">
                  <c:v>84666.44</c:v>
                </c:pt>
                <c:pt idx="1109">
                  <c:v>84623.46</c:v>
                </c:pt>
                <c:pt idx="1110">
                  <c:v>84359.69</c:v>
                </c:pt>
                <c:pt idx="1111">
                  <c:v>85209.66</c:v>
                </c:pt>
                <c:pt idx="1112">
                  <c:v>84820.42</c:v>
                </c:pt>
                <c:pt idx="1113">
                  <c:v>83307.23</c:v>
                </c:pt>
                <c:pt idx="1114">
                  <c:v>84510.36</c:v>
                </c:pt>
                <c:pt idx="1115">
                  <c:v>85245.59</c:v>
                </c:pt>
                <c:pt idx="1116">
                  <c:v>85443.53</c:v>
                </c:pt>
                <c:pt idx="1117">
                  <c:v>84334.41</c:v>
                </c:pt>
                <c:pt idx="1118">
                  <c:v>82861.58</c:v>
                </c:pt>
                <c:pt idx="1119">
                  <c:v>84086.13</c:v>
                </c:pt>
                <c:pt idx="1120">
                  <c:v>85776.46</c:v>
                </c:pt>
                <c:pt idx="1121">
                  <c:v>85824.26</c:v>
                </c:pt>
                <c:pt idx="1122">
                  <c:v>85550.09</c:v>
                </c:pt>
                <c:pt idx="1123">
                  <c:v>85602.5</c:v>
                </c:pt>
                <c:pt idx="1124">
                  <c:v>85469.08</c:v>
                </c:pt>
                <c:pt idx="1125">
                  <c:v>85044.39</c:v>
                </c:pt>
                <c:pt idx="1126">
                  <c:v>86383.2</c:v>
                </c:pt>
                <c:pt idx="1127">
                  <c:v>86444.66</c:v>
                </c:pt>
                <c:pt idx="1128">
                  <c:v>86115.5</c:v>
                </c:pt>
                <c:pt idx="1129">
                  <c:v>86115.5</c:v>
                </c:pt>
                <c:pt idx="1130">
                  <c:v>84547.09</c:v>
                </c:pt>
                <c:pt idx="1131">
                  <c:v>83288.14</c:v>
                </c:pt>
                <c:pt idx="1132">
                  <c:v>83118.03</c:v>
                </c:pt>
                <c:pt idx="1133">
                  <c:v>82714.42</c:v>
                </c:pt>
                <c:pt idx="1134">
                  <c:v>82956.05</c:v>
                </c:pt>
                <c:pt idx="1135">
                  <c:v>84265.49</c:v>
                </c:pt>
                <c:pt idx="1136">
                  <c:v>85861.2</c:v>
                </c:pt>
                <c:pt idx="1137">
                  <c:v>85220.23</c:v>
                </c:pt>
                <c:pt idx="1138">
                  <c:v>85232.19</c:v>
                </c:pt>
                <c:pt idx="1139">
                  <c:v>85130.42</c:v>
                </c:pt>
                <c:pt idx="1140">
                  <c:v>86536.97</c:v>
                </c:pt>
                <c:pt idx="1141">
                  <c:v>83621.95</c:v>
                </c:pt>
                <c:pt idx="1142">
                  <c:v>83081.88</c:v>
                </c:pt>
                <c:pt idx="1143">
                  <c:v>81815.31</c:v>
                </c:pt>
                <c:pt idx="1144">
                  <c:v>82738.880000000005</c:v>
                </c:pt>
                <c:pt idx="1145">
                  <c:v>80867.289999999994</c:v>
                </c:pt>
                <c:pt idx="1146">
                  <c:v>80122.31</c:v>
                </c:pt>
                <c:pt idx="1147">
                  <c:v>78897.66</c:v>
                </c:pt>
                <c:pt idx="1148">
                  <c:v>75355.839999999997</c:v>
                </c:pt>
                <c:pt idx="1149">
                  <c:v>76071.98</c:v>
                </c:pt>
                <c:pt idx="1150">
                  <c:v>76753.62</c:v>
                </c:pt>
                <c:pt idx="1151">
                  <c:v>76753.62</c:v>
                </c:pt>
                <c:pt idx="1152">
                  <c:v>77239.75</c:v>
                </c:pt>
                <c:pt idx="1153">
                  <c:v>78596.06</c:v>
                </c:pt>
                <c:pt idx="1154">
                  <c:v>76641.73</c:v>
                </c:pt>
                <c:pt idx="1155">
                  <c:v>76117.23</c:v>
                </c:pt>
                <c:pt idx="1156">
                  <c:v>73851.47</c:v>
                </c:pt>
                <c:pt idx="1157">
                  <c:v>72942.070000000007</c:v>
                </c:pt>
                <c:pt idx="1158">
                  <c:v>72307.77</c:v>
                </c:pt>
                <c:pt idx="1159">
                  <c:v>72754.13</c:v>
                </c:pt>
                <c:pt idx="1160">
                  <c:v>72122.13</c:v>
                </c:pt>
                <c:pt idx="1161">
                  <c:v>71421.2</c:v>
                </c:pt>
                <c:pt idx="1162">
                  <c:v>70757.73</c:v>
                </c:pt>
                <c:pt idx="1163">
                  <c:v>69814.73</c:v>
                </c:pt>
                <c:pt idx="1164">
                  <c:v>71394.34</c:v>
                </c:pt>
                <c:pt idx="1165">
                  <c:v>72123.41</c:v>
                </c:pt>
                <c:pt idx="1166">
                  <c:v>70074.899999999994</c:v>
                </c:pt>
                <c:pt idx="1167">
                  <c:v>70640.649999999994</c:v>
                </c:pt>
                <c:pt idx="1168">
                  <c:v>70952.97</c:v>
                </c:pt>
                <c:pt idx="1169">
                  <c:v>71404.59</c:v>
                </c:pt>
                <c:pt idx="1170">
                  <c:v>70609</c:v>
                </c:pt>
                <c:pt idx="1171">
                  <c:v>71766.52</c:v>
                </c:pt>
                <c:pt idx="1172">
                  <c:v>72762.509999999995</c:v>
                </c:pt>
                <c:pt idx="1173">
                  <c:v>72839.740000000005</c:v>
                </c:pt>
                <c:pt idx="1174">
                  <c:v>73667.75</c:v>
                </c:pt>
                <c:pt idx="1175">
                  <c:v>74743.11</c:v>
                </c:pt>
                <c:pt idx="1176">
                  <c:v>74553.06</c:v>
                </c:pt>
                <c:pt idx="1177">
                  <c:v>75010.39</c:v>
                </c:pt>
                <c:pt idx="1178">
                  <c:v>75010.39</c:v>
                </c:pt>
                <c:pt idx="1179">
                  <c:v>74862.38</c:v>
                </c:pt>
                <c:pt idx="1180">
                  <c:v>74398.55</c:v>
                </c:pt>
                <c:pt idx="1181">
                  <c:v>75856.22</c:v>
                </c:pt>
                <c:pt idx="1182">
                  <c:v>76594.350000000006</c:v>
                </c:pt>
                <c:pt idx="1183">
                  <c:v>76652.58</c:v>
                </c:pt>
                <c:pt idx="1184">
                  <c:v>78130.3</c:v>
                </c:pt>
                <c:pt idx="1185">
                  <c:v>77362.63</c:v>
                </c:pt>
                <c:pt idx="1186">
                  <c:v>77486.84</c:v>
                </c:pt>
                <c:pt idx="1187">
                  <c:v>78571.289999999994</c:v>
                </c:pt>
                <c:pt idx="1188">
                  <c:v>77996.12</c:v>
                </c:pt>
                <c:pt idx="1189">
                  <c:v>79154.98</c:v>
                </c:pt>
                <c:pt idx="1190">
                  <c:v>80218.039999999994</c:v>
                </c:pt>
                <c:pt idx="1191">
                  <c:v>79405.34</c:v>
                </c:pt>
                <c:pt idx="1192">
                  <c:v>79866.100000000006</c:v>
                </c:pt>
                <c:pt idx="1193">
                  <c:v>80275.59</c:v>
                </c:pt>
                <c:pt idx="1194">
                  <c:v>79220.429999999993</c:v>
                </c:pt>
                <c:pt idx="1195">
                  <c:v>79301.649999999994</c:v>
                </c:pt>
                <c:pt idx="1196">
                  <c:v>79636.69</c:v>
                </c:pt>
                <c:pt idx="1197">
                  <c:v>81434.98</c:v>
                </c:pt>
                <c:pt idx="1198">
                  <c:v>81050.759999999995</c:v>
                </c:pt>
                <c:pt idx="1199">
                  <c:v>80346.52</c:v>
                </c:pt>
                <c:pt idx="1200">
                  <c:v>79151.7</c:v>
                </c:pt>
                <c:pt idx="1201">
                  <c:v>78767.990000000005</c:v>
                </c:pt>
                <c:pt idx="1202">
                  <c:v>76514.350000000006</c:v>
                </c:pt>
                <c:pt idx="1203">
                  <c:v>77496.45</c:v>
                </c:pt>
                <c:pt idx="1204">
                  <c:v>78602.11</c:v>
                </c:pt>
                <c:pt idx="1205">
                  <c:v>77077.990000000005</c:v>
                </c:pt>
                <c:pt idx="1206">
                  <c:v>76818.720000000001</c:v>
                </c:pt>
                <c:pt idx="1207">
                  <c:v>76028.5</c:v>
                </c:pt>
                <c:pt idx="1208">
                  <c:v>76327.89</c:v>
                </c:pt>
                <c:pt idx="1209">
                  <c:v>75180.399999999994</c:v>
                </c:pt>
                <c:pt idx="1210">
                  <c:v>76902.3</c:v>
                </c:pt>
                <c:pt idx="1211">
                  <c:v>75633.77</c:v>
                </c:pt>
                <c:pt idx="1212">
                  <c:v>76262.23</c:v>
                </c:pt>
                <c:pt idx="1213">
                  <c:v>77929.679999999993</c:v>
                </c:pt>
                <c:pt idx="1214">
                  <c:v>77473.179999999993</c:v>
                </c:pt>
                <c:pt idx="1215">
                  <c:v>78388.83</c:v>
                </c:pt>
                <c:pt idx="1216">
                  <c:v>76404.09</c:v>
                </c:pt>
                <c:pt idx="1217">
                  <c:v>76677.53</c:v>
                </c:pt>
                <c:pt idx="1218">
                  <c:v>76192.73</c:v>
                </c:pt>
                <c:pt idx="1219">
                  <c:v>74711.8</c:v>
                </c:pt>
                <c:pt idx="1220">
                  <c:v>75092.27</c:v>
                </c:pt>
                <c:pt idx="1221">
                  <c:v>76416.009999999995</c:v>
                </c:pt>
                <c:pt idx="1222">
                  <c:v>76416.009999999995</c:v>
                </c:pt>
                <c:pt idx="1223">
                  <c:v>76436.350000000006</c:v>
                </c:pt>
                <c:pt idx="1224">
                  <c:v>74656.509999999995</c:v>
                </c:pt>
                <c:pt idx="1225">
                  <c:v>75124.81</c:v>
                </c:pt>
                <c:pt idx="1226">
                  <c:v>74686.67</c:v>
                </c:pt>
                <c:pt idx="1227">
                  <c:v>75429.09</c:v>
                </c:pt>
                <c:pt idx="1228">
                  <c:v>76788.850000000006</c:v>
                </c:pt>
                <c:pt idx="1229">
                  <c:v>78313.960000000006</c:v>
                </c:pt>
                <c:pt idx="1230">
                  <c:v>78168.66</c:v>
                </c:pt>
                <c:pt idx="1231">
                  <c:v>78116.009999999995</c:v>
                </c:pt>
                <c:pt idx="1232">
                  <c:v>79444.289999999994</c:v>
                </c:pt>
                <c:pt idx="1233">
                  <c:v>77984.179999999993</c:v>
                </c:pt>
                <c:pt idx="1234">
                  <c:v>78630.14</c:v>
                </c:pt>
                <c:pt idx="1235">
                  <c:v>78656.160000000003</c:v>
                </c:pt>
                <c:pt idx="1236">
                  <c:v>80000.09</c:v>
                </c:pt>
                <c:pt idx="1237">
                  <c:v>79342.42</c:v>
                </c:pt>
                <c:pt idx="1238">
                  <c:v>78623.66</c:v>
                </c:pt>
                <c:pt idx="1239">
                  <c:v>81612.28</c:v>
                </c:pt>
                <c:pt idx="1240">
                  <c:v>83273.399999999994</c:v>
                </c:pt>
                <c:pt idx="1241">
                  <c:v>82952.81</c:v>
                </c:pt>
                <c:pt idx="1242">
                  <c:v>82321.52</c:v>
                </c:pt>
                <c:pt idx="1243">
                  <c:v>86083.91</c:v>
                </c:pt>
                <c:pt idx="1244">
                  <c:v>86087.55</c:v>
                </c:pt>
                <c:pt idx="1245">
                  <c:v>83679.11</c:v>
                </c:pt>
                <c:pt idx="1246">
                  <c:v>82921.08</c:v>
                </c:pt>
                <c:pt idx="1247">
                  <c:v>82921.08</c:v>
                </c:pt>
                <c:pt idx="1248">
                  <c:v>83359.759999999995</c:v>
                </c:pt>
                <c:pt idx="1249">
                  <c:v>85717.56</c:v>
                </c:pt>
                <c:pt idx="1250">
                  <c:v>85763.95</c:v>
                </c:pt>
                <c:pt idx="1251">
                  <c:v>83847.12</c:v>
                </c:pt>
                <c:pt idx="1252">
                  <c:v>84219.74</c:v>
                </c:pt>
                <c:pt idx="1253">
                  <c:v>85596.69</c:v>
                </c:pt>
                <c:pt idx="1254">
                  <c:v>85300.03</c:v>
                </c:pt>
                <c:pt idx="1255">
                  <c:v>83063.56</c:v>
                </c:pt>
                <c:pt idx="1256">
                  <c:v>84083.51</c:v>
                </c:pt>
                <c:pt idx="1257">
                  <c:v>85719.87</c:v>
                </c:pt>
                <c:pt idx="1258">
                  <c:v>83796.710000000006</c:v>
                </c:pt>
                <c:pt idx="1259">
                  <c:v>86885.71</c:v>
                </c:pt>
                <c:pt idx="1260">
                  <c:v>87423.55</c:v>
                </c:pt>
                <c:pt idx="1261">
                  <c:v>88419.05</c:v>
                </c:pt>
                <c:pt idx="1262">
                  <c:v>88419.05</c:v>
                </c:pt>
                <c:pt idx="1263">
                  <c:v>89598.16</c:v>
                </c:pt>
                <c:pt idx="1264">
                  <c:v>88668.92</c:v>
                </c:pt>
                <c:pt idx="1265">
                  <c:v>87714.35</c:v>
                </c:pt>
                <c:pt idx="1266">
                  <c:v>85620.13</c:v>
                </c:pt>
                <c:pt idx="1267">
                  <c:v>85641.21</c:v>
                </c:pt>
                <c:pt idx="1268">
                  <c:v>85524.7</c:v>
                </c:pt>
                <c:pt idx="1269">
                  <c:v>84914.11</c:v>
                </c:pt>
                <c:pt idx="1270">
                  <c:v>85973.06</c:v>
                </c:pt>
                <c:pt idx="1271">
                  <c:v>85973.06</c:v>
                </c:pt>
                <c:pt idx="1272">
                  <c:v>88515.27</c:v>
                </c:pt>
                <c:pt idx="1273">
                  <c:v>87900.83</c:v>
                </c:pt>
                <c:pt idx="1274">
                  <c:v>87900.83</c:v>
                </c:pt>
                <c:pt idx="1275">
                  <c:v>87268.800000000003</c:v>
                </c:pt>
                <c:pt idx="1276">
                  <c:v>87477.440000000002</c:v>
                </c:pt>
                <c:pt idx="1277">
                  <c:v>86230.22</c:v>
                </c:pt>
                <c:pt idx="1278">
                  <c:v>85546.51</c:v>
                </c:pt>
                <c:pt idx="1279">
                  <c:v>87891.18</c:v>
                </c:pt>
                <c:pt idx="1280">
                  <c:v>89250.82</c:v>
                </c:pt>
                <c:pt idx="1281">
                  <c:v>89709.56</c:v>
                </c:pt>
                <c:pt idx="1282">
                  <c:v>89504.03</c:v>
                </c:pt>
                <c:pt idx="1283">
                  <c:v>89820.09</c:v>
                </c:pt>
                <c:pt idx="1284">
                  <c:v>88624.45</c:v>
                </c:pt>
                <c:pt idx="1285">
                  <c:v>89039.79</c:v>
                </c:pt>
                <c:pt idx="1286">
                  <c:v>88846.48</c:v>
                </c:pt>
                <c:pt idx="1287">
                  <c:v>88115.07</c:v>
                </c:pt>
                <c:pt idx="1288">
                  <c:v>85914.71</c:v>
                </c:pt>
                <c:pt idx="1289">
                  <c:v>86419.57</c:v>
                </c:pt>
                <c:pt idx="1290">
                  <c:v>86977.46</c:v>
                </c:pt>
                <c:pt idx="1291">
                  <c:v>87837.59</c:v>
                </c:pt>
                <c:pt idx="1292">
                  <c:v>87449.5</c:v>
                </c:pt>
                <c:pt idx="1293">
                  <c:v>86399.679999999993</c:v>
                </c:pt>
                <c:pt idx="1294">
                  <c:v>86610.49</c:v>
                </c:pt>
                <c:pt idx="1295">
                  <c:v>85673.52</c:v>
                </c:pt>
                <c:pt idx="1296">
                  <c:v>85269.29</c:v>
                </c:pt>
                <c:pt idx="1297">
                  <c:v>85697.15</c:v>
                </c:pt>
                <c:pt idx="1298">
                  <c:v>85697.15</c:v>
                </c:pt>
                <c:pt idx="1299">
                  <c:v>85697.15</c:v>
                </c:pt>
                <c:pt idx="1300">
                  <c:v>85136.1</c:v>
                </c:pt>
                <c:pt idx="1301">
                  <c:v>85460.2</c:v>
                </c:pt>
                <c:pt idx="1302">
                  <c:v>87887.26</c:v>
                </c:pt>
                <c:pt idx="1303">
                  <c:v>87887.26</c:v>
                </c:pt>
                <c:pt idx="1304">
                  <c:v>87887.26</c:v>
                </c:pt>
                <c:pt idx="1305">
                  <c:v>91012.31</c:v>
                </c:pt>
                <c:pt idx="1306">
                  <c:v>91564.25</c:v>
                </c:pt>
                <c:pt idx="1307">
                  <c:v>91840.79</c:v>
                </c:pt>
                <c:pt idx="1308">
                  <c:v>91699.05</c:v>
                </c:pt>
                <c:pt idx="1309">
                  <c:v>92031.86</c:v>
                </c:pt>
                <c:pt idx="1310">
                  <c:v>93613.04</c:v>
                </c:pt>
                <c:pt idx="1311">
                  <c:v>93805.93</c:v>
                </c:pt>
                <c:pt idx="1312">
                  <c:v>93658.31</c:v>
                </c:pt>
                <c:pt idx="1313">
                  <c:v>94474.13</c:v>
                </c:pt>
                <c:pt idx="1314">
                  <c:v>94055.72</c:v>
                </c:pt>
                <c:pt idx="1315">
                  <c:v>94393.07</c:v>
                </c:pt>
                <c:pt idx="1316">
                  <c:v>95351.09</c:v>
                </c:pt>
                <c:pt idx="1317">
                  <c:v>96096.75</c:v>
                </c:pt>
                <c:pt idx="1318">
                  <c:v>96009.77</c:v>
                </c:pt>
                <c:pt idx="1319">
                  <c:v>95103.38</c:v>
                </c:pt>
                <c:pt idx="1320">
                  <c:v>96558.42</c:v>
                </c:pt>
                <c:pt idx="1321">
                  <c:v>97677.19</c:v>
                </c:pt>
                <c:pt idx="1322">
                  <c:v>97677.19</c:v>
                </c:pt>
                <c:pt idx="1323">
                  <c:v>95443.88</c:v>
                </c:pt>
                <c:pt idx="1324">
                  <c:v>95639.33</c:v>
                </c:pt>
                <c:pt idx="1325">
                  <c:v>96996.21</c:v>
                </c:pt>
                <c:pt idx="1326">
                  <c:v>97393.74</c:v>
                </c:pt>
                <c:pt idx="1327">
                  <c:v>97861.27</c:v>
                </c:pt>
                <c:pt idx="1328">
                  <c:v>98588.63</c:v>
                </c:pt>
                <c:pt idx="1329">
                  <c:v>98311.2</c:v>
                </c:pt>
                <c:pt idx="1330">
                  <c:v>94635.57</c:v>
                </c:pt>
                <c:pt idx="1331">
                  <c:v>94405.59</c:v>
                </c:pt>
                <c:pt idx="1332">
                  <c:v>95343.1</c:v>
                </c:pt>
                <c:pt idx="1333">
                  <c:v>94412.91</c:v>
                </c:pt>
                <c:pt idx="1334">
                  <c:v>96168.4</c:v>
                </c:pt>
                <c:pt idx="1335">
                  <c:v>95842.4</c:v>
                </c:pt>
                <c:pt idx="1336">
                  <c:v>98015.09</c:v>
                </c:pt>
                <c:pt idx="1337">
                  <c:v>97525.91</c:v>
                </c:pt>
                <c:pt idx="1338">
                  <c:v>96509.89</c:v>
                </c:pt>
                <c:pt idx="1339">
                  <c:v>97659.15</c:v>
                </c:pt>
                <c:pt idx="1340">
                  <c:v>96544.81</c:v>
                </c:pt>
                <c:pt idx="1341">
                  <c:v>96932.27</c:v>
                </c:pt>
                <c:pt idx="1342">
                  <c:v>97885.6</c:v>
                </c:pt>
                <c:pt idx="1343">
                  <c:v>97239.9</c:v>
                </c:pt>
                <c:pt idx="1344">
                  <c:v>97602.5</c:v>
                </c:pt>
                <c:pt idx="1345">
                  <c:v>97307.31</c:v>
                </c:pt>
                <c:pt idx="1346">
                  <c:v>95584.35</c:v>
                </c:pt>
                <c:pt idx="1347">
                  <c:v>94603.75</c:v>
                </c:pt>
                <c:pt idx="1348">
                  <c:v>94603.75</c:v>
                </c:pt>
                <c:pt idx="1349">
                  <c:v>94603.75</c:v>
                </c:pt>
                <c:pt idx="1350">
                  <c:v>94216.87</c:v>
                </c:pt>
                <c:pt idx="1351">
                  <c:v>94340.17</c:v>
                </c:pt>
                <c:pt idx="1352">
                  <c:v>95364.85</c:v>
                </c:pt>
                <c:pt idx="1353">
                  <c:v>98026.62</c:v>
                </c:pt>
                <c:pt idx="1354">
                  <c:v>97828.03</c:v>
                </c:pt>
                <c:pt idx="1355">
                  <c:v>98903.88</c:v>
                </c:pt>
                <c:pt idx="1356">
                  <c:v>98604.67</c:v>
                </c:pt>
                <c:pt idx="1357">
                  <c:v>99136.74</c:v>
                </c:pt>
                <c:pt idx="1358">
                  <c:v>99993.919999999998</c:v>
                </c:pt>
                <c:pt idx="1359">
                  <c:v>99588.37</c:v>
                </c:pt>
                <c:pt idx="1360">
                  <c:v>98041.37</c:v>
                </c:pt>
                <c:pt idx="1361">
                  <c:v>96729.08</c:v>
                </c:pt>
                <c:pt idx="1362">
                  <c:v>93735.15</c:v>
                </c:pt>
                <c:pt idx="1363">
                  <c:v>93662.01</c:v>
                </c:pt>
                <c:pt idx="1364">
                  <c:v>95306.82</c:v>
                </c:pt>
                <c:pt idx="1365">
                  <c:v>91903.4</c:v>
                </c:pt>
                <c:pt idx="1366">
                  <c:v>94388.94</c:v>
                </c:pt>
                <c:pt idx="1367">
                  <c:v>95414.55</c:v>
                </c:pt>
                <c:pt idx="1368">
                  <c:v>96054.45</c:v>
                </c:pt>
                <c:pt idx="1369">
                  <c:v>95386.76</c:v>
                </c:pt>
                <c:pt idx="1370">
                  <c:v>94491.48</c:v>
                </c:pt>
                <c:pt idx="1371">
                  <c:v>96313.06</c:v>
                </c:pt>
                <c:pt idx="1372">
                  <c:v>97108.17</c:v>
                </c:pt>
                <c:pt idx="1373">
                  <c:v>97369.29</c:v>
                </c:pt>
                <c:pt idx="1374">
                  <c:v>96291.79</c:v>
                </c:pt>
                <c:pt idx="1375">
                  <c:v>95953.45</c:v>
                </c:pt>
                <c:pt idx="1376">
                  <c:v>94754.7</c:v>
                </c:pt>
                <c:pt idx="1377">
                  <c:v>92875</c:v>
                </c:pt>
                <c:pt idx="1378">
                  <c:v>93082.97</c:v>
                </c:pt>
                <c:pt idx="1379">
                  <c:v>94333.31</c:v>
                </c:pt>
                <c:pt idx="1380">
                  <c:v>93284.75</c:v>
                </c:pt>
                <c:pt idx="1381">
                  <c:v>94578.26</c:v>
                </c:pt>
                <c:pt idx="1382">
                  <c:v>94578.26</c:v>
                </c:pt>
                <c:pt idx="1383">
                  <c:v>94588.06</c:v>
                </c:pt>
                <c:pt idx="1384">
                  <c:v>95923.24</c:v>
                </c:pt>
                <c:pt idx="1385">
                  <c:v>95045.43</c:v>
                </c:pt>
                <c:pt idx="1386">
                  <c:v>96552.03</c:v>
                </c:pt>
                <c:pt idx="1387">
                  <c:v>96236.04</c:v>
                </c:pt>
                <c:pt idx="1388">
                  <c:v>96187.75</c:v>
                </c:pt>
                <c:pt idx="1389">
                  <c:v>96353.33</c:v>
                </c:pt>
                <c:pt idx="1390">
                  <c:v>96353.33</c:v>
                </c:pt>
                <c:pt idx="1391">
                  <c:v>95527.62</c:v>
                </c:pt>
                <c:pt idx="1392">
                  <c:v>96007.89</c:v>
                </c:pt>
                <c:pt idx="1393">
                  <c:v>95008.66</c:v>
                </c:pt>
                <c:pt idx="1394">
                  <c:v>94388.73</c:v>
                </c:pt>
                <c:pt idx="1395">
                  <c:v>95596.61</c:v>
                </c:pt>
                <c:pt idx="1396">
                  <c:v>94807.85</c:v>
                </c:pt>
                <c:pt idx="1397">
                  <c:v>94257.56</c:v>
                </c:pt>
                <c:pt idx="1398">
                  <c:v>91726.54</c:v>
                </c:pt>
                <c:pt idx="1399">
                  <c:v>92092.44</c:v>
                </c:pt>
                <c:pt idx="1400">
                  <c:v>91623.44</c:v>
                </c:pt>
                <c:pt idx="1401">
                  <c:v>90024.47</c:v>
                </c:pt>
                <c:pt idx="1402">
                  <c:v>89992.73</c:v>
                </c:pt>
                <c:pt idx="1403">
                  <c:v>91946.19</c:v>
                </c:pt>
                <c:pt idx="1404">
                  <c:v>94484.63</c:v>
                </c:pt>
                <c:pt idx="1405">
                  <c:v>94360.66</c:v>
                </c:pt>
                <c:pt idx="1406">
                  <c:v>93910.03</c:v>
                </c:pt>
                <c:pt idx="1407">
                  <c:v>93627.8</c:v>
                </c:pt>
                <c:pt idx="1408">
                  <c:v>94864.25</c:v>
                </c:pt>
                <c:pt idx="1409">
                  <c:v>96392.76</c:v>
                </c:pt>
                <c:pt idx="1410">
                  <c:v>96566.55</c:v>
                </c:pt>
                <c:pt idx="1411">
                  <c:v>97457.36</c:v>
                </c:pt>
                <c:pt idx="1412">
                  <c:v>97030.32</c:v>
                </c:pt>
                <c:pt idx="1413">
                  <c:v>97020.479999999996</c:v>
                </c:pt>
                <c:pt idx="1414">
                  <c:v>97380.28</c:v>
                </c:pt>
                <c:pt idx="1415">
                  <c:v>95998.75</c:v>
                </c:pt>
                <c:pt idx="1416">
                  <c:v>97204.85</c:v>
                </c:pt>
                <c:pt idx="1417">
                  <c:v>97821.26</c:v>
                </c:pt>
                <c:pt idx="1418">
                  <c:v>97466.69</c:v>
                </c:pt>
                <c:pt idx="1419">
                  <c:v>98960</c:v>
                </c:pt>
                <c:pt idx="1420">
                  <c:v>98320.88</c:v>
                </c:pt>
                <c:pt idx="1421">
                  <c:v>98773.7</c:v>
                </c:pt>
                <c:pt idx="1422">
                  <c:v>98040.06</c:v>
                </c:pt>
                <c:pt idx="1423">
                  <c:v>97623.25</c:v>
                </c:pt>
                <c:pt idx="1424">
                  <c:v>99404.39</c:v>
                </c:pt>
                <c:pt idx="1425">
                  <c:v>100303.4</c:v>
                </c:pt>
                <c:pt idx="1426">
                  <c:v>100303.4</c:v>
                </c:pt>
                <c:pt idx="1427">
                  <c:v>102012.6</c:v>
                </c:pt>
                <c:pt idx="1428">
                  <c:v>102062.3</c:v>
                </c:pt>
                <c:pt idx="1429">
                  <c:v>100093</c:v>
                </c:pt>
                <c:pt idx="1430">
                  <c:v>100404.38</c:v>
                </c:pt>
              </c:numCache>
            </c:numRef>
          </c:val>
          <c:smooth val="0"/>
        </c:ser>
        <c:ser>
          <c:idx val="1"/>
          <c:order val="1"/>
          <c:spPr>
            <a:ln w="28575" cap="rnd">
              <a:solidFill>
                <a:srgbClr val="C00000"/>
              </a:solidFill>
              <a:prstDash val="sysDot"/>
              <a:round/>
            </a:ln>
            <a:effectLst/>
          </c:spPr>
          <c:marker>
            <c:symbol val="none"/>
          </c:marker>
          <c:cat>
            <c:numRef>
              <c:f>Sheet1!$A$7:$A$1625</c:f>
              <c:numCache>
                <c:formatCode>m/d/yyyy</c:formatCode>
                <c:ptCount val="1619"/>
                <c:pt idx="0">
                  <c:v>41640</c:v>
                </c:pt>
                <c:pt idx="1">
                  <c:v>41641</c:v>
                </c:pt>
                <c:pt idx="2">
                  <c:v>41642</c:v>
                </c:pt>
                <c:pt idx="3">
                  <c:v>41645</c:v>
                </c:pt>
                <c:pt idx="4">
                  <c:v>41646</c:v>
                </c:pt>
                <c:pt idx="5">
                  <c:v>41647</c:v>
                </c:pt>
                <c:pt idx="6">
                  <c:v>41648</c:v>
                </c:pt>
                <c:pt idx="7">
                  <c:v>41649</c:v>
                </c:pt>
                <c:pt idx="8">
                  <c:v>41652</c:v>
                </c:pt>
                <c:pt idx="9">
                  <c:v>41653</c:v>
                </c:pt>
                <c:pt idx="10">
                  <c:v>41654</c:v>
                </c:pt>
                <c:pt idx="11">
                  <c:v>41655</c:v>
                </c:pt>
                <c:pt idx="12">
                  <c:v>41656</c:v>
                </c:pt>
                <c:pt idx="13">
                  <c:v>41659</c:v>
                </c:pt>
                <c:pt idx="14">
                  <c:v>41660</c:v>
                </c:pt>
                <c:pt idx="15">
                  <c:v>41661</c:v>
                </c:pt>
                <c:pt idx="16">
                  <c:v>41662</c:v>
                </c:pt>
                <c:pt idx="17">
                  <c:v>41663</c:v>
                </c:pt>
                <c:pt idx="18">
                  <c:v>41666</c:v>
                </c:pt>
                <c:pt idx="19">
                  <c:v>41667</c:v>
                </c:pt>
                <c:pt idx="20">
                  <c:v>41668</c:v>
                </c:pt>
                <c:pt idx="21">
                  <c:v>41669</c:v>
                </c:pt>
                <c:pt idx="22">
                  <c:v>41670</c:v>
                </c:pt>
                <c:pt idx="23">
                  <c:v>41673</c:v>
                </c:pt>
                <c:pt idx="24">
                  <c:v>41674</c:v>
                </c:pt>
                <c:pt idx="25">
                  <c:v>41675</c:v>
                </c:pt>
                <c:pt idx="26">
                  <c:v>41676</c:v>
                </c:pt>
                <c:pt idx="27">
                  <c:v>41677</c:v>
                </c:pt>
                <c:pt idx="28">
                  <c:v>41680</c:v>
                </c:pt>
                <c:pt idx="29">
                  <c:v>41681</c:v>
                </c:pt>
                <c:pt idx="30">
                  <c:v>41682</c:v>
                </c:pt>
                <c:pt idx="31">
                  <c:v>41683</c:v>
                </c:pt>
                <c:pt idx="32">
                  <c:v>41684</c:v>
                </c:pt>
                <c:pt idx="33">
                  <c:v>41687</c:v>
                </c:pt>
                <c:pt idx="34">
                  <c:v>41688</c:v>
                </c:pt>
                <c:pt idx="35">
                  <c:v>41689</c:v>
                </c:pt>
                <c:pt idx="36">
                  <c:v>41690</c:v>
                </c:pt>
                <c:pt idx="37">
                  <c:v>41691</c:v>
                </c:pt>
                <c:pt idx="38">
                  <c:v>41694</c:v>
                </c:pt>
                <c:pt idx="39">
                  <c:v>41695</c:v>
                </c:pt>
                <c:pt idx="40">
                  <c:v>41696</c:v>
                </c:pt>
                <c:pt idx="41">
                  <c:v>41697</c:v>
                </c:pt>
                <c:pt idx="42">
                  <c:v>41698</c:v>
                </c:pt>
                <c:pt idx="43">
                  <c:v>41701</c:v>
                </c:pt>
                <c:pt idx="44">
                  <c:v>41702</c:v>
                </c:pt>
                <c:pt idx="45">
                  <c:v>41703</c:v>
                </c:pt>
                <c:pt idx="46">
                  <c:v>41704</c:v>
                </c:pt>
                <c:pt idx="47">
                  <c:v>41705</c:v>
                </c:pt>
                <c:pt idx="48">
                  <c:v>41708</c:v>
                </c:pt>
                <c:pt idx="49">
                  <c:v>41709</c:v>
                </c:pt>
                <c:pt idx="50">
                  <c:v>41710</c:v>
                </c:pt>
                <c:pt idx="51">
                  <c:v>41711</c:v>
                </c:pt>
                <c:pt idx="52">
                  <c:v>41712</c:v>
                </c:pt>
                <c:pt idx="53">
                  <c:v>41715</c:v>
                </c:pt>
                <c:pt idx="54">
                  <c:v>41716</c:v>
                </c:pt>
                <c:pt idx="55">
                  <c:v>41717</c:v>
                </c:pt>
                <c:pt idx="56">
                  <c:v>41718</c:v>
                </c:pt>
                <c:pt idx="57">
                  <c:v>41719</c:v>
                </c:pt>
                <c:pt idx="58">
                  <c:v>41722</c:v>
                </c:pt>
                <c:pt idx="59">
                  <c:v>41723</c:v>
                </c:pt>
                <c:pt idx="60">
                  <c:v>41724</c:v>
                </c:pt>
                <c:pt idx="61">
                  <c:v>41725</c:v>
                </c:pt>
                <c:pt idx="62">
                  <c:v>41726</c:v>
                </c:pt>
                <c:pt idx="63">
                  <c:v>41729</c:v>
                </c:pt>
                <c:pt idx="64">
                  <c:v>41730</c:v>
                </c:pt>
                <c:pt idx="65">
                  <c:v>41731</c:v>
                </c:pt>
                <c:pt idx="66">
                  <c:v>41732</c:v>
                </c:pt>
                <c:pt idx="67">
                  <c:v>41733</c:v>
                </c:pt>
                <c:pt idx="68">
                  <c:v>41736</c:v>
                </c:pt>
                <c:pt idx="69">
                  <c:v>41737</c:v>
                </c:pt>
                <c:pt idx="70">
                  <c:v>41738</c:v>
                </c:pt>
                <c:pt idx="71">
                  <c:v>41739</c:v>
                </c:pt>
                <c:pt idx="72">
                  <c:v>41740</c:v>
                </c:pt>
                <c:pt idx="73">
                  <c:v>41743</c:v>
                </c:pt>
                <c:pt idx="74">
                  <c:v>41744</c:v>
                </c:pt>
                <c:pt idx="75">
                  <c:v>41745</c:v>
                </c:pt>
                <c:pt idx="76">
                  <c:v>41746</c:v>
                </c:pt>
                <c:pt idx="77">
                  <c:v>41747</c:v>
                </c:pt>
                <c:pt idx="78">
                  <c:v>41750</c:v>
                </c:pt>
                <c:pt idx="79">
                  <c:v>41751</c:v>
                </c:pt>
                <c:pt idx="80">
                  <c:v>41752</c:v>
                </c:pt>
                <c:pt idx="81">
                  <c:v>41753</c:v>
                </c:pt>
                <c:pt idx="82">
                  <c:v>41754</c:v>
                </c:pt>
                <c:pt idx="83">
                  <c:v>41757</c:v>
                </c:pt>
                <c:pt idx="84">
                  <c:v>41758</c:v>
                </c:pt>
                <c:pt idx="85">
                  <c:v>41759</c:v>
                </c:pt>
                <c:pt idx="86">
                  <c:v>41760</c:v>
                </c:pt>
                <c:pt idx="87">
                  <c:v>41761</c:v>
                </c:pt>
                <c:pt idx="88">
                  <c:v>41764</c:v>
                </c:pt>
                <c:pt idx="89">
                  <c:v>41765</c:v>
                </c:pt>
                <c:pt idx="90">
                  <c:v>41766</c:v>
                </c:pt>
                <c:pt idx="91">
                  <c:v>41767</c:v>
                </c:pt>
                <c:pt idx="92">
                  <c:v>41768</c:v>
                </c:pt>
                <c:pt idx="93">
                  <c:v>41771</c:v>
                </c:pt>
                <c:pt idx="94">
                  <c:v>41772</c:v>
                </c:pt>
                <c:pt idx="95">
                  <c:v>41773</c:v>
                </c:pt>
                <c:pt idx="96">
                  <c:v>41774</c:v>
                </c:pt>
                <c:pt idx="97">
                  <c:v>41775</c:v>
                </c:pt>
                <c:pt idx="98">
                  <c:v>41778</c:v>
                </c:pt>
                <c:pt idx="99">
                  <c:v>41779</c:v>
                </c:pt>
                <c:pt idx="100">
                  <c:v>41780</c:v>
                </c:pt>
                <c:pt idx="101">
                  <c:v>41781</c:v>
                </c:pt>
                <c:pt idx="102">
                  <c:v>41782</c:v>
                </c:pt>
                <c:pt idx="103">
                  <c:v>41785</c:v>
                </c:pt>
                <c:pt idx="104">
                  <c:v>41786</c:v>
                </c:pt>
                <c:pt idx="105">
                  <c:v>41787</c:v>
                </c:pt>
                <c:pt idx="106">
                  <c:v>41788</c:v>
                </c:pt>
                <c:pt idx="107">
                  <c:v>41789</c:v>
                </c:pt>
                <c:pt idx="108">
                  <c:v>41792</c:v>
                </c:pt>
                <c:pt idx="109">
                  <c:v>41793</c:v>
                </c:pt>
                <c:pt idx="110">
                  <c:v>41794</c:v>
                </c:pt>
                <c:pt idx="111">
                  <c:v>41795</c:v>
                </c:pt>
                <c:pt idx="112">
                  <c:v>41796</c:v>
                </c:pt>
                <c:pt idx="113">
                  <c:v>41799</c:v>
                </c:pt>
                <c:pt idx="114">
                  <c:v>41800</c:v>
                </c:pt>
                <c:pt idx="115">
                  <c:v>41801</c:v>
                </c:pt>
                <c:pt idx="116">
                  <c:v>41802</c:v>
                </c:pt>
                <c:pt idx="117">
                  <c:v>41803</c:v>
                </c:pt>
                <c:pt idx="118">
                  <c:v>41806</c:v>
                </c:pt>
                <c:pt idx="119">
                  <c:v>41807</c:v>
                </c:pt>
                <c:pt idx="120">
                  <c:v>41808</c:v>
                </c:pt>
                <c:pt idx="121">
                  <c:v>41809</c:v>
                </c:pt>
                <c:pt idx="122">
                  <c:v>41810</c:v>
                </c:pt>
                <c:pt idx="123">
                  <c:v>41813</c:v>
                </c:pt>
                <c:pt idx="124">
                  <c:v>41814</c:v>
                </c:pt>
                <c:pt idx="125">
                  <c:v>41815</c:v>
                </c:pt>
                <c:pt idx="126">
                  <c:v>41816</c:v>
                </c:pt>
                <c:pt idx="127">
                  <c:v>41817</c:v>
                </c:pt>
                <c:pt idx="128">
                  <c:v>41820</c:v>
                </c:pt>
                <c:pt idx="129">
                  <c:v>41821</c:v>
                </c:pt>
                <c:pt idx="130">
                  <c:v>41822</c:v>
                </c:pt>
                <c:pt idx="131">
                  <c:v>41823</c:v>
                </c:pt>
                <c:pt idx="132">
                  <c:v>41824</c:v>
                </c:pt>
                <c:pt idx="133">
                  <c:v>41827</c:v>
                </c:pt>
                <c:pt idx="134">
                  <c:v>41828</c:v>
                </c:pt>
                <c:pt idx="135">
                  <c:v>41829</c:v>
                </c:pt>
                <c:pt idx="136">
                  <c:v>41830</c:v>
                </c:pt>
                <c:pt idx="137">
                  <c:v>41831</c:v>
                </c:pt>
                <c:pt idx="138">
                  <c:v>41834</c:v>
                </c:pt>
                <c:pt idx="139">
                  <c:v>41835</c:v>
                </c:pt>
                <c:pt idx="140">
                  <c:v>41836</c:v>
                </c:pt>
                <c:pt idx="141">
                  <c:v>41837</c:v>
                </c:pt>
                <c:pt idx="142">
                  <c:v>41838</c:v>
                </c:pt>
                <c:pt idx="143">
                  <c:v>41841</c:v>
                </c:pt>
                <c:pt idx="144">
                  <c:v>41842</c:v>
                </c:pt>
                <c:pt idx="145">
                  <c:v>41843</c:v>
                </c:pt>
                <c:pt idx="146">
                  <c:v>41844</c:v>
                </c:pt>
                <c:pt idx="147">
                  <c:v>41845</c:v>
                </c:pt>
                <c:pt idx="148">
                  <c:v>41848</c:v>
                </c:pt>
                <c:pt idx="149">
                  <c:v>41849</c:v>
                </c:pt>
                <c:pt idx="150">
                  <c:v>41850</c:v>
                </c:pt>
                <c:pt idx="151">
                  <c:v>41851</c:v>
                </c:pt>
                <c:pt idx="152">
                  <c:v>41852</c:v>
                </c:pt>
                <c:pt idx="153">
                  <c:v>41855</c:v>
                </c:pt>
                <c:pt idx="154">
                  <c:v>41856</c:v>
                </c:pt>
                <c:pt idx="155">
                  <c:v>41857</c:v>
                </c:pt>
                <c:pt idx="156">
                  <c:v>41858</c:v>
                </c:pt>
                <c:pt idx="157">
                  <c:v>41859</c:v>
                </c:pt>
                <c:pt idx="158">
                  <c:v>41862</c:v>
                </c:pt>
                <c:pt idx="159">
                  <c:v>41863</c:v>
                </c:pt>
                <c:pt idx="160">
                  <c:v>41864</c:v>
                </c:pt>
                <c:pt idx="161">
                  <c:v>41865</c:v>
                </c:pt>
                <c:pt idx="162">
                  <c:v>41866</c:v>
                </c:pt>
                <c:pt idx="163">
                  <c:v>41869</c:v>
                </c:pt>
                <c:pt idx="164">
                  <c:v>41870</c:v>
                </c:pt>
                <c:pt idx="165">
                  <c:v>41871</c:v>
                </c:pt>
                <c:pt idx="166">
                  <c:v>41872</c:v>
                </c:pt>
                <c:pt idx="167">
                  <c:v>41873</c:v>
                </c:pt>
                <c:pt idx="168">
                  <c:v>41876</c:v>
                </c:pt>
                <c:pt idx="169">
                  <c:v>41877</c:v>
                </c:pt>
                <c:pt idx="170">
                  <c:v>41878</c:v>
                </c:pt>
                <c:pt idx="171">
                  <c:v>41879</c:v>
                </c:pt>
                <c:pt idx="172">
                  <c:v>41880</c:v>
                </c:pt>
                <c:pt idx="173">
                  <c:v>41883</c:v>
                </c:pt>
                <c:pt idx="174">
                  <c:v>41884</c:v>
                </c:pt>
                <c:pt idx="175">
                  <c:v>41885</c:v>
                </c:pt>
                <c:pt idx="176">
                  <c:v>41886</c:v>
                </c:pt>
                <c:pt idx="177">
                  <c:v>41887</c:v>
                </c:pt>
                <c:pt idx="178">
                  <c:v>41890</c:v>
                </c:pt>
                <c:pt idx="179">
                  <c:v>41891</c:v>
                </c:pt>
                <c:pt idx="180">
                  <c:v>41892</c:v>
                </c:pt>
                <c:pt idx="181">
                  <c:v>41893</c:v>
                </c:pt>
                <c:pt idx="182">
                  <c:v>41894</c:v>
                </c:pt>
                <c:pt idx="183">
                  <c:v>41897</c:v>
                </c:pt>
                <c:pt idx="184">
                  <c:v>41898</c:v>
                </c:pt>
                <c:pt idx="185">
                  <c:v>41899</c:v>
                </c:pt>
                <c:pt idx="186">
                  <c:v>41900</c:v>
                </c:pt>
                <c:pt idx="187">
                  <c:v>41901</c:v>
                </c:pt>
                <c:pt idx="188">
                  <c:v>41904</c:v>
                </c:pt>
                <c:pt idx="189">
                  <c:v>41905</c:v>
                </c:pt>
                <c:pt idx="190">
                  <c:v>41906</c:v>
                </c:pt>
                <c:pt idx="191">
                  <c:v>41907</c:v>
                </c:pt>
                <c:pt idx="192">
                  <c:v>41908</c:v>
                </c:pt>
                <c:pt idx="193">
                  <c:v>41911</c:v>
                </c:pt>
                <c:pt idx="194">
                  <c:v>41912</c:v>
                </c:pt>
                <c:pt idx="195">
                  <c:v>41913</c:v>
                </c:pt>
                <c:pt idx="196">
                  <c:v>41914</c:v>
                </c:pt>
                <c:pt idx="197">
                  <c:v>41915</c:v>
                </c:pt>
                <c:pt idx="198">
                  <c:v>41918</c:v>
                </c:pt>
                <c:pt idx="199">
                  <c:v>41919</c:v>
                </c:pt>
                <c:pt idx="200">
                  <c:v>41920</c:v>
                </c:pt>
                <c:pt idx="201">
                  <c:v>41921</c:v>
                </c:pt>
                <c:pt idx="202">
                  <c:v>41922</c:v>
                </c:pt>
                <c:pt idx="203">
                  <c:v>41925</c:v>
                </c:pt>
                <c:pt idx="204">
                  <c:v>41926</c:v>
                </c:pt>
                <c:pt idx="205">
                  <c:v>41927</c:v>
                </c:pt>
                <c:pt idx="206">
                  <c:v>41928</c:v>
                </c:pt>
                <c:pt idx="207">
                  <c:v>41929</c:v>
                </c:pt>
                <c:pt idx="208">
                  <c:v>41932</c:v>
                </c:pt>
                <c:pt idx="209">
                  <c:v>41933</c:v>
                </c:pt>
                <c:pt idx="210">
                  <c:v>41934</c:v>
                </c:pt>
                <c:pt idx="211">
                  <c:v>41935</c:v>
                </c:pt>
                <c:pt idx="212">
                  <c:v>41936</c:v>
                </c:pt>
                <c:pt idx="213">
                  <c:v>41939</c:v>
                </c:pt>
                <c:pt idx="214">
                  <c:v>41940</c:v>
                </c:pt>
                <c:pt idx="215">
                  <c:v>41941</c:v>
                </c:pt>
                <c:pt idx="216">
                  <c:v>41942</c:v>
                </c:pt>
                <c:pt idx="217">
                  <c:v>41943</c:v>
                </c:pt>
                <c:pt idx="218">
                  <c:v>41946</c:v>
                </c:pt>
                <c:pt idx="219">
                  <c:v>41947</c:v>
                </c:pt>
                <c:pt idx="220">
                  <c:v>41948</c:v>
                </c:pt>
                <c:pt idx="221">
                  <c:v>41949</c:v>
                </c:pt>
                <c:pt idx="222">
                  <c:v>41950</c:v>
                </c:pt>
                <c:pt idx="223">
                  <c:v>41953</c:v>
                </c:pt>
                <c:pt idx="224">
                  <c:v>41954</c:v>
                </c:pt>
                <c:pt idx="225">
                  <c:v>41955</c:v>
                </c:pt>
                <c:pt idx="226">
                  <c:v>41956</c:v>
                </c:pt>
                <c:pt idx="227">
                  <c:v>41957</c:v>
                </c:pt>
                <c:pt idx="228">
                  <c:v>41960</c:v>
                </c:pt>
                <c:pt idx="229">
                  <c:v>41961</c:v>
                </c:pt>
                <c:pt idx="230">
                  <c:v>41962</c:v>
                </c:pt>
                <c:pt idx="231">
                  <c:v>41963</c:v>
                </c:pt>
                <c:pt idx="232">
                  <c:v>41964</c:v>
                </c:pt>
                <c:pt idx="233">
                  <c:v>41967</c:v>
                </c:pt>
                <c:pt idx="234">
                  <c:v>41968</c:v>
                </c:pt>
                <c:pt idx="235">
                  <c:v>41969</c:v>
                </c:pt>
                <c:pt idx="236">
                  <c:v>41970</c:v>
                </c:pt>
                <c:pt idx="237">
                  <c:v>41971</c:v>
                </c:pt>
                <c:pt idx="238">
                  <c:v>41974</c:v>
                </c:pt>
                <c:pt idx="239">
                  <c:v>41975</c:v>
                </c:pt>
                <c:pt idx="240">
                  <c:v>41976</c:v>
                </c:pt>
                <c:pt idx="241">
                  <c:v>41977</c:v>
                </c:pt>
                <c:pt idx="242">
                  <c:v>41978</c:v>
                </c:pt>
                <c:pt idx="243">
                  <c:v>41981</c:v>
                </c:pt>
                <c:pt idx="244">
                  <c:v>41982</c:v>
                </c:pt>
                <c:pt idx="245">
                  <c:v>41983</c:v>
                </c:pt>
                <c:pt idx="246">
                  <c:v>41984</c:v>
                </c:pt>
                <c:pt idx="247">
                  <c:v>41985</c:v>
                </c:pt>
                <c:pt idx="248">
                  <c:v>41988</c:v>
                </c:pt>
                <c:pt idx="249">
                  <c:v>41989</c:v>
                </c:pt>
                <c:pt idx="250">
                  <c:v>41990</c:v>
                </c:pt>
                <c:pt idx="251">
                  <c:v>41991</c:v>
                </c:pt>
                <c:pt idx="252">
                  <c:v>41992</c:v>
                </c:pt>
                <c:pt idx="253">
                  <c:v>41995</c:v>
                </c:pt>
                <c:pt idx="254">
                  <c:v>41996</c:v>
                </c:pt>
                <c:pt idx="255">
                  <c:v>41997</c:v>
                </c:pt>
                <c:pt idx="256">
                  <c:v>41998</c:v>
                </c:pt>
                <c:pt idx="257">
                  <c:v>41999</c:v>
                </c:pt>
                <c:pt idx="258">
                  <c:v>42002</c:v>
                </c:pt>
                <c:pt idx="259">
                  <c:v>42003</c:v>
                </c:pt>
                <c:pt idx="260">
                  <c:v>42004</c:v>
                </c:pt>
                <c:pt idx="261">
                  <c:v>42005</c:v>
                </c:pt>
                <c:pt idx="262">
                  <c:v>42006</c:v>
                </c:pt>
                <c:pt idx="263">
                  <c:v>42009</c:v>
                </c:pt>
                <c:pt idx="264">
                  <c:v>42010</c:v>
                </c:pt>
                <c:pt idx="265">
                  <c:v>42011</c:v>
                </c:pt>
                <c:pt idx="266">
                  <c:v>42012</c:v>
                </c:pt>
                <c:pt idx="267">
                  <c:v>42013</c:v>
                </c:pt>
                <c:pt idx="268">
                  <c:v>42016</c:v>
                </c:pt>
                <c:pt idx="269">
                  <c:v>42017</c:v>
                </c:pt>
                <c:pt idx="270">
                  <c:v>42018</c:v>
                </c:pt>
                <c:pt idx="271">
                  <c:v>42019</c:v>
                </c:pt>
                <c:pt idx="272">
                  <c:v>42020</c:v>
                </c:pt>
                <c:pt idx="273">
                  <c:v>42023</c:v>
                </c:pt>
                <c:pt idx="274">
                  <c:v>42024</c:v>
                </c:pt>
                <c:pt idx="275">
                  <c:v>42025</c:v>
                </c:pt>
                <c:pt idx="276">
                  <c:v>42026</c:v>
                </c:pt>
                <c:pt idx="277">
                  <c:v>42027</c:v>
                </c:pt>
                <c:pt idx="278">
                  <c:v>42030</c:v>
                </c:pt>
                <c:pt idx="279">
                  <c:v>42031</c:v>
                </c:pt>
                <c:pt idx="280">
                  <c:v>42032</c:v>
                </c:pt>
                <c:pt idx="281">
                  <c:v>42033</c:v>
                </c:pt>
                <c:pt idx="282">
                  <c:v>42034</c:v>
                </c:pt>
                <c:pt idx="283">
                  <c:v>42037</c:v>
                </c:pt>
                <c:pt idx="284">
                  <c:v>42038</c:v>
                </c:pt>
                <c:pt idx="285">
                  <c:v>42039</c:v>
                </c:pt>
                <c:pt idx="286">
                  <c:v>42040</c:v>
                </c:pt>
                <c:pt idx="287">
                  <c:v>42041</c:v>
                </c:pt>
                <c:pt idx="288">
                  <c:v>42044</c:v>
                </c:pt>
                <c:pt idx="289">
                  <c:v>42045</c:v>
                </c:pt>
                <c:pt idx="290">
                  <c:v>42046</c:v>
                </c:pt>
                <c:pt idx="291">
                  <c:v>42047</c:v>
                </c:pt>
                <c:pt idx="292">
                  <c:v>42048</c:v>
                </c:pt>
                <c:pt idx="293">
                  <c:v>42051</c:v>
                </c:pt>
                <c:pt idx="294">
                  <c:v>42052</c:v>
                </c:pt>
                <c:pt idx="295">
                  <c:v>42053</c:v>
                </c:pt>
                <c:pt idx="296">
                  <c:v>42054</c:v>
                </c:pt>
                <c:pt idx="297">
                  <c:v>42055</c:v>
                </c:pt>
                <c:pt idx="298">
                  <c:v>42058</c:v>
                </c:pt>
                <c:pt idx="299">
                  <c:v>42059</c:v>
                </c:pt>
                <c:pt idx="300">
                  <c:v>42060</c:v>
                </c:pt>
                <c:pt idx="301">
                  <c:v>42061</c:v>
                </c:pt>
                <c:pt idx="302">
                  <c:v>42062</c:v>
                </c:pt>
                <c:pt idx="303">
                  <c:v>42065</c:v>
                </c:pt>
                <c:pt idx="304">
                  <c:v>42066</c:v>
                </c:pt>
                <c:pt idx="305">
                  <c:v>42067</c:v>
                </c:pt>
                <c:pt idx="306">
                  <c:v>42068</c:v>
                </c:pt>
                <c:pt idx="307">
                  <c:v>42069</c:v>
                </c:pt>
                <c:pt idx="308">
                  <c:v>42072</c:v>
                </c:pt>
                <c:pt idx="309">
                  <c:v>42073</c:v>
                </c:pt>
                <c:pt idx="310">
                  <c:v>42074</c:v>
                </c:pt>
                <c:pt idx="311">
                  <c:v>42075</c:v>
                </c:pt>
                <c:pt idx="312">
                  <c:v>42076</c:v>
                </c:pt>
                <c:pt idx="313">
                  <c:v>42079</c:v>
                </c:pt>
                <c:pt idx="314">
                  <c:v>42080</c:v>
                </c:pt>
                <c:pt idx="315">
                  <c:v>42081</c:v>
                </c:pt>
                <c:pt idx="316">
                  <c:v>42082</c:v>
                </c:pt>
                <c:pt idx="317">
                  <c:v>42083</c:v>
                </c:pt>
                <c:pt idx="318">
                  <c:v>42086</c:v>
                </c:pt>
                <c:pt idx="319">
                  <c:v>42087</c:v>
                </c:pt>
                <c:pt idx="320">
                  <c:v>42088</c:v>
                </c:pt>
                <c:pt idx="321">
                  <c:v>42089</c:v>
                </c:pt>
                <c:pt idx="322">
                  <c:v>42090</c:v>
                </c:pt>
                <c:pt idx="323">
                  <c:v>42093</c:v>
                </c:pt>
                <c:pt idx="324">
                  <c:v>42094</c:v>
                </c:pt>
                <c:pt idx="325">
                  <c:v>42095</c:v>
                </c:pt>
                <c:pt idx="326">
                  <c:v>42096</c:v>
                </c:pt>
                <c:pt idx="327">
                  <c:v>42097</c:v>
                </c:pt>
                <c:pt idx="328">
                  <c:v>42100</c:v>
                </c:pt>
                <c:pt idx="329">
                  <c:v>42101</c:v>
                </c:pt>
                <c:pt idx="330">
                  <c:v>42102</c:v>
                </c:pt>
                <c:pt idx="331">
                  <c:v>42103</c:v>
                </c:pt>
                <c:pt idx="332">
                  <c:v>42104</c:v>
                </c:pt>
                <c:pt idx="333">
                  <c:v>42107</c:v>
                </c:pt>
                <c:pt idx="334">
                  <c:v>42108</c:v>
                </c:pt>
                <c:pt idx="335">
                  <c:v>42109</c:v>
                </c:pt>
                <c:pt idx="336">
                  <c:v>42110</c:v>
                </c:pt>
                <c:pt idx="337">
                  <c:v>42111</c:v>
                </c:pt>
                <c:pt idx="338">
                  <c:v>42114</c:v>
                </c:pt>
                <c:pt idx="339">
                  <c:v>42115</c:v>
                </c:pt>
                <c:pt idx="340">
                  <c:v>42116</c:v>
                </c:pt>
                <c:pt idx="341">
                  <c:v>42117</c:v>
                </c:pt>
                <c:pt idx="342">
                  <c:v>42118</c:v>
                </c:pt>
                <c:pt idx="343">
                  <c:v>42121</c:v>
                </c:pt>
                <c:pt idx="344">
                  <c:v>42122</c:v>
                </c:pt>
                <c:pt idx="345">
                  <c:v>42123</c:v>
                </c:pt>
                <c:pt idx="346">
                  <c:v>42124</c:v>
                </c:pt>
                <c:pt idx="347">
                  <c:v>42125</c:v>
                </c:pt>
                <c:pt idx="348">
                  <c:v>42128</c:v>
                </c:pt>
                <c:pt idx="349">
                  <c:v>42129</c:v>
                </c:pt>
                <c:pt idx="350">
                  <c:v>42130</c:v>
                </c:pt>
                <c:pt idx="351">
                  <c:v>42131</c:v>
                </c:pt>
                <c:pt idx="352">
                  <c:v>42132</c:v>
                </c:pt>
                <c:pt idx="353">
                  <c:v>42135</c:v>
                </c:pt>
                <c:pt idx="354">
                  <c:v>42136</c:v>
                </c:pt>
                <c:pt idx="355">
                  <c:v>42137</c:v>
                </c:pt>
                <c:pt idx="356">
                  <c:v>42138</c:v>
                </c:pt>
                <c:pt idx="357">
                  <c:v>42139</c:v>
                </c:pt>
                <c:pt idx="358">
                  <c:v>42142</c:v>
                </c:pt>
                <c:pt idx="359">
                  <c:v>42143</c:v>
                </c:pt>
                <c:pt idx="360">
                  <c:v>42144</c:v>
                </c:pt>
                <c:pt idx="361">
                  <c:v>42145</c:v>
                </c:pt>
                <c:pt idx="362">
                  <c:v>42146</c:v>
                </c:pt>
                <c:pt idx="363">
                  <c:v>42149</c:v>
                </c:pt>
                <c:pt idx="364">
                  <c:v>42150</c:v>
                </c:pt>
                <c:pt idx="365">
                  <c:v>42151</c:v>
                </c:pt>
                <c:pt idx="366">
                  <c:v>42152</c:v>
                </c:pt>
                <c:pt idx="367">
                  <c:v>42153</c:v>
                </c:pt>
                <c:pt idx="368">
                  <c:v>42156</c:v>
                </c:pt>
                <c:pt idx="369">
                  <c:v>42157</c:v>
                </c:pt>
                <c:pt idx="370">
                  <c:v>42158</c:v>
                </c:pt>
                <c:pt idx="371">
                  <c:v>42159</c:v>
                </c:pt>
                <c:pt idx="372">
                  <c:v>42160</c:v>
                </c:pt>
                <c:pt idx="373">
                  <c:v>42163</c:v>
                </c:pt>
                <c:pt idx="374">
                  <c:v>42164</c:v>
                </c:pt>
                <c:pt idx="375">
                  <c:v>42165</c:v>
                </c:pt>
                <c:pt idx="376">
                  <c:v>42166</c:v>
                </c:pt>
                <c:pt idx="377">
                  <c:v>42167</c:v>
                </c:pt>
                <c:pt idx="378">
                  <c:v>42170</c:v>
                </c:pt>
                <c:pt idx="379">
                  <c:v>42171</c:v>
                </c:pt>
                <c:pt idx="380">
                  <c:v>42172</c:v>
                </c:pt>
                <c:pt idx="381">
                  <c:v>42173</c:v>
                </c:pt>
                <c:pt idx="382">
                  <c:v>42174</c:v>
                </c:pt>
                <c:pt idx="383">
                  <c:v>42177</c:v>
                </c:pt>
                <c:pt idx="384">
                  <c:v>42178</c:v>
                </c:pt>
                <c:pt idx="385">
                  <c:v>42179</c:v>
                </c:pt>
                <c:pt idx="386">
                  <c:v>42180</c:v>
                </c:pt>
                <c:pt idx="387">
                  <c:v>42181</c:v>
                </c:pt>
                <c:pt idx="388">
                  <c:v>42184</c:v>
                </c:pt>
                <c:pt idx="389">
                  <c:v>42185</c:v>
                </c:pt>
                <c:pt idx="390">
                  <c:v>42186</c:v>
                </c:pt>
                <c:pt idx="391">
                  <c:v>42187</c:v>
                </c:pt>
                <c:pt idx="392">
                  <c:v>42188</c:v>
                </c:pt>
                <c:pt idx="393">
                  <c:v>42191</c:v>
                </c:pt>
                <c:pt idx="394">
                  <c:v>42192</c:v>
                </c:pt>
                <c:pt idx="395">
                  <c:v>42193</c:v>
                </c:pt>
                <c:pt idx="396">
                  <c:v>42194</c:v>
                </c:pt>
                <c:pt idx="397">
                  <c:v>42195</c:v>
                </c:pt>
                <c:pt idx="398">
                  <c:v>42198</c:v>
                </c:pt>
                <c:pt idx="399">
                  <c:v>42199</c:v>
                </c:pt>
                <c:pt idx="400">
                  <c:v>42200</c:v>
                </c:pt>
                <c:pt idx="401">
                  <c:v>42201</c:v>
                </c:pt>
                <c:pt idx="402">
                  <c:v>42202</c:v>
                </c:pt>
                <c:pt idx="403">
                  <c:v>42205</c:v>
                </c:pt>
                <c:pt idx="404">
                  <c:v>42206</c:v>
                </c:pt>
                <c:pt idx="405">
                  <c:v>42207</c:v>
                </c:pt>
                <c:pt idx="406">
                  <c:v>42208</c:v>
                </c:pt>
                <c:pt idx="407">
                  <c:v>42209</c:v>
                </c:pt>
                <c:pt idx="408">
                  <c:v>42212</c:v>
                </c:pt>
                <c:pt idx="409">
                  <c:v>42213</c:v>
                </c:pt>
                <c:pt idx="410">
                  <c:v>42214</c:v>
                </c:pt>
                <c:pt idx="411">
                  <c:v>42215</c:v>
                </c:pt>
                <c:pt idx="412">
                  <c:v>42216</c:v>
                </c:pt>
                <c:pt idx="413">
                  <c:v>42219</c:v>
                </c:pt>
                <c:pt idx="414">
                  <c:v>42220</c:v>
                </c:pt>
                <c:pt idx="415">
                  <c:v>42221</c:v>
                </c:pt>
                <c:pt idx="416">
                  <c:v>42222</c:v>
                </c:pt>
                <c:pt idx="417">
                  <c:v>42223</c:v>
                </c:pt>
                <c:pt idx="418">
                  <c:v>42226</c:v>
                </c:pt>
                <c:pt idx="419">
                  <c:v>42227</c:v>
                </c:pt>
                <c:pt idx="420">
                  <c:v>42228</c:v>
                </c:pt>
                <c:pt idx="421">
                  <c:v>42229</c:v>
                </c:pt>
                <c:pt idx="422">
                  <c:v>42230</c:v>
                </c:pt>
                <c:pt idx="423">
                  <c:v>42233</c:v>
                </c:pt>
                <c:pt idx="424">
                  <c:v>42234</c:v>
                </c:pt>
                <c:pt idx="425">
                  <c:v>42235</c:v>
                </c:pt>
                <c:pt idx="426">
                  <c:v>42236</c:v>
                </c:pt>
                <c:pt idx="427">
                  <c:v>42237</c:v>
                </c:pt>
                <c:pt idx="428">
                  <c:v>42240</c:v>
                </c:pt>
                <c:pt idx="429">
                  <c:v>42241</c:v>
                </c:pt>
                <c:pt idx="430">
                  <c:v>42242</c:v>
                </c:pt>
                <c:pt idx="431">
                  <c:v>42243</c:v>
                </c:pt>
                <c:pt idx="432">
                  <c:v>42244</c:v>
                </c:pt>
                <c:pt idx="433">
                  <c:v>42247</c:v>
                </c:pt>
                <c:pt idx="434">
                  <c:v>42248</c:v>
                </c:pt>
                <c:pt idx="435">
                  <c:v>42249</c:v>
                </c:pt>
                <c:pt idx="436">
                  <c:v>42250</c:v>
                </c:pt>
                <c:pt idx="437">
                  <c:v>42251</c:v>
                </c:pt>
                <c:pt idx="438">
                  <c:v>42254</c:v>
                </c:pt>
                <c:pt idx="439">
                  <c:v>42255</c:v>
                </c:pt>
                <c:pt idx="440">
                  <c:v>42256</c:v>
                </c:pt>
                <c:pt idx="441">
                  <c:v>42257</c:v>
                </c:pt>
                <c:pt idx="442">
                  <c:v>42258</c:v>
                </c:pt>
                <c:pt idx="443">
                  <c:v>42261</c:v>
                </c:pt>
                <c:pt idx="444">
                  <c:v>42262</c:v>
                </c:pt>
                <c:pt idx="445">
                  <c:v>42263</c:v>
                </c:pt>
                <c:pt idx="446">
                  <c:v>42264</c:v>
                </c:pt>
                <c:pt idx="447">
                  <c:v>42265</c:v>
                </c:pt>
                <c:pt idx="448">
                  <c:v>42268</c:v>
                </c:pt>
                <c:pt idx="449">
                  <c:v>42269</c:v>
                </c:pt>
                <c:pt idx="450">
                  <c:v>42270</c:v>
                </c:pt>
                <c:pt idx="451">
                  <c:v>42271</c:v>
                </c:pt>
                <c:pt idx="452">
                  <c:v>42272</c:v>
                </c:pt>
                <c:pt idx="453">
                  <c:v>42275</c:v>
                </c:pt>
                <c:pt idx="454">
                  <c:v>42276</c:v>
                </c:pt>
                <c:pt idx="455">
                  <c:v>42277</c:v>
                </c:pt>
                <c:pt idx="456">
                  <c:v>42278</c:v>
                </c:pt>
                <c:pt idx="457">
                  <c:v>42279</c:v>
                </c:pt>
                <c:pt idx="458">
                  <c:v>42282</c:v>
                </c:pt>
                <c:pt idx="459">
                  <c:v>42283</c:v>
                </c:pt>
                <c:pt idx="460">
                  <c:v>42284</c:v>
                </c:pt>
                <c:pt idx="461">
                  <c:v>42285</c:v>
                </c:pt>
                <c:pt idx="462">
                  <c:v>42286</c:v>
                </c:pt>
                <c:pt idx="463">
                  <c:v>42289</c:v>
                </c:pt>
                <c:pt idx="464">
                  <c:v>42290</c:v>
                </c:pt>
                <c:pt idx="465">
                  <c:v>42291</c:v>
                </c:pt>
                <c:pt idx="466">
                  <c:v>42292</c:v>
                </c:pt>
                <c:pt idx="467">
                  <c:v>42293</c:v>
                </c:pt>
                <c:pt idx="468">
                  <c:v>42296</c:v>
                </c:pt>
                <c:pt idx="469">
                  <c:v>42297</c:v>
                </c:pt>
                <c:pt idx="470">
                  <c:v>42298</c:v>
                </c:pt>
                <c:pt idx="471">
                  <c:v>42299</c:v>
                </c:pt>
                <c:pt idx="472">
                  <c:v>42300</c:v>
                </c:pt>
                <c:pt idx="473">
                  <c:v>42303</c:v>
                </c:pt>
                <c:pt idx="474">
                  <c:v>42304</c:v>
                </c:pt>
                <c:pt idx="475">
                  <c:v>42305</c:v>
                </c:pt>
                <c:pt idx="476">
                  <c:v>42306</c:v>
                </c:pt>
                <c:pt idx="477">
                  <c:v>42307</c:v>
                </c:pt>
                <c:pt idx="478">
                  <c:v>42310</c:v>
                </c:pt>
                <c:pt idx="479">
                  <c:v>42311</c:v>
                </c:pt>
                <c:pt idx="480">
                  <c:v>42312</c:v>
                </c:pt>
                <c:pt idx="481">
                  <c:v>42313</c:v>
                </c:pt>
                <c:pt idx="482">
                  <c:v>42314</c:v>
                </c:pt>
                <c:pt idx="483">
                  <c:v>42317</c:v>
                </c:pt>
                <c:pt idx="484">
                  <c:v>42318</c:v>
                </c:pt>
                <c:pt idx="485">
                  <c:v>42319</c:v>
                </c:pt>
                <c:pt idx="486">
                  <c:v>42320</c:v>
                </c:pt>
                <c:pt idx="487">
                  <c:v>42321</c:v>
                </c:pt>
                <c:pt idx="488">
                  <c:v>42324</c:v>
                </c:pt>
                <c:pt idx="489">
                  <c:v>42325</c:v>
                </c:pt>
                <c:pt idx="490">
                  <c:v>42326</c:v>
                </c:pt>
                <c:pt idx="491">
                  <c:v>42327</c:v>
                </c:pt>
                <c:pt idx="492">
                  <c:v>42328</c:v>
                </c:pt>
                <c:pt idx="493">
                  <c:v>42331</c:v>
                </c:pt>
                <c:pt idx="494">
                  <c:v>42332</c:v>
                </c:pt>
                <c:pt idx="495">
                  <c:v>42333</c:v>
                </c:pt>
                <c:pt idx="496">
                  <c:v>42334</c:v>
                </c:pt>
                <c:pt idx="497">
                  <c:v>42335</c:v>
                </c:pt>
                <c:pt idx="498">
                  <c:v>42338</c:v>
                </c:pt>
                <c:pt idx="499">
                  <c:v>42339</c:v>
                </c:pt>
                <c:pt idx="500">
                  <c:v>42340</c:v>
                </c:pt>
                <c:pt idx="501">
                  <c:v>42341</c:v>
                </c:pt>
                <c:pt idx="502">
                  <c:v>42342</c:v>
                </c:pt>
                <c:pt idx="503">
                  <c:v>42345</c:v>
                </c:pt>
                <c:pt idx="504">
                  <c:v>42346</c:v>
                </c:pt>
                <c:pt idx="505">
                  <c:v>42347</c:v>
                </c:pt>
                <c:pt idx="506">
                  <c:v>42348</c:v>
                </c:pt>
                <c:pt idx="507">
                  <c:v>42349</c:v>
                </c:pt>
                <c:pt idx="508">
                  <c:v>42352</c:v>
                </c:pt>
                <c:pt idx="509">
                  <c:v>42353</c:v>
                </c:pt>
                <c:pt idx="510">
                  <c:v>42354</c:v>
                </c:pt>
                <c:pt idx="511">
                  <c:v>42355</c:v>
                </c:pt>
                <c:pt idx="512">
                  <c:v>42356</c:v>
                </c:pt>
                <c:pt idx="513">
                  <c:v>42359</c:v>
                </c:pt>
                <c:pt idx="514">
                  <c:v>42360</c:v>
                </c:pt>
                <c:pt idx="515">
                  <c:v>42361</c:v>
                </c:pt>
                <c:pt idx="516">
                  <c:v>42362</c:v>
                </c:pt>
                <c:pt idx="517">
                  <c:v>42363</c:v>
                </c:pt>
                <c:pt idx="518">
                  <c:v>42366</c:v>
                </c:pt>
                <c:pt idx="519">
                  <c:v>42367</c:v>
                </c:pt>
                <c:pt idx="520">
                  <c:v>42368</c:v>
                </c:pt>
                <c:pt idx="521">
                  <c:v>42369</c:v>
                </c:pt>
                <c:pt idx="522">
                  <c:v>42370</c:v>
                </c:pt>
                <c:pt idx="523">
                  <c:v>42373</c:v>
                </c:pt>
                <c:pt idx="524">
                  <c:v>42374</c:v>
                </c:pt>
                <c:pt idx="525">
                  <c:v>42375</c:v>
                </c:pt>
                <c:pt idx="526">
                  <c:v>42376</c:v>
                </c:pt>
                <c:pt idx="527">
                  <c:v>42377</c:v>
                </c:pt>
                <c:pt idx="528">
                  <c:v>42380</c:v>
                </c:pt>
                <c:pt idx="529">
                  <c:v>42381</c:v>
                </c:pt>
                <c:pt idx="530">
                  <c:v>42382</c:v>
                </c:pt>
                <c:pt idx="531">
                  <c:v>42383</c:v>
                </c:pt>
                <c:pt idx="532">
                  <c:v>42384</c:v>
                </c:pt>
                <c:pt idx="533">
                  <c:v>42387</c:v>
                </c:pt>
                <c:pt idx="534">
                  <c:v>42388</c:v>
                </c:pt>
                <c:pt idx="535">
                  <c:v>42389</c:v>
                </c:pt>
                <c:pt idx="536">
                  <c:v>42390</c:v>
                </c:pt>
                <c:pt idx="537">
                  <c:v>42391</c:v>
                </c:pt>
                <c:pt idx="538">
                  <c:v>42394</c:v>
                </c:pt>
                <c:pt idx="539">
                  <c:v>42395</c:v>
                </c:pt>
                <c:pt idx="540">
                  <c:v>42396</c:v>
                </c:pt>
                <c:pt idx="541">
                  <c:v>42397</c:v>
                </c:pt>
                <c:pt idx="542">
                  <c:v>42398</c:v>
                </c:pt>
                <c:pt idx="543">
                  <c:v>42401</c:v>
                </c:pt>
                <c:pt idx="544">
                  <c:v>42402</c:v>
                </c:pt>
                <c:pt idx="545">
                  <c:v>42403</c:v>
                </c:pt>
                <c:pt idx="546">
                  <c:v>42404</c:v>
                </c:pt>
                <c:pt idx="547">
                  <c:v>42405</c:v>
                </c:pt>
                <c:pt idx="548">
                  <c:v>42408</c:v>
                </c:pt>
                <c:pt idx="549">
                  <c:v>42409</c:v>
                </c:pt>
                <c:pt idx="550">
                  <c:v>42410</c:v>
                </c:pt>
                <c:pt idx="551">
                  <c:v>42411</c:v>
                </c:pt>
                <c:pt idx="552">
                  <c:v>42412</c:v>
                </c:pt>
                <c:pt idx="553">
                  <c:v>42415</c:v>
                </c:pt>
                <c:pt idx="554">
                  <c:v>42416</c:v>
                </c:pt>
                <c:pt idx="555">
                  <c:v>42417</c:v>
                </c:pt>
                <c:pt idx="556">
                  <c:v>42418</c:v>
                </c:pt>
                <c:pt idx="557">
                  <c:v>42419</c:v>
                </c:pt>
                <c:pt idx="558">
                  <c:v>42422</c:v>
                </c:pt>
                <c:pt idx="559">
                  <c:v>42423</c:v>
                </c:pt>
                <c:pt idx="560">
                  <c:v>42424</c:v>
                </c:pt>
                <c:pt idx="561">
                  <c:v>42425</c:v>
                </c:pt>
                <c:pt idx="562">
                  <c:v>42426</c:v>
                </c:pt>
                <c:pt idx="563">
                  <c:v>42429</c:v>
                </c:pt>
                <c:pt idx="564">
                  <c:v>42430</c:v>
                </c:pt>
                <c:pt idx="565">
                  <c:v>42431</c:v>
                </c:pt>
                <c:pt idx="566">
                  <c:v>42432</c:v>
                </c:pt>
                <c:pt idx="567">
                  <c:v>42433</c:v>
                </c:pt>
                <c:pt idx="568">
                  <c:v>42436</c:v>
                </c:pt>
                <c:pt idx="569">
                  <c:v>42437</c:v>
                </c:pt>
                <c:pt idx="570">
                  <c:v>42438</c:v>
                </c:pt>
                <c:pt idx="571">
                  <c:v>42439</c:v>
                </c:pt>
                <c:pt idx="572">
                  <c:v>42440</c:v>
                </c:pt>
                <c:pt idx="573">
                  <c:v>42443</c:v>
                </c:pt>
                <c:pt idx="574">
                  <c:v>42444</c:v>
                </c:pt>
                <c:pt idx="575">
                  <c:v>42445</c:v>
                </c:pt>
                <c:pt idx="576">
                  <c:v>42446</c:v>
                </c:pt>
                <c:pt idx="577">
                  <c:v>42447</c:v>
                </c:pt>
                <c:pt idx="578">
                  <c:v>42450</c:v>
                </c:pt>
                <c:pt idx="579">
                  <c:v>42451</c:v>
                </c:pt>
                <c:pt idx="580">
                  <c:v>42452</c:v>
                </c:pt>
                <c:pt idx="581">
                  <c:v>42453</c:v>
                </c:pt>
                <c:pt idx="582">
                  <c:v>42454</c:v>
                </c:pt>
                <c:pt idx="583">
                  <c:v>42457</c:v>
                </c:pt>
                <c:pt idx="584">
                  <c:v>42458</c:v>
                </c:pt>
                <c:pt idx="585">
                  <c:v>42459</c:v>
                </c:pt>
                <c:pt idx="586">
                  <c:v>42460</c:v>
                </c:pt>
                <c:pt idx="587">
                  <c:v>42461</c:v>
                </c:pt>
                <c:pt idx="588">
                  <c:v>42464</c:v>
                </c:pt>
                <c:pt idx="589">
                  <c:v>42465</c:v>
                </c:pt>
                <c:pt idx="590">
                  <c:v>42466</c:v>
                </c:pt>
                <c:pt idx="591">
                  <c:v>42467</c:v>
                </c:pt>
                <c:pt idx="592">
                  <c:v>42468</c:v>
                </c:pt>
                <c:pt idx="593">
                  <c:v>42471</c:v>
                </c:pt>
                <c:pt idx="594">
                  <c:v>42472</c:v>
                </c:pt>
                <c:pt idx="595">
                  <c:v>42473</c:v>
                </c:pt>
                <c:pt idx="596">
                  <c:v>42474</c:v>
                </c:pt>
                <c:pt idx="597">
                  <c:v>42475</c:v>
                </c:pt>
                <c:pt idx="598">
                  <c:v>42478</c:v>
                </c:pt>
                <c:pt idx="599">
                  <c:v>42479</c:v>
                </c:pt>
                <c:pt idx="600">
                  <c:v>42480</c:v>
                </c:pt>
                <c:pt idx="601">
                  <c:v>42481</c:v>
                </c:pt>
                <c:pt idx="602">
                  <c:v>42482</c:v>
                </c:pt>
                <c:pt idx="603">
                  <c:v>42485</c:v>
                </c:pt>
                <c:pt idx="604">
                  <c:v>42486</c:v>
                </c:pt>
                <c:pt idx="605">
                  <c:v>42487</c:v>
                </c:pt>
                <c:pt idx="606">
                  <c:v>42488</c:v>
                </c:pt>
                <c:pt idx="607">
                  <c:v>42489</c:v>
                </c:pt>
                <c:pt idx="608">
                  <c:v>42492</c:v>
                </c:pt>
                <c:pt idx="609">
                  <c:v>42493</c:v>
                </c:pt>
                <c:pt idx="610">
                  <c:v>42494</c:v>
                </c:pt>
                <c:pt idx="611">
                  <c:v>42495</c:v>
                </c:pt>
                <c:pt idx="612">
                  <c:v>42496</c:v>
                </c:pt>
                <c:pt idx="613">
                  <c:v>42499</c:v>
                </c:pt>
                <c:pt idx="614">
                  <c:v>42500</c:v>
                </c:pt>
                <c:pt idx="615">
                  <c:v>42501</c:v>
                </c:pt>
                <c:pt idx="616">
                  <c:v>42502</c:v>
                </c:pt>
                <c:pt idx="617">
                  <c:v>42503</c:v>
                </c:pt>
                <c:pt idx="618">
                  <c:v>42506</c:v>
                </c:pt>
                <c:pt idx="619">
                  <c:v>42507</c:v>
                </c:pt>
                <c:pt idx="620">
                  <c:v>42508</c:v>
                </c:pt>
                <c:pt idx="621">
                  <c:v>42509</c:v>
                </c:pt>
                <c:pt idx="622">
                  <c:v>42510</c:v>
                </c:pt>
                <c:pt idx="623">
                  <c:v>42513</c:v>
                </c:pt>
                <c:pt idx="624">
                  <c:v>42514</c:v>
                </c:pt>
                <c:pt idx="625">
                  <c:v>42515</c:v>
                </c:pt>
                <c:pt idx="626">
                  <c:v>42516</c:v>
                </c:pt>
                <c:pt idx="627">
                  <c:v>42517</c:v>
                </c:pt>
                <c:pt idx="628">
                  <c:v>42520</c:v>
                </c:pt>
                <c:pt idx="629">
                  <c:v>42521</c:v>
                </c:pt>
                <c:pt idx="630">
                  <c:v>42522</c:v>
                </c:pt>
                <c:pt idx="631">
                  <c:v>42523</c:v>
                </c:pt>
                <c:pt idx="632">
                  <c:v>42524</c:v>
                </c:pt>
                <c:pt idx="633">
                  <c:v>42527</c:v>
                </c:pt>
                <c:pt idx="634">
                  <c:v>42528</c:v>
                </c:pt>
                <c:pt idx="635">
                  <c:v>42529</c:v>
                </c:pt>
                <c:pt idx="636">
                  <c:v>42530</c:v>
                </c:pt>
                <c:pt idx="637">
                  <c:v>42531</c:v>
                </c:pt>
                <c:pt idx="638">
                  <c:v>42534</c:v>
                </c:pt>
                <c:pt idx="639">
                  <c:v>42535</c:v>
                </c:pt>
                <c:pt idx="640">
                  <c:v>42536</c:v>
                </c:pt>
                <c:pt idx="641">
                  <c:v>42537</c:v>
                </c:pt>
                <c:pt idx="642">
                  <c:v>42538</c:v>
                </c:pt>
                <c:pt idx="643">
                  <c:v>42541</c:v>
                </c:pt>
                <c:pt idx="644">
                  <c:v>42542</c:v>
                </c:pt>
                <c:pt idx="645">
                  <c:v>42543</c:v>
                </c:pt>
                <c:pt idx="646">
                  <c:v>42544</c:v>
                </c:pt>
                <c:pt idx="647">
                  <c:v>42545</c:v>
                </c:pt>
                <c:pt idx="648">
                  <c:v>42548</c:v>
                </c:pt>
                <c:pt idx="649">
                  <c:v>42549</c:v>
                </c:pt>
                <c:pt idx="650">
                  <c:v>42550</c:v>
                </c:pt>
                <c:pt idx="651">
                  <c:v>42551</c:v>
                </c:pt>
                <c:pt idx="652">
                  <c:v>42552</c:v>
                </c:pt>
                <c:pt idx="653">
                  <c:v>42555</c:v>
                </c:pt>
                <c:pt idx="654">
                  <c:v>42556</c:v>
                </c:pt>
                <c:pt idx="655">
                  <c:v>42557</c:v>
                </c:pt>
                <c:pt idx="656">
                  <c:v>42558</c:v>
                </c:pt>
                <c:pt idx="657">
                  <c:v>42559</c:v>
                </c:pt>
                <c:pt idx="658">
                  <c:v>42562</c:v>
                </c:pt>
                <c:pt idx="659">
                  <c:v>42563</c:v>
                </c:pt>
                <c:pt idx="660">
                  <c:v>42564</c:v>
                </c:pt>
                <c:pt idx="661">
                  <c:v>42565</c:v>
                </c:pt>
                <c:pt idx="662">
                  <c:v>42566</c:v>
                </c:pt>
                <c:pt idx="663">
                  <c:v>42569</c:v>
                </c:pt>
                <c:pt idx="664">
                  <c:v>42570</c:v>
                </c:pt>
                <c:pt idx="665">
                  <c:v>42571</c:v>
                </c:pt>
                <c:pt idx="666">
                  <c:v>42572</c:v>
                </c:pt>
                <c:pt idx="667">
                  <c:v>42573</c:v>
                </c:pt>
                <c:pt idx="668">
                  <c:v>42576</c:v>
                </c:pt>
                <c:pt idx="669">
                  <c:v>42577</c:v>
                </c:pt>
                <c:pt idx="670">
                  <c:v>42578</c:v>
                </c:pt>
                <c:pt idx="671">
                  <c:v>42579</c:v>
                </c:pt>
                <c:pt idx="672">
                  <c:v>42580</c:v>
                </c:pt>
                <c:pt idx="673">
                  <c:v>42583</c:v>
                </c:pt>
                <c:pt idx="674">
                  <c:v>42584</c:v>
                </c:pt>
                <c:pt idx="675">
                  <c:v>42585</c:v>
                </c:pt>
                <c:pt idx="676">
                  <c:v>42586</c:v>
                </c:pt>
                <c:pt idx="677">
                  <c:v>42587</c:v>
                </c:pt>
                <c:pt idx="678">
                  <c:v>42590</c:v>
                </c:pt>
                <c:pt idx="679">
                  <c:v>42591</c:v>
                </c:pt>
                <c:pt idx="680">
                  <c:v>42592</c:v>
                </c:pt>
                <c:pt idx="681">
                  <c:v>42593</c:v>
                </c:pt>
                <c:pt idx="682">
                  <c:v>42594</c:v>
                </c:pt>
                <c:pt idx="683">
                  <c:v>42597</c:v>
                </c:pt>
                <c:pt idx="684">
                  <c:v>42598</c:v>
                </c:pt>
                <c:pt idx="685">
                  <c:v>42599</c:v>
                </c:pt>
                <c:pt idx="686">
                  <c:v>42600</c:v>
                </c:pt>
                <c:pt idx="687">
                  <c:v>42601</c:v>
                </c:pt>
                <c:pt idx="688">
                  <c:v>42604</c:v>
                </c:pt>
                <c:pt idx="689">
                  <c:v>42605</c:v>
                </c:pt>
                <c:pt idx="690">
                  <c:v>42606</c:v>
                </c:pt>
                <c:pt idx="691">
                  <c:v>42607</c:v>
                </c:pt>
                <c:pt idx="692">
                  <c:v>42608</c:v>
                </c:pt>
                <c:pt idx="693">
                  <c:v>42611</c:v>
                </c:pt>
                <c:pt idx="694">
                  <c:v>42612</c:v>
                </c:pt>
                <c:pt idx="695">
                  <c:v>42613</c:v>
                </c:pt>
                <c:pt idx="696">
                  <c:v>42614</c:v>
                </c:pt>
                <c:pt idx="697">
                  <c:v>42615</c:v>
                </c:pt>
                <c:pt idx="698">
                  <c:v>42618</c:v>
                </c:pt>
                <c:pt idx="699">
                  <c:v>42619</c:v>
                </c:pt>
                <c:pt idx="700">
                  <c:v>42620</c:v>
                </c:pt>
                <c:pt idx="701">
                  <c:v>42621</c:v>
                </c:pt>
                <c:pt idx="702">
                  <c:v>42622</c:v>
                </c:pt>
                <c:pt idx="703">
                  <c:v>42625</c:v>
                </c:pt>
                <c:pt idx="704">
                  <c:v>42626</c:v>
                </c:pt>
                <c:pt idx="705">
                  <c:v>42627</c:v>
                </c:pt>
                <c:pt idx="706">
                  <c:v>42628</c:v>
                </c:pt>
                <c:pt idx="707">
                  <c:v>42629</c:v>
                </c:pt>
                <c:pt idx="708">
                  <c:v>42632</c:v>
                </c:pt>
                <c:pt idx="709">
                  <c:v>42633</c:v>
                </c:pt>
                <c:pt idx="710">
                  <c:v>42634</c:v>
                </c:pt>
                <c:pt idx="711">
                  <c:v>42635</c:v>
                </c:pt>
                <c:pt idx="712">
                  <c:v>42636</c:v>
                </c:pt>
                <c:pt idx="713">
                  <c:v>42639</c:v>
                </c:pt>
                <c:pt idx="714">
                  <c:v>42640</c:v>
                </c:pt>
                <c:pt idx="715">
                  <c:v>42641</c:v>
                </c:pt>
                <c:pt idx="716">
                  <c:v>42642</c:v>
                </c:pt>
                <c:pt idx="717">
                  <c:v>42643</c:v>
                </c:pt>
                <c:pt idx="718">
                  <c:v>42646</c:v>
                </c:pt>
                <c:pt idx="719">
                  <c:v>42647</c:v>
                </c:pt>
                <c:pt idx="720">
                  <c:v>42648</c:v>
                </c:pt>
                <c:pt idx="721">
                  <c:v>42649</c:v>
                </c:pt>
                <c:pt idx="722">
                  <c:v>42650</c:v>
                </c:pt>
                <c:pt idx="723">
                  <c:v>42653</c:v>
                </c:pt>
                <c:pt idx="724">
                  <c:v>42654</c:v>
                </c:pt>
                <c:pt idx="725">
                  <c:v>42655</c:v>
                </c:pt>
                <c:pt idx="726">
                  <c:v>42656</c:v>
                </c:pt>
                <c:pt idx="727">
                  <c:v>42657</c:v>
                </c:pt>
                <c:pt idx="728">
                  <c:v>42660</c:v>
                </c:pt>
                <c:pt idx="729">
                  <c:v>42661</c:v>
                </c:pt>
                <c:pt idx="730">
                  <c:v>42662</c:v>
                </c:pt>
                <c:pt idx="731">
                  <c:v>42663</c:v>
                </c:pt>
                <c:pt idx="732">
                  <c:v>42664</c:v>
                </c:pt>
                <c:pt idx="733">
                  <c:v>42667</c:v>
                </c:pt>
                <c:pt idx="734">
                  <c:v>42668</c:v>
                </c:pt>
                <c:pt idx="735">
                  <c:v>42669</c:v>
                </c:pt>
                <c:pt idx="736">
                  <c:v>42670</c:v>
                </c:pt>
                <c:pt idx="737">
                  <c:v>42671</c:v>
                </c:pt>
                <c:pt idx="738">
                  <c:v>42674</c:v>
                </c:pt>
                <c:pt idx="739">
                  <c:v>42675</c:v>
                </c:pt>
                <c:pt idx="740">
                  <c:v>42676</c:v>
                </c:pt>
                <c:pt idx="741">
                  <c:v>42677</c:v>
                </c:pt>
                <c:pt idx="742">
                  <c:v>42678</c:v>
                </c:pt>
                <c:pt idx="743">
                  <c:v>42681</c:v>
                </c:pt>
                <c:pt idx="744">
                  <c:v>42682</c:v>
                </c:pt>
                <c:pt idx="745">
                  <c:v>42683</c:v>
                </c:pt>
                <c:pt idx="746">
                  <c:v>42684</c:v>
                </c:pt>
                <c:pt idx="747">
                  <c:v>42685</c:v>
                </c:pt>
                <c:pt idx="748">
                  <c:v>42688</c:v>
                </c:pt>
                <c:pt idx="749">
                  <c:v>42689</c:v>
                </c:pt>
                <c:pt idx="750">
                  <c:v>42690</c:v>
                </c:pt>
                <c:pt idx="751">
                  <c:v>42691</c:v>
                </c:pt>
                <c:pt idx="752">
                  <c:v>42692</c:v>
                </c:pt>
                <c:pt idx="753">
                  <c:v>42695</c:v>
                </c:pt>
                <c:pt idx="754">
                  <c:v>42696</c:v>
                </c:pt>
                <c:pt idx="755">
                  <c:v>42697</c:v>
                </c:pt>
                <c:pt idx="756">
                  <c:v>42698</c:v>
                </c:pt>
                <c:pt idx="757">
                  <c:v>42699</c:v>
                </c:pt>
                <c:pt idx="758">
                  <c:v>42702</c:v>
                </c:pt>
                <c:pt idx="759">
                  <c:v>42703</c:v>
                </c:pt>
                <c:pt idx="760">
                  <c:v>42704</c:v>
                </c:pt>
                <c:pt idx="761">
                  <c:v>42705</c:v>
                </c:pt>
                <c:pt idx="762">
                  <c:v>42706</c:v>
                </c:pt>
                <c:pt idx="763">
                  <c:v>42709</c:v>
                </c:pt>
                <c:pt idx="764">
                  <c:v>42710</c:v>
                </c:pt>
                <c:pt idx="765">
                  <c:v>42711</c:v>
                </c:pt>
                <c:pt idx="766">
                  <c:v>42712</c:v>
                </c:pt>
                <c:pt idx="767">
                  <c:v>42713</c:v>
                </c:pt>
                <c:pt idx="768">
                  <c:v>42716</c:v>
                </c:pt>
                <c:pt idx="769">
                  <c:v>42717</c:v>
                </c:pt>
                <c:pt idx="770">
                  <c:v>42718</c:v>
                </c:pt>
                <c:pt idx="771">
                  <c:v>42719</c:v>
                </c:pt>
                <c:pt idx="772">
                  <c:v>42720</c:v>
                </c:pt>
                <c:pt idx="773">
                  <c:v>42723</c:v>
                </c:pt>
                <c:pt idx="774">
                  <c:v>42724</c:v>
                </c:pt>
                <c:pt idx="775">
                  <c:v>42725</c:v>
                </c:pt>
                <c:pt idx="776">
                  <c:v>42726</c:v>
                </c:pt>
                <c:pt idx="777">
                  <c:v>42727</c:v>
                </c:pt>
                <c:pt idx="778">
                  <c:v>42730</c:v>
                </c:pt>
                <c:pt idx="779">
                  <c:v>42731</c:v>
                </c:pt>
                <c:pt idx="780">
                  <c:v>42732</c:v>
                </c:pt>
                <c:pt idx="781">
                  <c:v>42733</c:v>
                </c:pt>
                <c:pt idx="782">
                  <c:v>42734</c:v>
                </c:pt>
                <c:pt idx="783">
                  <c:v>42737</c:v>
                </c:pt>
                <c:pt idx="784">
                  <c:v>42738</c:v>
                </c:pt>
                <c:pt idx="785">
                  <c:v>42739</c:v>
                </c:pt>
                <c:pt idx="786">
                  <c:v>42740</c:v>
                </c:pt>
                <c:pt idx="787">
                  <c:v>42741</c:v>
                </c:pt>
                <c:pt idx="788">
                  <c:v>42744</c:v>
                </c:pt>
                <c:pt idx="789">
                  <c:v>42745</c:v>
                </c:pt>
                <c:pt idx="790">
                  <c:v>42746</c:v>
                </c:pt>
                <c:pt idx="791">
                  <c:v>42747</c:v>
                </c:pt>
                <c:pt idx="792">
                  <c:v>42748</c:v>
                </c:pt>
                <c:pt idx="793">
                  <c:v>42751</c:v>
                </c:pt>
                <c:pt idx="794">
                  <c:v>42752</c:v>
                </c:pt>
                <c:pt idx="795">
                  <c:v>42753</c:v>
                </c:pt>
                <c:pt idx="796">
                  <c:v>42754</c:v>
                </c:pt>
                <c:pt idx="797">
                  <c:v>42755</c:v>
                </c:pt>
                <c:pt idx="798">
                  <c:v>42758</c:v>
                </c:pt>
                <c:pt idx="799">
                  <c:v>42759</c:v>
                </c:pt>
                <c:pt idx="800">
                  <c:v>42760</c:v>
                </c:pt>
                <c:pt idx="801">
                  <c:v>42761</c:v>
                </c:pt>
                <c:pt idx="802">
                  <c:v>42762</c:v>
                </c:pt>
                <c:pt idx="803">
                  <c:v>42765</c:v>
                </c:pt>
                <c:pt idx="804">
                  <c:v>42766</c:v>
                </c:pt>
                <c:pt idx="805">
                  <c:v>42767</c:v>
                </c:pt>
                <c:pt idx="806">
                  <c:v>42768</c:v>
                </c:pt>
                <c:pt idx="807">
                  <c:v>42769</c:v>
                </c:pt>
                <c:pt idx="808">
                  <c:v>42772</c:v>
                </c:pt>
                <c:pt idx="809">
                  <c:v>42773</c:v>
                </c:pt>
                <c:pt idx="810">
                  <c:v>42774</c:v>
                </c:pt>
                <c:pt idx="811">
                  <c:v>42775</c:v>
                </c:pt>
                <c:pt idx="812">
                  <c:v>42776</c:v>
                </c:pt>
                <c:pt idx="813">
                  <c:v>42779</c:v>
                </c:pt>
                <c:pt idx="814">
                  <c:v>42780</c:v>
                </c:pt>
                <c:pt idx="815">
                  <c:v>42781</c:v>
                </c:pt>
                <c:pt idx="816">
                  <c:v>42782</c:v>
                </c:pt>
                <c:pt idx="817">
                  <c:v>42783</c:v>
                </c:pt>
                <c:pt idx="818">
                  <c:v>42786</c:v>
                </c:pt>
                <c:pt idx="819">
                  <c:v>42787</c:v>
                </c:pt>
                <c:pt idx="820">
                  <c:v>42788</c:v>
                </c:pt>
                <c:pt idx="821">
                  <c:v>42789</c:v>
                </c:pt>
                <c:pt idx="822">
                  <c:v>42790</c:v>
                </c:pt>
                <c:pt idx="823">
                  <c:v>42793</c:v>
                </c:pt>
                <c:pt idx="824">
                  <c:v>42794</c:v>
                </c:pt>
                <c:pt idx="825">
                  <c:v>42795</c:v>
                </c:pt>
                <c:pt idx="826">
                  <c:v>42796</c:v>
                </c:pt>
                <c:pt idx="827">
                  <c:v>42797</c:v>
                </c:pt>
                <c:pt idx="828">
                  <c:v>42800</c:v>
                </c:pt>
                <c:pt idx="829">
                  <c:v>42801</c:v>
                </c:pt>
                <c:pt idx="830">
                  <c:v>42802</c:v>
                </c:pt>
                <c:pt idx="831">
                  <c:v>42803</c:v>
                </c:pt>
                <c:pt idx="832">
                  <c:v>42804</c:v>
                </c:pt>
                <c:pt idx="833">
                  <c:v>42807</c:v>
                </c:pt>
                <c:pt idx="834">
                  <c:v>42808</c:v>
                </c:pt>
                <c:pt idx="835">
                  <c:v>42809</c:v>
                </c:pt>
                <c:pt idx="836">
                  <c:v>42810</c:v>
                </c:pt>
                <c:pt idx="837">
                  <c:v>42811</c:v>
                </c:pt>
                <c:pt idx="838">
                  <c:v>42814</c:v>
                </c:pt>
                <c:pt idx="839">
                  <c:v>42815</c:v>
                </c:pt>
                <c:pt idx="840">
                  <c:v>42816</c:v>
                </c:pt>
                <c:pt idx="841">
                  <c:v>42817</c:v>
                </c:pt>
                <c:pt idx="842">
                  <c:v>42818</c:v>
                </c:pt>
                <c:pt idx="843">
                  <c:v>42821</c:v>
                </c:pt>
                <c:pt idx="844">
                  <c:v>42822</c:v>
                </c:pt>
                <c:pt idx="845">
                  <c:v>42823</c:v>
                </c:pt>
                <c:pt idx="846">
                  <c:v>42824</c:v>
                </c:pt>
                <c:pt idx="847">
                  <c:v>42825</c:v>
                </c:pt>
                <c:pt idx="848">
                  <c:v>42828</c:v>
                </c:pt>
                <c:pt idx="849">
                  <c:v>42829</c:v>
                </c:pt>
                <c:pt idx="850">
                  <c:v>42830</c:v>
                </c:pt>
                <c:pt idx="851">
                  <c:v>42831</c:v>
                </c:pt>
                <c:pt idx="852">
                  <c:v>42832</c:v>
                </c:pt>
                <c:pt idx="853">
                  <c:v>42835</c:v>
                </c:pt>
                <c:pt idx="854">
                  <c:v>42836</c:v>
                </c:pt>
                <c:pt idx="855">
                  <c:v>42837</c:v>
                </c:pt>
                <c:pt idx="856">
                  <c:v>42838</c:v>
                </c:pt>
                <c:pt idx="857">
                  <c:v>42839</c:v>
                </c:pt>
                <c:pt idx="858">
                  <c:v>42842</c:v>
                </c:pt>
                <c:pt idx="859">
                  <c:v>42843</c:v>
                </c:pt>
                <c:pt idx="860">
                  <c:v>42844</c:v>
                </c:pt>
                <c:pt idx="861">
                  <c:v>42845</c:v>
                </c:pt>
                <c:pt idx="862">
                  <c:v>42846</c:v>
                </c:pt>
                <c:pt idx="863">
                  <c:v>42849</c:v>
                </c:pt>
                <c:pt idx="864">
                  <c:v>42850</c:v>
                </c:pt>
                <c:pt idx="865">
                  <c:v>42851</c:v>
                </c:pt>
                <c:pt idx="866">
                  <c:v>42852</c:v>
                </c:pt>
                <c:pt idx="867">
                  <c:v>42853</c:v>
                </c:pt>
                <c:pt idx="868">
                  <c:v>42856</c:v>
                </c:pt>
                <c:pt idx="869">
                  <c:v>42857</c:v>
                </c:pt>
                <c:pt idx="870">
                  <c:v>42858</c:v>
                </c:pt>
                <c:pt idx="871">
                  <c:v>42859</c:v>
                </c:pt>
                <c:pt idx="872">
                  <c:v>42860</c:v>
                </c:pt>
                <c:pt idx="873">
                  <c:v>42863</c:v>
                </c:pt>
                <c:pt idx="874">
                  <c:v>42864</c:v>
                </c:pt>
                <c:pt idx="875">
                  <c:v>42865</c:v>
                </c:pt>
                <c:pt idx="876">
                  <c:v>42866</c:v>
                </c:pt>
                <c:pt idx="877">
                  <c:v>42867</c:v>
                </c:pt>
                <c:pt idx="878">
                  <c:v>42870</c:v>
                </c:pt>
                <c:pt idx="879">
                  <c:v>42871</c:v>
                </c:pt>
                <c:pt idx="880">
                  <c:v>42872</c:v>
                </c:pt>
                <c:pt idx="881">
                  <c:v>42873</c:v>
                </c:pt>
                <c:pt idx="882">
                  <c:v>42874</c:v>
                </c:pt>
                <c:pt idx="883">
                  <c:v>42877</c:v>
                </c:pt>
                <c:pt idx="884">
                  <c:v>42878</c:v>
                </c:pt>
                <c:pt idx="885">
                  <c:v>42879</c:v>
                </c:pt>
                <c:pt idx="886">
                  <c:v>42880</c:v>
                </c:pt>
                <c:pt idx="887">
                  <c:v>42881</c:v>
                </c:pt>
                <c:pt idx="888">
                  <c:v>42884</c:v>
                </c:pt>
                <c:pt idx="889">
                  <c:v>42885</c:v>
                </c:pt>
                <c:pt idx="890">
                  <c:v>42886</c:v>
                </c:pt>
                <c:pt idx="891">
                  <c:v>42887</c:v>
                </c:pt>
                <c:pt idx="892">
                  <c:v>42888</c:v>
                </c:pt>
                <c:pt idx="893">
                  <c:v>42891</c:v>
                </c:pt>
                <c:pt idx="894">
                  <c:v>42892</c:v>
                </c:pt>
                <c:pt idx="895">
                  <c:v>42893</c:v>
                </c:pt>
                <c:pt idx="896">
                  <c:v>42894</c:v>
                </c:pt>
                <c:pt idx="897">
                  <c:v>42895</c:v>
                </c:pt>
                <c:pt idx="898">
                  <c:v>42898</c:v>
                </c:pt>
                <c:pt idx="899">
                  <c:v>42899</c:v>
                </c:pt>
                <c:pt idx="900">
                  <c:v>42900</c:v>
                </c:pt>
                <c:pt idx="901">
                  <c:v>42901</c:v>
                </c:pt>
                <c:pt idx="902">
                  <c:v>42902</c:v>
                </c:pt>
                <c:pt idx="903">
                  <c:v>42905</c:v>
                </c:pt>
                <c:pt idx="904">
                  <c:v>42906</c:v>
                </c:pt>
                <c:pt idx="905">
                  <c:v>42907</c:v>
                </c:pt>
                <c:pt idx="906">
                  <c:v>42908</c:v>
                </c:pt>
                <c:pt idx="907">
                  <c:v>42909</c:v>
                </c:pt>
                <c:pt idx="908">
                  <c:v>42912</c:v>
                </c:pt>
                <c:pt idx="909">
                  <c:v>42913</c:v>
                </c:pt>
                <c:pt idx="910">
                  <c:v>42914</c:v>
                </c:pt>
                <c:pt idx="911">
                  <c:v>42915</c:v>
                </c:pt>
                <c:pt idx="912">
                  <c:v>42916</c:v>
                </c:pt>
                <c:pt idx="913">
                  <c:v>42919</c:v>
                </c:pt>
                <c:pt idx="914">
                  <c:v>42920</c:v>
                </c:pt>
                <c:pt idx="915">
                  <c:v>42921</c:v>
                </c:pt>
                <c:pt idx="916">
                  <c:v>42922</c:v>
                </c:pt>
                <c:pt idx="917">
                  <c:v>42923</c:v>
                </c:pt>
                <c:pt idx="918">
                  <c:v>42926</c:v>
                </c:pt>
                <c:pt idx="919">
                  <c:v>42927</c:v>
                </c:pt>
                <c:pt idx="920">
                  <c:v>42928</c:v>
                </c:pt>
                <c:pt idx="921">
                  <c:v>42929</c:v>
                </c:pt>
                <c:pt idx="922">
                  <c:v>42930</c:v>
                </c:pt>
                <c:pt idx="923">
                  <c:v>42933</c:v>
                </c:pt>
                <c:pt idx="924">
                  <c:v>42934</c:v>
                </c:pt>
                <c:pt idx="925">
                  <c:v>42935</c:v>
                </c:pt>
                <c:pt idx="926">
                  <c:v>42936</c:v>
                </c:pt>
                <c:pt idx="927">
                  <c:v>42937</c:v>
                </c:pt>
                <c:pt idx="928">
                  <c:v>42940</c:v>
                </c:pt>
                <c:pt idx="929">
                  <c:v>42941</c:v>
                </c:pt>
                <c:pt idx="930">
                  <c:v>42942</c:v>
                </c:pt>
                <c:pt idx="931">
                  <c:v>42943</c:v>
                </c:pt>
                <c:pt idx="932">
                  <c:v>42944</c:v>
                </c:pt>
                <c:pt idx="933">
                  <c:v>42947</c:v>
                </c:pt>
                <c:pt idx="934">
                  <c:v>42948</c:v>
                </c:pt>
                <c:pt idx="935">
                  <c:v>42949</c:v>
                </c:pt>
                <c:pt idx="936">
                  <c:v>42950</c:v>
                </c:pt>
                <c:pt idx="937">
                  <c:v>42951</c:v>
                </c:pt>
                <c:pt idx="938">
                  <c:v>42954</c:v>
                </c:pt>
                <c:pt idx="939">
                  <c:v>42955</c:v>
                </c:pt>
                <c:pt idx="940">
                  <c:v>42956</c:v>
                </c:pt>
                <c:pt idx="941">
                  <c:v>42957</c:v>
                </c:pt>
                <c:pt idx="942">
                  <c:v>42958</c:v>
                </c:pt>
                <c:pt idx="943">
                  <c:v>42961</c:v>
                </c:pt>
                <c:pt idx="944">
                  <c:v>42962</c:v>
                </c:pt>
                <c:pt idx="945">
                  <c:v>42963</c:v>
                </c:pt>
                <c:pt idx="946">
                  <c:v>42964</c:v>
                </c:pt>
                <c:pt idx="947">
                  <c:v>42965</c:v>
                </c:pt>
                <c:pt idx="948">
                  <c:v>42968</c:v>
                </c:pt>
                <c:pt idx="949">
                  <c:v>42969</c:v>
                </c:pt>
                <c:pt idx="950">
                  <c:v>42970</c:v>
                </c:pt>
                <c:pt idx="951">
                  <c:v>42971</c:v>
                </c:pt>
                <c:pt idx="952">
                  <c:v>42972</c:v>
                </c:pt>
                <c:pt idx="953">
                  <c:v>42975</c:v>
                </c:pt>
                <c:pt idx="954">
                  <c:v>42976</c:v>
                </c:pt>
                <c:pt idx="955">
                  <c:v>42977</c:v>
                </c:pt>
                <c:pt idx="956">
                  <c:v>42978</c:v>
                </c:pt>
                <c:pt idx="957">
                  <c:v>42979</c:v>
                </c:pt>
                <c:pt idx="958">
                  <c:v>42982</c:v>
                </c:pt>
                <c:pt idx="959">
                  <c:v>42983</c:v>
                </c:pt>
                <c:pt idx="960">
                  <c:v>42984</c:v>
                </c:pt>
                <c:pt idx="961">
                  <c:v>42985</c:v>
                </c:pt>
                <c:pt idx="962">
                  <c:v>42986</c:v>
                </c:pt>
                <c:pt idx="963">
                  <c:v>42989</c:v>
                </c:pt>
                <c:pt idx="964">
                  <c:v>42990</c:v>
                </c:pt>
                <c:pt idx="965">
                  <c:v>42991</c:v>
                </c:pt>
                <c:pt idx="966">
                  <c:v>42992</c:v>
                </c:pt>
                <c:pt idx="967">
                  <c:v>42993</c:v>
                </c:pt>
                <c:pt idx="968">
                  <c:v>42996</c:v>
                </c:pt>
                <c:pt idx="969">
                  <c:v>42997</c:v>
                </c:pt>
                <c:pt idx="970">
                  <c:v>42998</c:v>
                </c:pt>
                <c:pt idx="971">
                  <c:v>42999</c:v>
                </c:pt>
                <c:pt idx="972">
                  <c:v>43000</c:v>
                </c:pt>
                <c:pt idx="973">
                  <c:v>43003</c:v>
                </c:pt>
                <c:pt idx="974">
                  <c:v>43004</c:v>
                </c:pt>
                <c:pt idx="975">
                  <c:v>43005</c:v>
                </c:pt>
                <c:pt idx="976">
                  <c:v>43006</c:v>
                </c:pt>
                <c:pt idx="977">
                  <c:v>43007</c:v>
                </c:pt>
                <c:pt idx="978">
                  <c:v>43010</c:v>
                </c:pt>
                <c:pt idx="979">
                  <c:v>43011</c:v>
                </c:pt>
                <c:pt idx="980">
                  <c:v>43012</c:v>
                </c:pt>
                <c:pt idx="981">
                  <c:v>43013</c:v>
                </c:pt>
                <c:pt idx="982">
                  <c:v>43014</c:v>
                </c:pt>
                <c:pt idx="983">
                  <c:v>43017</c:v>
                </c:pt>
                <c:pt idx="984">
                  <c:v>43018</c:v>
                </c:pt>
                <c:pt idx="985">
                  <c:v>43019</c:v>
                </c:pt>
                <c:pt idx="986">
                  <c:v>43020</c:v>
                </c:pt>
                <c:pt idx="987">
                  <c:v>43021</c:v>
                </c:pt>
                <c:pt idx="988">
                  <c:v>43024</c:v>
                </c:pt>
                <c:pt idx="989">
                  <c:v>43025</c:v>
                </c:pt>
                <c:pt idx="990">
                  <c:v>43026</c:v>
                </c:pt>
                <c:pt idx="991">
                  <c:v>43027</c:v>
                </c:pt>
                <c:pt idx="992">
                  <c:v>43028</c:v>
                </c:pt>
                <c:pt idx="993">
                  <c:v>43031</c:v>
                </c:pt>
                <c:pt idx="994">
                  <c:v>43032</c:v>
                </c:pt>
                <c:pt idx="995">
                  <c:v>43033</c:v>
                </c:pt>
                <c:pt idx="996">
                  <c:v>43034</c:v>
                </c:pt>
                <c:pt idx="997">
                  <c:v>43035</c:v>
                </c:pt>
                <c:pt idx="998">
                  <c:v>43038</c:v>
                </c:pt>
                <c:pt idx="999">
                  <c:v>43039</c:v>
                </c:pt>
                <c:pt idx="1000">
                  <c:v>43040</c:v>
                </c:pt>
                <c:pt idx="1001">
                  <c:v>43041</c:v>
                </c:pt>
                <c:pt idx="1002">
                  <c:v>43042</c:v>
                </c:pt>
                <c:pt idx="1003">
                  <c:v>43045</c:v>
                </c:pt>
                <c:pt idx="1004">
                  <c:v>43046</c:v>
                </c:pt>
                <c:pt idx="1005">
                  <c:v>43047</c:v>
                </c:pt>
                <c:pt idx="1006">
                  <c:v>43048</c:v>
                </c:pt>
                <c:pt idx="1007">
                  <c:v>43049</c:v>
                </c:pt>
                <c:pt idx="1008">
                  <c:v>43052</c:v>
                </c:pt>
                <c:pt idx="1009">
                  <c:v>43053</c:v>
                </c:pt>
                <c:pt idx="1010">
                  <c:v>43054</c:v>
                </c:pt>
                <c:pt idx="1011">
                  <c:v>43055</c:v>
                </c:pt>
                <c:pt idx="1012">
                  <c:v>43056</c:v>
                </c:pt>
                <c:pt idx="1013">
                  <c:v>43059</c:v>
                </c:pt>
                <c:pt idx="1014">
                  <c:v>43060</c:v>
                </c:pt>
                <c:pt idx="1015">
                  <c:v>43061</c:v>
                </c:pt>
                <c:pt idx="1016">
                  <c:v>43062</c:v>
                </c:pt>
                <c:pt idx="1017">
                  <c:v>43063</c:v>
                </c:pt>
                <c:pt idx="1018">
                  <c:v>43066</c:v>
                </c:pt>
                <c:pt idx="1019">
                  <c:v>43067</c:v>
                </c:pt>
                <c:pt idx="1020">
                  <c:v>43068</c:v>
                </c:pt>
                <c:pt idx="1021">
                  <c:v>43069</c:v>
                </c:pt>
                <c:pt idx="1022">
                  <c:v>43070</c:v>
                </c:pt>
                <c:pt idx="1023">
                  <c:v>43073</c:v>
                </c:pt>
                <c:pt idx="1024">
                  <c:v>43074</c:v>
                </c:pt>
                <c:pt idx="1025">
                  <c:v>43075</c:v>
                </c:pt>
                <c:pt idx="1026">
                  <c:v>43076</c:v>
                </c:pt>
                <c:pt idx="1027">
                  <c:v>43077</c:v>
                </c:pt>
                <c:pt idx="1028">
                  <c:v>43080</c:v>
                </c:pt>
                <c:pt idx="1029">
                  <c:v>43081</c:v>
                </c:pt>
                <c:pt idx="1030">
                  <c:v>43082</c:v>
                </c:pt>
                <c:pt idx="1031">
                  <c:v>43083</c:v>
                </c:pt>
                <c:pt idx="1032">
                  <c:v>43084</c:v>
                </c:pt>
                <c:pt idx="1033">
                  <c:v>43087</c:v>
                </c:pt>
                <c:pt idx="1034">
                  <c:v>43088</c:v>
                </c:pt>
                <c:pt idx="1035">
                  <c:v>43089</c:v>
                </c:pt>
                <c:pt idx="1036">
                  <c:v>43090</c:v>
                </c:pt>
                <c:pt idx="1037">
                  <c:v>43091</c:v>
                </c:pt>
                <c:pt idx="1038">
                  <c:v>43094</c:v>
                </c:pt>
                <c:pt idx="1039">
                  <c:v>43095</c:v>
                </c:pt>
                <c:pt idx="1040">
                  <c:v>43096</c:v>
                </c:pt>
                <c:pt idx="1041">
                  <c:v>43097</c:v>
                </c:pt>
                <c:pt idx="1042">
                  <c:v>43098</c:v>
                </c:pt>
                <c:pt idx="1043">
                  <c:v>43101</c:v>
                </c:pt>
                <c:pt idx="1044">
                  <c:v>43102</c:v>
                </c:pt>
                <c:pt idx="1045">
                  <c:v>43103</c:v>
                </c:pt>
                <c:pt idx="1046">
                  <c:v>43104</c:v>
                </c:pt>
                <c:pt idx="1047">
                  <c:v>43105</c:v>
                </c:pt>
                <c:pt idx="1048">
                  <c:v>43108</c:v>
                </c:pt>
                <c:pt idx="1049">
                  <c:v>43109</c:v>
                </c:pt>
                <c:pt idx="1050">
                  <c:v>43110</c:v>
                </c:pt>
                <c:pt idx="1051">
                  <c:v>43111</c:v>
                </c:pt>
                <c:pt idx="1052">
                  <c:v>43112</c:v>
                </c:pt>
                <c:pt idx="1053">
                  <c:v>43115</c:v>
                </c:pt>
                <c:pt idx="1054">
                  <c:v>43116</c:v>
                </c:pt>
                <c:pt idx="1055">
                  <c:v>43117</c:v>
                </c:pt>
                <c:pt idx="1056">
                  <c:v>43118</c:v>
                </c:pt>
                <c:pt idx="1057">
                  <c:v>43119</c:v>
                </c:pt>
                <c:pt idx="1058">
                  <c:v>43122</c:v>
                </c:pt>
                <c:pt idx="1059">
                  <c:v>43123</c:v>
                </c:pt>
                <c:pt idx="1060">
                  <c:v>43124</c:v>
                </c:pt>
                <c:pt idx="1061">
                  <c:v>43125</c:v>
                </c:pt>
                <c:pt idx="1062">
                  <c:v>43126</c:v>
                </c:pt>
                <c:pt idx="1063">
                  <c:v>43129</c:v>
                </c:pt>
                <c:pt idx="1064">
                  <c:v>43130</c:v>
                </c:pt>
                <c:pt idx="1065">
                  <c:v>43131</c:v>
                </c:pt>
                <c:pt idx="1066">
                  <c:v>43132</c:v>
                </c:pt>
                <c:pt idx="1067">
                  <c:v>43133</c:v>
                </c:pt>
                <c:pt idx="1068">
                  <c:v>43136</c:v>
                </c:pt>
                <c:pt idx="1069">
                  <c:v>43137</c:v>
                </c:pt>
                <c:pt idx="1070">
                  <c:v>43138</c:v>
                </c:pt>
                <c:pt idx="1071">
                  <c:v>43139</c:v>
                </c:pt>
                <c:pt idx="1072">
                  <c:v>43140</c:v>
                </c:pt>
                <c:pt idx="1073">
                  <c:v>43143</c:v>
                </c:pt>
                <c:pt idx="1074">
                  <c:v>43144</c:v>
                </c:pt>
                <c:pt idx="1075">
                  <c:v>43145</c:v>
                </c:pt>
                <c:pt idx="1076">
                  <c:v>43146</c:v>
                </c:pt>
                <c:pt idx="1077">
                  <c:v>43147</c:v>
                </c:pt>
                <c:pt idx="1078">
                  <c:v>43150</c:v>
                </c:pt>
                <c:pt idx="1079">
                  <c:v>43151</c:v>
                </c:pt>
                <c:pt idx="1080">
                  <c:v>43152</c:v>
                </c:pt>
                <c:pt idx="1081">
                  <c:v>43153</c:v>
                </c:pt>
                <c:pt idx="1082">
                  <c:v>43154</c:v>
                </c:pt>
                <c:pt idx="1083">
                  <c:v>43157</c:v>
                </c:pt>
                <c:pt idx="1084">
                  <c:v>43158</c:v>
                </c:pt>
                <c:pt idx="1085">
                  <c:v>43159</c:v>
                </c:pt>
                <c:pt idx="1086">
                  <c:v>43160</c:v>
                </c:pt>
                <c:pt idx="1087">
                  <c:v>43161</c:v>
                </c:pt>
                <c:pt idx="1088">
                  <c:v>43164</c:v>
                </c:pt>
                <c:pt idx="1089">
                  <c:v>43165</c:v>
                </c:pt>
                <c:pt idx="1090">
                  <c:v>43166</c:v>
                </c:pt>
                <c:pt idx="1091">
                  <c:v>43167</c:v>
                </c:pt>
                <c:pt idx="1092">
                  <c:v>43168</c:v>
                </c:pt>
                <c:pt idx="1093">
                  <c:v>43171</c:v>
                </c:pt>
                <c:pt idx="1094">
                  <c:v>43172</c:v>
                </c:pt>
                <c:pt idx="1095">
                  <c:v>43173</c:v>
                </c:pt>
                <c:pt idx="1096">
                  <c:v>43174</c:v>
                </c:pt>
                <c:pt idx="1097">
                  <c:v>43175</c:v>
                </c:pt>
                <c:pt idx="1098">
                  <c:v>43178</c:v>
                </c:pt>
                <c:pt idx="1099">
                  <c:v>43179</c:v>
                </c:pt>
                <c:pt idx="1100">
                  <c:v>43180</c:v>
                </c:pt>
                <c:pt idx="1101">
                  <c:v>43181</c:v>
                </c:pt>
                <c:pt idx="1102">
                  <c:v>43182</c:v>
                </c:pt>
                <c:pt idx="1103">
                  <c:v>43185</c:v>
                </c:pt>
                <c:pt idx="1104">
                  <c:v>43186</c:v>
                </c:pt>
                <c:pt idx="1105">
                  <c:v>43187</c:v>
                </c:pt>
                <c:pt idx="1106">
                  <c:v>43188</c:v>
                </c:pt>
                <c:pt idx="1107">
                  <c:v>43189</c:v>
                </c:pt>
                <c:pt idx="1108">
                  <c:v>43192</c:v>
                </c:pt>
                <c:pt idx="1109">
                  <c:v>43193</c:v>
                </c:pt>
                <c:pt idx="1110">
                  <c:v>43194</c:v>
                </c:pt>
                <c:pt idx="1111">
                  <c:v>43195</c:v>
                </c:pt>
                <c:pt idx="1112">
                  <c:v>43196</c:v>
                </c:pt>
                <c:pt idx="1113">
                  <c:v>43199</c:v>
                </c:pt>
                <c:pt idx="1114">
                  <c:v>43200</c:v>
                </c:pt>
                <c:pt idx="1115">
                  <c:v>43201</c:v>
                </c:pt>
                <c:pt idx="1116">
                  <c:v>43202</c:v>
                </c:pt>
                <c:pt idx="1117">
                  <c:v>43203</c:v>
                </c:pt>
                <c:pt idx="1118">
                  <c:v>43206</c:v>
                </c:pt>
                <c:pt idx="1119">
                  <c:v>43207</c:v>
                </c:pt>
                <c:pt idx="1120">
                  <c:v>43208</c:v>
                </c:pt>
                <c:pt idx="1121">
                  <c:v>43209</c:v>
                </c:pt>
                <c:pt idx="1122">
                  <c:v>43210</c:v>
                </c:pt>
                <c:pt idx="1123">
                  <c:v>43213</c:v>
                </c:pt>
                <c:pt idx="1124">
                  <c:v>43214</c:v>
                </c:pt>
                <c:pt idx="1125">
                  <c:v>43215</c:v>
                </c:pt>
                <c:pt idx="1126">
                  <c:v>43216</c:v>
                </c:pt>
                <c:pt idx="1127">
                  <c:v>43217</c:v>
                </c:pt>
                <c:pt idx="1128">
                  <c:v>43220</c:v>
                </c:pt>
                <c:pt idx="1129">
                  <c:v>43221</c:v>
                </c:pt>
                <c:pt idx="1130">
                  <c:v>43222</c:v>
                </c:pt>
                <c:pt idx="1131">
                  <c:v>43223</c:v>
                </c:pt>
                <c:pt idx="1132">
                  <c:v>43224</c:v>
                </c:pt>
                <c:pt idx="1133">
                  <c:v>43227</c:v>
                </c:pt>
                <c:pt idx="1134">
                  <c:v>43228</c:v>
                </c:pt>
                <c:pt idx="1135">
                  <c:v>43229</c:v>
                </c:pt>
                <c:pt idx="1136">
                  <c:v>43230</c:v>
                </c:pt>
                <c:pt idx="1137">
                  <c:v>43231</c:v>
                </c:pt>
                <c:pt idx="1138">
                  <c:v>43234</c:v>
                </c:pt>
                <c:pt idx="1139">
                  <c:v>43235</c:v>
                </c:pt>
                <c:pt idx="1140">
                  <c:v>43236</c:v>
                </c:pt>
                <c:pt idx="1141">
                  <c:v>43237</c:v>
                </c:pt>
                <c:pt idx="1142">
                  <c:v>43238</c:v>
                </c:pt>
                <c:pt idx="1143">
                  <c:v>43241</c:v>
                </c:pt>
                <c:pt idx="1144">
                  <c:v>43242</c:v>
                </c:pt>
                <c:pt idx="1145">
                  <c:v>43243</c:v>
                </c:pt>
                <c:pt idx="1146">
                  <c:v>43244</c:v>
                </c:pt>
                <c:pt idx="1147">
                  <c:v>43245</c:v>
                </c:pt>
                <c:pt idx="1148">
                  <c:v>43248</c:v>
                </c:pt>
                <c:pt idx="1149">
                  <c:v>43249</c:v>
                </c:pt>
                <c:pt idx="1150">
                  <c:v>43250</c:v>
                </c:pt>
                <c:pt idx="1151">
                  <c:v>43251</c:v>
                </c:pt>
                <c:pt idx="1152">
                  <c:v>43252</c:v>
                </c:pt>
                <c:pt idx="1153">
                  <c:v>43255</c:v>
                </c:pt>
                <c:pt idx="1154">
                  <c:v>43256</c:v>
                </c:pt>
                <c:pt idx="1155">
                  <c:v>43257</c:v>
                </c:pt>
                <c:pt idx="1156">
                  <c:v>43258</c:v>
                </c:pt>
                <c:pt idx="1157">
                  <c:v>43259</c:v>
                </c:pt>
                <c:pt idx="1158">
                  <c:v>43262</c:v>
                </c:pt>
                <c:pt idx="1159">
                  <c:v>43263</c:v>
                </c:pt>
                <c:pt idx="1160">
                  <c:v>43264</c:v>
                </c:pt>
                <c:pt idx="1161">
                  <c:v>43265</c:v>
                </c:pt>
                <c:pt idx="1162">
                  <c:v>43266</c:v>
                </c:pt>
                <c:pt idx="1163">
                  <c:v>43269</c:v>
                </c:pt>
                <c:pt idx="1164">
                  <c:v>43270</c:v>
                </c:pt>
                <c:pt idx="1165">
                  <c:v>43271</c:v>
                </c:pt>
                <c:pt idx="1166">
                  <c:v>43272</c:v>
                </c:pt>
                <c:pt idx="1167">
                  <c:v>43273</c:v>
                </c:pt>
                <c:pt idx="1168">
                  <c:v>43276</c:v>
                </c:pt>
                <c:pt idx="1169">
                  <c:v>43277</c:v>
                </c:pt>
                <c:pt idx="1170">
                  <c:v>43278</c:v>
                </c:pt>
                <c:pt idx="1171">
                  <c:v>43279</c:v>
                </c:pt>
                <c:pt idx="1172">
                  <c:v>43280</c:v>
                </c:pt>
                <c:pt idx="1173">
                  <c:v>43283</c:v>
                </c:pt>
                <c:pt idx="1174">
                  <c:v>43284</c:v>
                </c:pt>
                <c:pt idx="1175">
                  <c:v>43285</c:v>
                </c:pt>
                <c:pt idx="1176">
                  <c:v>43286</c:v>
                </c:pt>
                <c:pt idx="1177">
                  <c:v>43287</c:v>
                </c:pt>
                <c:pt idx="1178">
                  <c:v>43290</c:v>
                </c:pt>
                <c:pt idx="1179">
                  <c:v>43291</c:v>
                </c:pt>
                <c:pt idx="1180">
                  <c:v>43292</c:v>
                </c:pt>
                <c:pt idx="1181">
                  <c:v>43293</c:v>
                </c:pt>
                <c:pt idx="1182">
                  <c:v>43294</c:v>
                </c:pt>
                <c:pt idx="1183">
                  <c:v>43297</c:v>
                </c:pt>
                <c:pt idx="1184">
                  <c:v>43298</c:v>
                </c:pt>
                <c:pt idx="1185">
                  <c:v>43299</c:v>
                </c:pt>
                <c:pt idx="1186">
                  <c:v>43300</c:v>
                </c:pt>
                <c:pt idx="1187">
                  <c:v>43301</c:v>
                </c:pt>
                <c:pt idx="1188">
                  <c:v>43304</c:v>
                </c:pt>
                <c:pt idx="1189">
                  <c:v>43305</c:v>
                </c:pt>
                <c:pt idx="1190">
                  <c:v>43306</c:v>
                </c:pt>
                <c:pt idx="1191">
                  <c:v>43307</c:v>
                </c:pt>
                <c:pt idx="1192">
                  <c:v>43308</c:v>
                </c:pt>
                <c:pt idx="1193">
                  <c:v>43311</c:v>
                </c:pt>
                <c:pt idx="1194">
                  <c:v>43312</c:v>
                </c:pt>
                <c:pt idx="1195">
                  <c:v>43313</c:v>
                </c:pt>
                <c:pt idx="1196">
                  <c:v>43314</c:v>
                </c:pt>
                <c:pt idx="1197">
                  <c:v>43315</c:v>
                </c:pt>
                <c:pt idx="1198">
                  <c:v>43318</c:v>
                </c:pt>
                <c:pt idx="1199">
                  <c:v>43319</c:v>
                </c:pt>
                <c:pt idx="1200">
                  <c:v>43320</c:v>
                </c:pt>
                <c:pt idx="1201">
                  <c:v>43321</c:v>
                </c:pt>
                <c:pt idx="1202">
                  <c:v>43322</c:v>
                </c:pt>
                <c:pt idx="1203">
                  <c:v>43325</c:v>
                </c:pt>
                <c:pt idx="1204">
                  <c:v>43326</c:v>
                </c:pt>
                <c:pt idx="1205">
                  <c:v>43327</c:v>
                </c:pt>
                <c:pt idx="1206">
                  <c:v>43328</c:v>
                </c:pt>
                <c:pt idx="1207">
                  <c:v>43329</c:v>
                </c:pt>
                <c:pt idx="1208">
                  <c:v>43332</c:v>
                </c:pt>
                <c:pt idx="1209">
                  <c:v>43333</c:v>
                </c:pt>
                <c:pt idx="1210">
                  <c:v>43334</c:v>
                </c:pt>
                <c:pt idx="1211">
                  <c:v>43335</c:v>
                </c:pt>
                <c:pt idx="1212">
                  <c:v>43336</c:v>
                </c:pt>
                <c:pt idx="1213">
                  <c:v>43339</c:v>
                </c:pt>
                <c:pt idx="1214">
                  <c:v>43340</c:v>
                </c:pt>
                <c:pt idx="1215">
                  <c:v>43341</c:v>
                </c:pt>
                <c:pt idx="1216">
                  <c:v>43342</c:v>
                </c:pt>
                <c:pt idx="1217">
                  <c:v>43343</c:v>
                </c:pt>
                <c:pt idx="1218">
                  <c:v>43346</c:v>
                </c:pt>
                <c:pt idx="1219">
                  <c:v>43347</c:v>
                </c:pt>
                <c:pt idx="1220">
                  <c:v>43348</c:v>
                </c:pt>
                <c:pt idx="1221">
                  <c:v>43349</c:v>
                </c:pt>
                <c:pt idx="1222">
                  <c:v>43350</c:v>
                </c:pt>
                <c:pt idx="1223">
                  <c:v>43353</c:v>
                </c:pt>
                <c:pt idx="1224">
                  <c:v>43354</c:v>
                </c:pt>
                <c:pt idx="1225">
                  <c:v>43355</c:v>
                </c:pt>
                <c:pt idx="1226">
                  <c:v>43356</c:v>
                </c:pt>
                <c:pt idx="1227">
                  <c:v>43357</c:v>
                </c:pt>
                <c:pt idx="1228">
                  <c:v>43360</c:v>
                </c:pt>
                <c:pt idx="1229">
                  <c:v>43361</c:v>
                </c:pt>
                <c:pt idx="1230">
                  <c:v>43362</c:v>
                </c:pt>
                <c:pt idx="1231">
                  <c:v>43363</c:v>
                </c:pt>
                <c:pt idx="1232">
                  <c:v>43364</c:v>
                </c:pt>
                <c:pt idx="1233">
                  <c:v>43367</c:v>
                </c:pt>
                <c:pt idx="1234">
                  <c:v>43368</c:v>
                </c:pt>
                <c:pt idx="1235">
                  <c:v>43369</c:v>
                </c:pt>
                <c:pt idx="1236">
                  <c:v>43370</c:v>
                </c:pt>
                <c:pt idx="1237">
                  <c:v>43371</c:v>
                </c:pt>
                <c:pt idx="1238">
                  <c:v>43374</c:v>
                </c:pt>
                <c:pt idx="1239">
                  <c:v>43375</c:v>
                </c:pt>
                <c:pt idx="1240">
                  <c:v>43376</c:v>
                </c:pt>
                <c:pt idx="1241">
                  <c:v>43377</c:v>
                </c:pt>
                <c:pt idx="1242">
                  <c:v>43378</c:v>
                </c:pt>
                <c:pt idx="1243">
                  <c:v>43381</c:v>
                </c:pt>
                <c:pt idx="1244">
                  <c:v>43382</c:v>
                </c:pt>
                <c:pt idx="1245">
                  <c:v>43383</c:v>
                </c:pt>
                <c:pt idx="1246">
                  <c:v>43384</c:v>
                </c:pt>
                <c:pt idx="1247">
                  <c:v>43385</c:v>
                </c:pt>
                <c:pt idx="1248">
                  <c:v>43388</c:v>
                </c:pt>
                <c:pt idx="1249">
                  <c:v>43389</c:v>
                </c:pt>
                <c:pt idx="1250">
                  <c:v>43390</c:v>
                </c:pt>
                <c:pt idx="1251">
                  <c:v>43391</c:v>
                </c:pt>
                <c:pt idx="1252">
                  <c:v>43392</c:v>
                </c:pt>
                <c:pt idx="1253">
                  <c:v>43395</c:v>
                </c:pt>
                <c:pt idx="1254">
                  <c:v>43396</c:v>
                </c:pt>
                <c:pt idx="1255">
                  <c:v>43397</c:v>
                </c:pt>
                <c:pt idx="1256">
                  <c:v>43398</c:v>
                </c:pt>
                <c:pt idx="1257">
                  <c:v>43399</c:v>
                </c:pt>
                <c:pt idx="1258">
                  <c:v>43402</c:v>
                </c:pt>
                <c:pt idx="1259">
                  <c:v>43403</c:v>
                </c:pt>
                <c:pt idx="1260">
                  <c:v>43404</c:v>
                </c:pt>
                <c:pt idx="1261">
                  <c:v>43405</c:v>
                </c:pt>
                <c:pt idx="1262">
                  <c:v>43406</c:v>
                </c:pt>
                <c:pt idx="1263">
                  <c:v>43409</c:v>
                </c:pt>
                <c:pt idx="1264">
                  <c:v>43410</c:v>
                </c:pt>
                <c:pt idx="1265">
                  <c:v>43411</c:v>
                </c:pt>
                <c:pt idx="1266">
                  <c:v>43412</c:v>
                </c:pt>
                <c:pt idx="1267">
                  <c:v>43413</c:v>
                </c:pt>
                <c:pt idx="1268">
                  <c:v>43416</c:v>
                </c:pt>
                <c:pt idx="1269">
                  <c:v>43417</c:v>
                </c:pt>
                <c:pt idx="1270">
                  <c:v>43418</c:v>
                </c:pt>
                <c:pt idx="1271">
                  <c:v>43419</c:v>
                </c:pt>
                <c:pt idx="1272">
                  <c:v>43420</c:v>
                </c:pt>
                <c:pt idx="1273">
                  <c:v>43423</c:v>
                </c:pt>
                <c:pt idx="1274">
                  <c:v>43424</c:v>
                </c:pt>
                <c:pt idx="1275">
                  <c:v>43425</c:v>
                </c:pt>
                <c:pt idx="1276">
                  <c:v>43426</c:v>
                </c:pt>
                <c:pt idx="1277">
                  <c:v>43427</c:v>
                </c:pt>
                <c:pt idx="1278">
                  <c:v>43430</c:v>
                </c:pt>
                <c:pt idx="1279">
                  <c:v>43431</c:v>
                </c:pt>
                <c:pt idx="1280">
                  <c:v>43432</c:v>
                </c:pt>
                <c:pt idx="1281">
                  <c:v>43433</c:v>
                </c:pt>
                <c:pt idx="1282">
                  <c:v>43434</c:v>
                </c:pt>
                <c:pt idx="1283">
                  <c:v>43437</c:v>
                </c:pt>
                <c:pt idx="1284">
                  <c:v>43438</c:v>
                </c:pt>
                <c:pt idx="1285">
                  <c:v>43439</c:v>
                </c:pt>
                <c:pt idx="1286">
                  <c:v>43440</c:v>
                </c:pt>
                <c:pt idx="1287">
                  <c:v>43441</c:v>
                </c:pt>
                <c:pt idx="1288">
                  <c:v>43444</c:v>
                </c:pt>
                <c:pt idx="1289">
                  <c:v>43445</c:v>
                </c:pt>
                <c:pt idx="1290">
                  <c:v>43446</c:v>
                </c:pt>
                <c:pt idx="1291">
                  <c:v>43447</c:v>
                </c:pt>
                <c:pt idx="1292">
                  <c:v>43448</c:v>
                </c:pt>
                <c:pt idx="1293">
                  <c:v>43451</c:v>
                </c:pt>
                <c:pt idx="1294">
                  <c:v>43452</c:v>
                </c:pt>
                <c:pt idx="1295">
                  <c:v>43453</c:v>
                </c:pt>
                <c:pt idx="1296">
                  <c:v>43454</c:v>
                </c:pt>
                <c:pt idx="1297">
                  <c:v>43455</c:v>
                </c:pt>
                <c:pt idx="1298">
                  <c:v>43458</c:v>
                </c:pt>
                <c:pt idx="1299">
                  <c:v>43459</c:v>
                </c:pt>
                <c:pt idx="1300">
                  <c:v>43460</c:v>
                </c:pt>
                <c:pt idx="1301">
                  <c:v>43461</c:v>
                </c:pt>
                <c:pt idx="1302">
                  <c:v>43462</c:v>
                </c:pt>
                <c:pt idx="1303">
                  <c:v>43465</c:v>
                </c:pt>
                <c:pt idx="1304">
                  <c:v>43466</c:v>
                </c:pt>
                <c:pt idx="1305">
                  <c:v>43467</c:v>
                </c:pt>
                <c:pt idx="1306">
                  <c:v>43468</c:v>
                </c:pt>
                <c:pt idx="1307">
                  <c:v>43469</c:v>
                </c:pt>
                <c:pt idx="1308">
                  <c:v>43472</c:v>
                </c:pt>
                <c:pt idx="1309">
                  <c:v>43473</c:v>
                </c:pt>
                <c:pt idx="1310">
                  <c:v>43474</c:v>
                </c:pt>
                <c:pt idx="1311">
                  <c:v>43475</c:v>
                </c:pt>
                <c:pt idx="1312">
                  <c:v>43476</c:v>
                </c:pt>
                <c:pt idx="1313">
                  <c:v>43479</c:v>
                </c:pt>
                <c:pt idx="1314">
                  <c:v>43480</c:v>
                </c:pt>
                <c:pt idx="1315">
                  <c:v>43481</c:v>
                </c:pt>
                <c:pt idx="1316">
                  <c:v>43482</c:v>
                </c:pt>
                <c:pt idx="1317">
                  <c:v>43483</c:v>
                </c:pt>
                <c:pt idx="1318">
                  <c:v>43486</c:v>
                </c:pt>
                <c:pt idx="1319">
                  <c:v>43487</c:v>
                </c:pt>
                <c:pt idx="1320">
                  <c:v>43488</c:v>
                </c:pt>
                <c:pt idx="1321">
                  <c:v>43489</c:v>
                </c:pt>
                <c:pt idx="1322">
                  <c:v>43490</c:v>
                </c:pt>
                <c:pt idx="1323">
                  <c:v>43493</c:v>
                </c:pt>
                <c:pt idx="1324">
                  <c:v>43494</c:v>
                </c:pt>
                <c:pt idx="1325">
                  <c:v>43495</c:v>
                </c:pt>
                <c:pt idx="1326">
                  <c:v>43496</c:v>
                </c:pt>
                <c:pt idx="1327">
                  <c:v>43497</c:v>
                </c:pt>
                <c:pt idx="1328">
                  <c:v>43500</c:v>
                </c:pt>
                <c:pt idx="1329">
                  <c:v>43501</c:v>
                </c:pt>
                <c:pt idx="1330">
                  <c:v>43502</c:v>
                </c:pt>
                <c:pt idx="1331">
                  <c:v>43503</c:v>
                </c:pt>
                <c:pt idx="1332">
                  <c:v>43504</c:v>
                </c:pt>
                <c:pt idx="1333">
                  <c:v>43507</c:v>
                </c:pt>
                <c:pt idx="1334">
                  <c:v>43508</c:v>
                </c:pt>
                <c:pt idx="1335">
                  <c:v>43509</c:v>
                </c:pt>
                <c:pt idx="1336">
                  <c:v>43510</c:v>
                </c:pt>
                <c:pt idx="1337">
                  <c:v>43511</c:v>
                </c:pt>
                <c:pt idx="1338">
                  <c:v>43514</c:v>
                </c:pt>
                <c:pt idx="1339">
                  <c:v>43515</c:v>
                </c:pt>
                <c:pt idx="1340">
                  <c:v>43516</c:v>
                </c:pt>
                <c:pt idx="1341">
                  <c:v>43517</c:v>
                </c:pt>
                <c:pt idx="1342">
                  <c:v>43518</c:v>
                </c:pt>
                <c:pt idx="1343">
                  <c:v>43521</c:v>
                </c:pt>
                <c:pt idx="1344">
                  <c:v>43522</c:v>
                </c:pt>
                <c:pt idx="1345">
                  <c:v>43523</c:v>
                </c:pt>
                <c:pt idx="1346">
                  <c:v>43524</c:v>
                </c:pt>
                <c:pt idx="1347">
                  <c:v>43525</c:v>
                </c:pt>
                <c:pt idx="1348">
                  <c:v>43528</c:v>
                </c:pt>
                <c:pt idx="1349">
                  <c:v>43529</c:v>
                </c:pt>
                <c:pt idx="1350">
                  <c:v>43530</c:v>
                </c:pt>
                <c:pt idx="1351">
                  <c:v>43531</c:v>
                </c:pt>
                <c:pt idx="1352">
                  <c:v>43532</c:v>
                </c:pt>
                <c:pt idx="1353">
                  <c:v>43535</c:v>
                </c:pt>
                <c:pt idx="1354">
                  <c:v>43536</c:v>
                </c:pt>
                <c:pt idx="1355">
                  <c:v>43537</c:v>
                </c:pt>
                <c:pt idx="1356">
                  <c:v>43538</c:v>
                </c:pt>
                <c:pt idx="1357">
                  <c:v>43539</c:v>
                </c:pt>
                <c:pt idx="1358">
                  <c:v>43542</c:v>
                </c:pt>
                <c:pt idx="1359">
                  <c:v>43543</c:v>
                </c:pt>
                <c:pt idx="1360">
                  <c:v>43544</c:v>
                </c:pt>
                <c:pt idx="1361">
                  <c:v>43545</c:v>
                </c:pt>
                <c:pt idx="1362">
                  <c:v>43546</c:v>
                </c:pt>
                <c:pt idx="1363">
                  <c:v>43549</c:v>
                </c:pt>
                <c:pt idx="1364">
                  <c:v>43550</c:v>
                </c:pt>
                <c:pt idx="1365">
                  <c:v>43551</c:v>
                </c:pt>
                <c:pt idx="1366">
                  <c:v>43552</c:v>
                </c:pt>
                <c:pt idx="1367">
                  <c:v>43553</c:v>
                </c:pt>
                <c:pt idx="1368">
                  <c:v>43556</c:v>
                </c:pt>
                <c:pt idx="1369">
                  <c:v>43557</c:v>
                </c:pt>
                <c:pt idx="1370">
                  <c:v>43558</c:v>
                </c:pt>
                <c:pt idx="1371">
                  <c:v>43559</c:v>
                </c:pt>
                <c:pt idx="1372">
                  <c:v>43560</c:v>
                </c:pt>
                <c:pt idx="1373">
                  <c:v>43563</c:v>
                </c:pt>
                <c:pt idx="1374">
                  <c:v>43564</c:v>
                </c:pt>
                <c:pt idx="1375">
                  <c:v>43565</c:v>
                </c:pt>
                <c:pt idx="1376">
                  <c:v>43566</c:v>
                </c:pt>
                <c:pt idx="1377">
                  <c:v>43567</c:v>
                </c:pt>
                <c:pt idx="1378">
                  <c:v>43570</c:v>
                </c:pt>
                <c:pt idx="1379">
                  <c:v>43571</c:v>
                </c:pt>
                <c:pt idx="1380">
                  <c:v>43572</c:v>
                </c:pt>
                <c:pt idx="1381">
                  <c:v>43573</c:v>
                </c:pt>
                <c:pt idx="1382">
                  <c:v>43574</c:v>
                </c:pt>
                <c:pt idx="1383">
                  <c:v>43577</c:v>
                </c:pt>
                <c:pt idx="1384">
                  <c:v>43578</c:v>
                </c:pt>
                <c:pt idx="1385">
                  <c:v>43579</c:v>
                </c:pt>
                <c:pt idx="1386">
                  <c:v>43580</c:v>
                </c:pt>
                <c:pt idx="1387">
                  <c:v>43581</c:v>
                </c:pt>
                <c:pt idx="1388">
                  <c:v>43584</c:v>
                </c:pt>
                <c:pt idx="1389">
                  <c:v>43585</c:v>
                </c:pt>
                <c:pt idx="1390">
                  <c:v>43586</c:v>
                </c:pt>
                <c:pt idx="1391">
                  <c:v>43587</c:v>
                </c:pt>
                <c:pt idx="1392">
                  <c:v>43588</c:v>
                </c:pt>
                <c:pt idx="1393">
                  <c:v>43591</c:v>
                </c:pt>
                <c:pt idx="1394">
                  <c:v>43592</c:v>
                </c:pt>
                <c:pt idx="1395">
                  <c:v>43593</c:v>
                </c:pt>
                <c:pt idx="1396">
                  <c:v>43594</c:v>
                </c:pt>
                <c:pt idx="1397">
                  <c:v>43595</c:v>
                </c:pt>
                <c:pt idx="1398">
                  <c:v>43598</c:v>
                </c:pt>
                <c:pt idx="1399">
                  <c:v>43599</c:v>
                </c:pt>
                <c:pt idx="1400">
                  <c:v>43600</c:v>
                </c:pt>
                <c:pt idx="1401">
                  <c:v>43601</c:v>
                </c:pt>
                <c:pt idx="1402">
                  <c:v>43602</c:v>
                </c:pt>
                <c:pt idx="1403">
                  <c:v>43605</c:v>
                </c:pt>
                <c:pt idx="1404">
                  <c:v>43606</c:v>
                </c:pt>
                <c:pt idx="1405">
                  <c:v>43607</c:v>
                </c:pt>
                <c:pt idx="1406">
                  <c:v>43608</c:v>
                </c:pt>
                <c:pt idx="1407">
                  <c:v>43609</c:v>
                </c:pt>
                <c:pt idx="1408">
                  <c:v>43612</c:v>
                </c:pt>
                <c:pt idx="1409">
                  <c:v>43613</c:v>
                </c:pt>
                <c:pt idx="1410">
                  <c:v>43614</c:v>
                </c:pt>
                <c:pt idx="1411">
                  <c:v>43615</c:v>
                </c:pt>
                <c:pt idx="1412">
                  <c:v>43616</c:v>
                </c:pt>
                <c:pt idx="1413">
                  <c:v>43619</c:v>
                </c:pt>
                <c:pt idx="1414">
                  <c:v>43620</c:v>
                </c:pt>
                <c:pt idx="1415">
                  <c:v>43621</c:v>
                </c:pt>
                <c:pt idx="1416">
                  <c:v>43622</c:v>
                </c:pt>
                <c:pt idx="1417">
                  <c:v>43623</c:v>
                </c:pt>
                <c:pt idx="1418">
                  <c:v>43626</c:v>
                </c:pt>
                <c:pt idx="1419">
                  <c:v>43627</c:v>
                </c:pt>
                <c:pt idx="1420">
                  <c:v>43628</c:v>
                </c:pt>
                <c:pt idx="1421">
                  <c:v>43629</c:v>
                </c:pt>
                <c:pt idx="1422">
                  <c:v>43630</c:v>
                </c:pt>
                <c:pt idx="1423">
                  <c:v>43633</c:v>
                </c:pt>
                <c:pt idx="1424">
                  <c:v>43634</c:v>
                </c:pt>
                <c:pt idx="1425">
                  <c:v>43635</c:v>
                </c:pt>
                <c:pt idx="1426">
                  <c:v>43636</c:v>
                </c:pt>
                <c:pt idx="1427">
                  <c:v>43637</c:v>
                </c:pt>
                <c:pt idx="1428">
                  <c:v>43640</c:v>
                </c:pt>
                <c:pt idx="1429">
                  <c:v>43641</c:v>
                </c:pt>
                <c:pt idx="1430">
                  <c:v>43642</c:v>
                </c:pt>
                <c:pt idx="1431">
                  <c:v>43643</c:v>
                </c:pt>
                <c:pt idx="1432">
                  <c:v>43644</c:v>
                </c:pt>
                <c:pt idx="1433">
                  <c:v>43645</c:v>
                </c:pt>
                <c:pt idx="1434">
                  <c:v>43646</c:v>
                </c:pt>
                <c:pt idx="1435">
                  <c:v>43647</c:v>
                </c:pt>
                <c:pt idx="1436">
                  <c:v>43648</c:v>
                </c:pt>
                <c:pt idx="1437">
                  <c:v>43649</c:v>
                </c:pt>
                <c:pt idx="1438">
                  <c:v>43650</c:v>
                </c:pt>
                <c:pt idx="1439">
                  <c:v>43651</c:v>
                </c:pt>
                <c:pt idx="1440">
                  <c:v>43652</c:v>
                </c:pt>
                <c:pt idx="1441">
                  <c:v>43653</c:v>
                </c:pt>
                <c:pt idx="1442">
                  <c:v>43654</c:v>
                </c:pt>
                <c:pt idx="1443">
                  <c:v>43655</c:v>
                </c:pt>
                <c:pt idx="1444">
                  <c:v>43656</c:v>
                </c:pt>
                <c:pt idx="1445">
                  <c:v>43657</c:v>
                </c:pt>
                <c:pt idx="1446">
                  <c:v>43658</c:v>
                </c:pt>
                <c:pt idx="1447">
                  <c:v>43659</c:v>
                </c:pt>
                <c:pt idx="1448">
                  <c:v>43660</c:v>
                </c:pt>
                <c:pt idx="1449">
                  <c:v>43661</c:v>
                </c:pt>
                <c:pt idx="1450">
                  <c:v>43662</c:v>
                </c:pt>
                <c:pt idx="1451">
                  <c:v>43663</c:v>
                </c:pt>
                <c:pt idx="1452">
                  <c:v>43664</c:v>
                </c:pt>
                <c:pt idx="1453">
                  <c:v>43665</c:v>
                </c:pt>
                <c:pt idx="1454">
                  <c:v>43666</c:v>
                </c:pt>
                <c:pt idx="1455">
                  <c:v>43667</c:v>
                </c:pt>
                <c:pt idx="1456">
                  <c:v>43668</c:v>
                </c:pt>
                <c:pt idx="1457">
                  <c:v>43669</c:v>
                </c:pt>
                <c:pt idx="1458">
                  <c:v>43670</c:v>
                </c:pt>
                <c:pt idx="1459">
                  <c:v>43671</c:v>
                </c:pt>
                <c:pt idx="1460">
                  <c:v>43672</c:v>
                </c:pt>
                <c:pt idx="1461">
                  <c:v>43673</c:v>
                </c:pt>
                <c:pt idx="1462">
                  <c:v>43674</c:v>
                </c:pt>
                <c:pt idx="1463">
                  <c:v>43675</c:v>
                </c:pt>
                <c:pt idx="1464">
                  <c:v>43676</c:v>
                </c:pt>
                <c:pt idx="1465">
                  <c:v>43677</c:v>
                </c:pt>
                <c:pt idx="1466">
                  <c:v>43678</c:v>
                </c:pt>
                <c:pt idx="1467">
                  <c:v>43679</c:v>
                </c:pt>
                <c:pt idx="1468">
                  <c:v>43680</c:v>
                </c:pt>
                <c:pt idx="1469">
                  <c:v>43681</c:v>
                </c:pt>
                <c:pt idx="1470">
                  <c:v>43682</c:v>
                </c:pt>
                <c:pt idx="1471">
                  <c:v>43683</c:v>
                </c:pt>
                <c:pt idx="1472">
                  <c:v>43684</c:v>
                </c:pt>
                <c:pt idx="1473">
                  <c:v>43685</c:v>
                </c:pt>
                <c:pt idx="1474">
                  <c:v>43686</c:v>
                </c:pt>
                <c:pt idx="1475">
                  <c:v>43687</c:v>
                </c:pt>
                <c:pt idx="1476">
                  <c:v>43688</c:v>
                </c:pt>
                <c:pt idx="1477">
                  <c:v>43689</c:v>
                </c:pt>
                <c:pt idx="1478">
                  <c:v>43690</c:v>
                </c:pt>
                <c:pt idx="1479">
                  <c:v>43691</c:v>
                </c:pt>
                <c:pt idx="1480">
                  <c:v>43692</c:v>
                </c:pt>
                <c:pt idx="1481">
                  <c:v>43693</c:v>
                </c:pt>
                <c:pt idx="1482">
                  <c:v>43694</c:v>
                </c:pt>
                <c:pt idx="1483">
                  <c:v>43695</c:v>
                </c:pt>
                <c:pt idx="1484">
                  <c:v>43696</c:v>
                </c:pt>
                <c:pt idx="1485">
                  <c:v>43697</c:v>
                </c:pt>
                <c:pt idx="1486">
                  <c:v>43698</c:v>
                </c:pt>
                <c:pt idx="1487">
                  <c:v>43699</c:v>
                </c:pt>
                <c:pt idx="1488">
                  <c:v>43700</c:v>
                </c:pt>
                <c:pt idx="1489">
                  <c:v>43701</c:v>
                </c:pt>
                <c:pt idx="1490">
                  <c:v>43702</c:v>
                </c:pt>
                <c:pt idx="1491">
                  <c:v>43703</c:v>
                </c:pt>
                <c:pt idx="1492">
                  <c:v>43704</c:v>
                </c:pt>
                <c:pt idx="1493">
                  <c:v>43705</c:v>
                </c:pt>
                <c:pt idx="1494">
                  <c:v>43706</c:v>
                </c:pt>
                <c:pt idx="1495">
                  <c:v>43707</c:v>
                </c:pt>
                <c:pt idx="1496">
                  <c:v>43708</c:v>
                </c:pt>
                <c:pt idx="1497">
                  <c:v>43709</c:v>
                </c:pt>
                <c:pt idx="1498">
                  <c:v>43710</c:v>
                </c:pt>
                <c:pt idx="1499">
                  <c:v>43711</c:v>
                </c:pt>
                <c:pt idx="1500">
                  <c:v>43712</c:v>
                </c:pt>
                <c:pt idx="1501">
                  <c:v>43713</c:v>
                </c:pt>
                <c:pt idx="1502">
                  <c:v>43714</c:v>
                </c:pt>
                <c:pt idx="1503">
                  <c:v>43715</c:v>
                </c:pt>
                <c:pt idx="1504">
                  <c:v>43716</c:v>
                </c:pt>
                <c:pt idx="1505">
                  <c:v>43717</c:v>
                </c:pt>
                <c:pt idx="1506">
                  <c:v>43718</c:v>
                </c:pt>
                <c:pt idx="1507">
                  <c:v>43719</c:v>
                </c:pt>
                <c:pt idx="1508">
                  <c:v>43720</c:v>
                </c:pt>
                <c:pt idx="1509">
                  <c:v>43721</c:v>
                </c:pt>
                <c:pt idx="1510">
                  <c:v>43722</c:v>
                </c:pt>
                <c:pt idx="1511">
                  <c:v>43723</c:v>
                </c:pt>
                <c:pt idx="1512">
                  <c:v>43724</c:v>
                </c:pt>
                <c:pt idx="1513">
                  <c:v>43725</c:v>
                </c:pt>
                <c:pt idx="1514">
                  <c:v>43726</c:v>
                </c:pt>
                <c:pt idx="1515">
                  <c:v>43727</c:v>
                </c:pt>
                <c:pt idx="1516">
                  <c:v>43728</c:v>
                </c:pt>
                <c:pt idx="1517">
                  <c:v>43729</c:v>
                </c:pt>
                <c:pt idx="1518">
                  <c:v>43730</c:v>
                </c:pt>
                <c:pt idx="1519">
                  <c:v>43731</c:v>
                </c:pt>
                <c:pt idx="1520">
                  <c:v>43732</c:v>
                </c:pt>
                <c:pt idx="1521">
                  <c:v>43733</c:v>
                </c:pt>
                <c:pt idx="1522">
                  <c:v>43734</c:v>
                </c:pt>
                <c:pt idx="1523">
                  <c:v>43735</c:v>
                </c:pt>
                <c:pt idx="1524">
                  <c:v>43736</c:v>
                </c:pt>
                <c:pt idx="1525">
                  <c:v>43737</c:v>
                </c:pt>
                <c:pt idx="1526">
                  <c:v>43738</c:v>
                </c:pt>
                <c:pt idx="1527">
                  <c:v>43739</c:v>
                </c:pt>
                <c:pt idx="1528">
                  <c:v>43740</c:v>
                </c:pt>
                <c:pt idx="1529">
                  <c:v>43741</c:v>
                </c:pt>
                <c:pt idx="1530">
                  <c:v>43742</c:v>
                </c:pt>
                <c:pt idx="1531">
                  <c:v>43743</c:v>
                </c:pt>
                <c:pt idx="1532">
                  <c:v>43744</c:v>
                </c:pt>
                <c:pt idx="1533">
                  <c:v>43745</c:v>
                </c:pt>
                <c:pt idx="1534">
                  <c:v>43746</c:v>
                </c:pt>
                <c:pt idx="1535">
                  <c:v>43747</c:v>
                </c:pt>
                <c:pt idx="1536">
                  <c:v>43748</c:v>
                </c:pt>
                <c:pt idx="1537">
                  <c:v>43749</c:v>
                </c:pt>
                <c:pt idx="1538">
                  <c:v>43750</c:v>
                </c:pt>
                <c:pt idx="1539">
                  <c:v>43751</c:v>
                </c:pt>
                <c:pt idx="1540">
                  <c:v>43752</c:v>
                </c:pt>
                <c:pt idx="1541">
                  <c:v>43753</c:v>
                </c:pt>
                <c:pt idx="1542">
                  <c:v>43754</c:v>
                </c:pt>
                <c:pt idx="1543">
                  <c:v>43755</c:v>
                </c:pt>
                <c:pt idx="1544">
                  <c:v>43756</c:v>
                </c:pt>
                <c:pt idx="1545">
                  <c:v>43757</c:v>
                </c:pt>
                <c:pt idx="1546">
                  <c:v>43758</c:v>
                </c:pt>
                <c:pt idx="1547">
                  <c:v>43759</c:v>
                </c:pt>
                <c:pt idx="1548">
                  <c:v>43760</c:v>
                </c:pt>
                <c:pt idx="1549">
                  <c:v>43761</c:v>
                </c:pt>
                <c:pt idx="1550">
                  <c:v>43762</c:v>
                </c:pt>
                <c:pt idx="1551">
                  <c:v>43763</c:v>
                </c:pt>
                <c:pt idx="1552">
                  <c:v>43764</c:v>
                </c:pt>
                <c:pt idx="1553">
                  <c:v>43765</c:v>
                </c:pt>
                <c:pt idx="1554">
                  <c:v>43766</c:v>
                </c:pt>
                <c:pt idx="1555">
                  <c:v>43767</c:v>
                </c:pt>
                <c:pt idx="1556">
                  <c:v>43768</c:v>
                </c:pt>
                <c:pt idx="1557">
                  <c:v>43769</c:v>
                </c:pt>
                <c:pt idx="1558">
                  <c:v>43770</c:v>
                </c:pt>
                <c:pt idx="1559">
                  <c:v>43771</c:v>
                </c:pt>
                <c:pt idx="1560">
                  <c:v>43772</c:v>
                </c:pt>
                <c:pt idx="1561">
                  <c:v>43773</c:v>
                </c:pt>
                <c:pt idx="1562">
                  <c:v>43774</c:v>
                </c:pt>
                <c:pt idx="1563">
                  <c:v>43775</c:v>
                </c:pt>
                <c:pt idx="1564">
                  <c:v>43776</c:v>
                </c:pt>
                <c:pt idx="1565">
                  <c:v>43777</c:v>
                </c:pt>
                <c:pt idx="1566">
                  <c:v>43778</c:v>
                </c:pt>
                <c:pt idx="1567">
                  <c:v>43779</c:v>
                </c:pt>
                <c:pt idx="1568">
                  <c:v>43780</c:v>
                </c:pt>
                <c:pt idx="1569">
                  <c:v>43781</c:v>
                </c:pt>
                <c:pt idx="1570">
                  <c:v>43782</c:v>
                </c:pt>
                <c:pt idx="1571">
                  <c:v>43783</c:v>
                </c:pt>
                <c:pt idx="1572">
                  <c:v>43784</c:v>
                </c:pt>
                <c:pt idx="1573">
                  <c:v>43785</c:v>
                </c:pt>
                <c:pt idx="1574">
                  <c:v>43786</c:v>
                </c:pt>
                <c:pt idx="1575">
                  <c:v>43787</c:v>
                </c:pt>
                <c:pt idx="1576">
                  <c:v>43788</c:v>
                </c:pt>
                <c:pt idx="1577">
                  <c:v>43789</c:v>
                </c:pt>
                <c:pt idx="1578">
                  <c:v>43790</c:v>
                </c:pt>
                <c:pt idx="1579">
                  <c:v>43791</c:v>
                </c:pt>
                <c:pt idx="1580">
                  <c:v>43792</c:v>
                </c:pt>
                <c:pt idx="1581">
                  <c:v>43793</c:v>
                </c:pt>
                <c:pt idx="1582">
                  <c:v>43794</c:v>
                </c:pt>
                <c:pt idx="1583">
                  <c:v>43795</c:v>
                </c:pt>
                <c:pt idx="1584">
                  <c:v>43796</c:v>
                </c:pt>
                <c:pt idx="1585">
                  <c:v>43797</c:v>
                </c:pt>
                <c:pt idx="1586">
                  <c:v>43798</c:v>
                </c:pt>
                <c:pt idx="1587">
                  <c:v>43799</c:v>
                </c:pt>
                <c:pt idx="1588">
                  <c:v>43800</c:v>
                </c:pt>
                <c:pt idx="1589">
                  <c:v>43801</c:v>
                </c:pt>
                <c:pt idx="1590">
                  <c:v>43802</c:v>
                </c:pt>
                <c:pt idx="1591">
                  <c:v>43803</c:v>
                </c:pt>
                <c:pt idx="1592">
                  <c:v>43804</c:v>
                </c:pt>
                <c:pt idx="1593">
                  <c:v>43805</c:v>
                </c:pt>
                <c:pt idx="1594">
                  <c:v>43806</c:v>
                </c:pt>
                <c:pt idx="1595">
                  <c:v>43807</c:v>
                </c:pt>
                <c:pt idx="1596">
                  <c:v>43808</c:v>
                </c:pt>
                <c:pt idx="1597">
                  <c:v>43809</c:v>
                </c:pt>
                <c:pt idx="1598">
                  <c:v>43810</c:v>
                </c:pt>
                <c:pt idx="1599">
                  <c:v>43811</c:v>
                </c:pt>
                <c:pt idx="1600">
                  <c:v>43812</c:v>
                </c:pt>
                <c:pt idx="1601">
                  <c:v>43813</c:v>
                </c:pt>
                <c:pt idx="1602">
                  <c:v>43814</c:v>
                </c:pt>
                <c:pt idx="1603">
                  <c:v>43815</c:v>
                </c:pt>
                <c:pt idx="1604">
                  <c:v>43816</c:v>
                </c:pt>
                <c:pt idx="1605">
                  <c:v>43817</c:v>
                </c:pt>
                <c:pt idx="1606">
                  <c:v>43818</c:v>
                </c:pt>
                <c:pt idx="1607">
                  <c:v>43819</c:v>
                </c:pt>
                <c:pt idx="1608">
                  <c:v>43820</c:v>
                </c:pt>
                <c:pt idx="1609">
                  <c:v>43821</c:v>
                </c:pt>
                <c:pt idx="1610">
                  <c:v>43822</c:v>
                </c:pt>
                <c:pt idx="1611">
                  <c:v>43823</c:v>
                </c:pt>
                <c:pt idx="1612">
                  <c:v>43824</c:v>
                </c:pt>
                <c:pt idx="1613">
                  <c:v>43825</c:v>
                </c:pt>
                <c:pt idx="1614">
                  <c:v>43826</c:v>
                </c:pt>
                <c:pt idx="1615">
                  <c:v>43827</c:v>
                </c:pt>
                <c:pt idx="1616">
                  <c:v>43828</c:v>
                </c:pt>
                <c:pt idx="1617">
                  <c:v>43829</c:v>
                </c:pt>
                <c:pt idx="1618">
                  <c:v>43830</c:v>
                </c:pt>
              </c:numCache>
            </c:numRef>
          </c:cat>
          <c:val>
            <c:numRef>
              <c:f>Sheet1!$E$7:$E$1625</c:f>
              <c:numCache>
                <c:formatCode>General</c:formatCode>
                <c:ptCount val="1619"/>
                <c:pt idx="1430" formatCode="_-* #,##0_-;\-* #,##0_-;_-* &quot;-&quot;??_-;_-@_-">
                  <c:v>100404.38</c:v>
                </c:pt>
                <c:pt idx="1431" formatCode="_-* #,##0_-;\-* #,##0_-;_-* &quot;-&quot;??_-;_-@_-">
                  <c:v>100509.36730405528</c:v>
                </c:pt>
                <c:pt idx="1432" formatCode="_-* #,##0_-;\-* #,##0_-;_-* &quot;-&quot;??_-;_-@_-">
                  <c:v>100614.35460811056</c:v>
                </c:pt>
                <c:pt idx="1433" formatCode="_-* #,##0_-;\-* #,##0_-;_-* &quot;-&quot;??_-;_-@_-">
                  <c:v>100719.34191216584</c:v>
                </c:pt>
                <c:pt idx="1434" formatCode="_-* #,##0_-;\-* #,##0_-;_-* &quot;-&quot;??_-;_-@_-">
                  <c:v>100824.32921622111</c:v>
                </c:pt>
                <c:pt idx="1435" formatCode="_-* #,##0_-;\-* #,##0_-;_-* &quot;-&quot;??_-;_-@_-">
                  <c:v>100929.31652027639</c:v>
                </c:pt>
                <c:pt idx="1436" formatCode="_-* #,##0_-;\-* #,##0_-;_-* &quot;-&quot;??_-;_-@_-">
                  <c:v>101034.30382433167</c:v>
                </c:pt>
                <c:pt idx="1437" formatCode="_-* #,##0_-;\-* #,##0_-;_-* &quot;-&quot;??_-;_-@_-">
                  <c:v>101139.29112838695</c:v>
                </c:pt>
                <c:pt idx="1438" formatCode="_-* #,##0_-;\-* #,##0_-;_-* &quot;-&quot;??_-;_-@_-">
                  <c:v>101244.27843244222</c:v>
                </c:pt>
                <c:pt idx="1439" formatCode="_-* #,##0_-;\-* #,##0_-;_-* &quot;-&quot;??_-;_-@_-">
                  <c:v>101349.2657364975</c:v>
                </c:pt>
                <c:pt idx="1440" formatCode="_-* #,##0_-;\-* #,##0_-;_-* &quot;-&quot;??_-;_-@_-">
                  <c:v>101454.25304055278</c:v>
                </c:pt>
                <c:pt idx="1441" formatCode="_-* #,##0_-;\-* #,##0_-;_-* &quot;-&quot;??_-;_-@_-">
                  <c:v>101559.24034460806</c:v>
                </c:pt>
                <c:pt idx="1442" formatCode="_-* #,##0_-;\-* #,##0_-;_-* &quot;-&quot;??_-;_-@_-">
                  <c:v>101664.22764866333</c:v>
                </c:pt>
                <c:pt idx="1443" formatCode="_-* #,##0_-;\-* #,##0_-;_-* &quot;-&quot;??_-;_-@_-">
                  <c:v>101769.21495271861</c:v>
                </c:pt>
                <c:pt idx="1444" formatCode="_-* #,##0_-;\-* #,##0_-;_-* &quot;-&quot;??_-;_-@_-">
                  <c:v>101874.20225677389</c:v>
                </c:pt>
                <c:pt idx="1445" formatCode="_-* #,##0_-;\-* #,##0_-;_-* &quot;-&quot;??_-;_-@_-">
                  <c:v>101979.18956082917</c:v>
                </c:pt>
                <c:pt idx="1446" formatCode="_-* #,##0_-;\-* #,##0_-;_-* &quot;-&quot;??_-;_-@_-">
                  <c:v>102084.17686488444</c:v>
                </c:pt>
                <c:pt idx="1447" formatCode="_-* #,##0_-;\-* #,##0_-;_-* &quot;-&quot;??_-;_-@_-">
                  <c:v>102189.16416893972</c:v>
                </c:pt>
                <c:pt idx="1448" formatCode="_-* #,##0_-;\-* #,##0_-;_-* &quot;-&quot;??_-;_-@_-">
                  <c:v>102294.151472995</c:v>
                </c:pt>
                <c:pt idx="1449" formatCode="_-* #,##0_-;\-* #,##0_-;_-* &quot;-&quot;??_-;_-@_-">
                  <c:v>102399.13877705028</c:v>
                </c:pt>
                <c:pt idx="1450" formatCode="_-* #,##0_-;\-* #,##0_-;_-* &quot;-&quot;??_-;_-@_-">
                  <c:v>102504.12608110555</c:v>
                </c:pt>
                <c:pt idx="1451" formatCode="_-* #,##0_-;\-* #,##0_-;_-* &quot;-&quot;??_-;_-@_-">
                  <c:v>102609.11338516083</c:v>
                </c:pt>
                <c:pt idx="1452" formatCode="_-* #,##0_-;\-* #,##0_-;_-* &quot;-&quot;??_-;_-@_-">
                  <c:v>102714.10068921611</c:v>
                </c:pt>
                <c:pt idx="1453" formatCode="_-* #,##0_-;\-* #,##0_-;_-* &quot;-&quot;??_-;_-@_-">
                  <c:v>102819.08799327139</c:v>
                </c:pt>
                <c:pt idx="1454" formatCode="_-* #,##0_-;\-* #,##0_-;_-* &quot;-&quot;??_-;_-@_-">
                  <c:v>102924.07529732666</c:v>
                </c:pt>
                <c:pt idx="1455" formatCode="_-* #,##0_-;\-* #,##0_-;_-* &quot;-&quot;??_-;_-@_-">
                  <c:v>103029.06260138194</c:v>
                </c:pt>
                <c:pt idx="1456" formatCode="_-* #,##0_-;\-* #,##0_-;_-* &quot;-&quot;??_-;_-@_-">
                  <c:v>103134.04990543722</c:v>
                </c:pt>
                <c:pt idx="1457" formatCode="_-* #,##0_-;\-* #,##0_-;_-* &quot;-&quot;??_-;_-@_-">
                  <c:v>103239.0372094925</c:v>
                </c:pt>
                <c:pt idx="1458" formatCode="_-* #,##0_-;\-* #,##0_-;_-* &quot;-&quot;??_-;_-@_-">
                  <c:v>103344.02451354777</c:v>
                </c:pt>
                <c:pt idx="1459" formatCode="_-* #,##0_-;\-* #,##0_-;_-* &quot;-&quot;??_-;_-@_-">
                  <c:v>103449.01181760305</c:v>
                </c:pt>
                <c:pt idx="1460" formatCode="_-* #,##0_-;\-* #,##0_-;_-* &quot;-&quot;??_-;_-@_-">
                  <c:v>103553.99912165833</c:v>
                </c:pt>
                <c:pt idx="1461" formatCode="_-* #,##0_-;\-* #,##0_-;_-* &quot;-&quot;??_-;_-@_-">
                  <c:v>103658.98642571361</c:v>
                </c:pt>
                <c:pt idx="1462" formatCode="_-* #,##0_-;\-* #,##0_-;_-* &quot;-&quot;??_-;_-@_-">
                  <c:v>103763.97372976888</c:v>
                </c:pt>
                <c:pt idx="1463" formatCode="_-* #,##0_-;\-* #,##0_-;_-* &quot;-&quot;??_-;_-@_-">
                  <c:v>103868.96103382416</c:v>
                </c:pt>
                <c:pt idx="1464" formatCode="_-* #,##0_-;\-* #,##0_-;_-* &quot;-&quot;??_-;_-@_-">
                  <c:v>103973.94833787944</c:v>
                </c:pt>
                <c:pt idx="1465" formatCode="_-* #,##0_-;\-* #,##0_-;_-* &quot;-&quot;??_-;_-@_-">
                  <c:v>104078.93564193472</c:v>
                </c:pt>
                <c:pt idx="1466" formatCode="_-* #,##0_-;\-* #,##0_-;_-* &quot;-&quot;??_-;_-@_-">
                  <c:v>104183.92294598999</c:v>
                </c:pt>
                <c:pt idx="1467" formatCode="_-* #,##0_-;\-* #,##0_-;_-* &quot;-&quot;??_-;_-@_-">
                  <c:v>104288.91025004527</c:v>
                </c:pt>
                <c:pt idx="1468" formatCode="_-* #,##0_-;\-* #,##0_-;_-* &quot;-&quot;??_-;_-@_-">
                  <c:v>104393.89755410055</c:v>
                </c:pt>
                <c:pt idx="1469" formatCode="_-* #,##0_-;\-* #,##0_-;_-* &quot;-&quot;??_-;_-@_-">
                  <c:v>104498.88485815583</c:v>
                </c:pt>
                <c:pt idx="1470" formatCode="_-* #,##0_-;\-* #,##0_-;_-* &quot;-&quot;??_-;_-@_-">
                  <c:v>104603.8721622111</c:v>
                </c:pt>
                <c:pt idx="1471" formatCode="_-* #,##0_-;\-* #,##0_-;_-* &quot;-&quot;??_-;_-@_-">
                  <c:v>104708.85946626638</c:v>
                </c:pt>
                <c:pt idx="1472" formatCode="_-* #,##0_-;\-* #,##0_-;_-* &quot;-&quot;??_-;_-@_-">
                  <c:v>104813.84677032166</c:v>
                </c:pt>
                <c:pt idx="1473" formatCode="_-* #,##0_-;\-* #,##0_-;_-* &quot;-&quot;??_-;_-@_-">
                  <c:v>104918.83407437694</c:v>
                </c:pt>
                <c:pt idx="1474" formatCode="_-* #,##0_-;\-* #,##0_-;_-* &quot;-&quot;??_-;_-@_-">
                  <c:v>105023.82137843221</c:v>
                </c:pt>
                <c:pt idx="1475" formatCode="_-* #,##0_-;\-* #,##0_-;_-* &quot;-&quot;??_-;_-@_-">
                  <c:v>105128.80868248749</c:v>
                </c:pt>
                <c:pt idx="1476" formatCode="_-* #,##0_-;\-* #,##0_-;_-* &quot;-&quot;??_-;_-@_-">
                  <c:v>105233.79598654277</c:v>
                </c:pt>
                <c:pt idx="1477" formatCode="_-* #,##0_-;\-* #,##0_-;_-* &quot;-&quot;??_-;_-@_-">
                  <c:v>105338.78329059805</c:v>
                </c:pt>
                <c:pt idx="1478" formatCode="_-* #,##0_-;\-* #,##0_-;_-* &quot;-&quot;??_-;_-@_-">
                  <c:v>105443.77059465332</c:v>
                </c:pt>
                <c:pt idx="1479" formatCode="_-* #,##0_-;\-* #,##0_-;_-* &quot;-&quot;??_-;_-@_-">
                  <c:v>105548.7578987086</c:v>
                </c:pt>
                <c:pt idx="1480" formatCode="_-* #,##0_-;\-* #,##0_-;_-* &quot;-&quot;??_-;_-@_-">
                  <c:v>105653.74520276388</c:v>
                </c:pt>
                <c:pt idx="1481" formatCode="_-* #,##0_-;\-* #,##0_-;_-* &quot;-&quot;??_-;_-@_-">
                  <c:v>105758.73250681916</c:v>
                </c:pt>
                <c:pt idx="1482" formatCode="_-* #,##0_-;\-* #,##0_-;_-* &quot;-&quot;??_-;_-@_-">
                  <c:v>105863.71981087443</c:v>
                </c:pt>
                <c:pt idx="1483" formatCode="_-* #,##0_-;\-* #,##0_-;_-* &quot;-&quot;??_-;_-@_-">
                  <c:v>105968.70711492971</c:v>
                </c:pt>
                <c:pt idx="1484" formatCode="_-* #,##0_-;\-* #,##0_-;_-* &quot;-&quot;??_-;_-@_-">
                  <c:v>106073.69441898499</c:v>
                </c:pt>
                <c:pt idx="1485" formatCode="_-* #,##0_-;\-* #,##0_-;_-* &quot;-&quot;??_-;_-@_-">
                  <c:v>106178.68172304027</c:v>
                </c:pt>
                <c:pt idx="1486" formatCode="_-* #,##0_-;\-* #,##0_-;_-* &quot;-&quot;??_-;_-@_-">
                  <c:v>106283.66902709554</c:v>
                </c:pt>
                <c:pt idx="1487" formatCode="_-* #,##0_-;\-* #,##0_-;_-* &quot;-&quot;??_-;_-@_-">
                  <c:v>106388.65633115082</c:v>
                </c:pt>
                <c:pt idx="1488" formatCode="_-* #,##0_-;\-* #,##0_-;_-* &quot;-&quot;??_-;_-@_-">
                  <c:v>106493.6436352061</c:v>
                </c:pt>
                <c:pt idx="1489" formatCode="_-* #,##0_-;\-* #,##0_-;_-* &quot;-&quot;??_-;_-@_-">
                  <c:v>106598.63093926138</c:v>
                </c:pt>
                <c:pt idx="1490" formatCode="_-* #,##0_-;\-* #,##0_-;_-* &quot;-&quot;??_-;_-@_-">
                  <c:v>106703.61824331665</c:v>
                </c:pt>
                <c:pt idx="1491" formatCode="_-* #,##0_-;\-* #,##0_-;_-* &quot;-&quot;??_-;_-@_-">
                  <c:v>106808.60554737193</c:v>
                </c:pt>
                <c:pt idx="1492" formatCode="_-* #,##0_-;\-* #,##0_-;_-* &quot;-&quot;??_-;_-@_-">
                  <c:v>106913.59285142721</c:v>
                </c:pt>
                <c:pt idx="1493" formatCode="_-* #,##0_-;\-* #,##0_-;_-* &quot;-&quot;??_-;_-@_-">
                  <c:v>107018.58015548249</c:v>
                </c:pt>
                <c:pt idx="1494" formatCode="_-* #,##0_-;\-* #,##0_-;_-* &quot;-&quot;??_-;_-@_-">
                  <c:v>107123.56745953776</c:v>
                </c:pt>
                <c:pt idx="1495" formatCode="_-* #,##0_-;\-* #,##0_-;_-* &quot;-&quot;??_-;_-@_-">
                  <c:v>107228.55476359304</c:v>
                </c:pt>
                <c:pt idx="1496" formatCode="_-* #,##0_-;\-* #,##0_-;_-* &quot;-&quot;??_-;_-@_-">
                  <c:v>107333.54206764832</c:v>
                </c:pt>
                <c:pt idx="1497" formatCode="_-* #,##0_-;\-* #,##0_-;_-* &quot;-&quot;??_-;_-@_-">
                  <c:v>107438.5293717036</c:v>
                </c:pt>
                <c:pt idx="1498" formatCode="_-* #,##0_-;\-* #,##0_-;_-* &quot;-&quot;??_-;_-@_-">
                  <c:v>107543.51667575887</c:v>
                </c:pt>
                <c:pt idx="1499" formatCode="_-* #,##0_-;\-* #,##0_-;_-* &quot;-&quot;??_-;_-@_-">
                  <c:v>107648.50397981415</c:v>
                </c:pt>
                <c:pt idx="1500" formatCode="_-* #,##0_-;\-* #,##0_-;_-* &quot;-&quot;??_-;_-@_-">
                  <c:v>107753.49128386943</c:v>
                </c:pt>
                <c:pt idx="1501" formatCode="_-* #,##0_-;\-* #,##0_-;_-* &quot;-&quot;??_-;_-@_-">
                  <c:v>107858.47858792471</c:v>
                </c:pt>
                <c:pt idx="1502" formatCode="_-* #,##0_-;\-* #,##0_-;_-* &quot;-&quot;??_-;_-@_-">
                  <c:v>107963.46589197998</c:v>
                </c:pt>
                <c:pt idx="1503" formatCode="_-* #,##0_-;\-* #,##0_-;_-* &quot;-&quot;??_-;_-@_-">
                  <c:v>108068.45319603526</c:v>
                </c:pt>
                <c:pt idx="1504" formatCode="_-* #,##0_-;\-* #,##0_-;_-* &quot;-&quot;??_-;_-@_-">
                  <c:v>108173.44050009054</c:v>
                </c:pt>
                <c:pt idx="1505" formatCode="_-* #,##0_-;\-* #,##0_-;_-* &quot;-&quot;??_-;_-@_-">
                  <c:v>108278.42780414582</c:v>
                </c:pt>
                <c:pt idx="1506" formatCode="_-* #,##0_-;\-* #,##0_-;_-* &quot;-&quot;??_-;_-@_-">
                  <c:v>108383.41510820109</c:v>
                </c:pt>
                <c:pt idx="1507" formatCode="_-* #,##0_-;\-* #,##0_-;_-* &quot;-&quot;??_-;_-@_-">
                  <c:v>108488.40241225637</c:v>
                </c:pt>
                <c:pt idx="1508" formatCode="_-* #,##0_-;\-* #,##0_-;_-* &quot;-&quot;??_-;_-@_-">
                  <c:v>108593.38971631165</c:v>
                </c:pt>
                <c:pt idx="1509" formatCode="_-* #,##0_-;\-* #,##0_-;_-* &quot;-&quot;??_-;_-@_-">
                  <c:v>108698.37702036693</c:v>
                </c:pt>
                <c:pt idx="1510" formatCode="_-* #,##0_-;\-* #,##0_-;_-* &quot;-&quot;??_-;_-@_-">
                  <c:v>108803.3643244222</c:v>
                </c:pt>
                <c:pt idx="1511" formatCode="_-* #,##0_-;\-* #,##0_-;_-* &quot;-&quot;??_-;_-@_-">
                  <c:v>108908.35162847748</c:v>
                </c:pt>
                <c:pt idx="1512" formatCode="_-* #,##0_-;\-* #,##0_-;_-* &quot;-&quot;??_-;_-@_-">
                  <c:v>109013.33893253276</c:v>
                </c:pt>
                <c:pt idx="1513" formatCode="_-* #,##0_-;\-* #,##0_-;_-* &quot;-&quot;??_-;_-@_-">
                  <c:v>109118.32623658804</c:v>
                </c:pt>
                <c:pt idx="1514" formatCode="_-* #,##0_-;\-* #,##0_-;_-* &quot;-&quot;??_-;_-@_-">
                  <c:v>109223.31354064331</c:v>
                </c:pt>
                <c:pt idx="1515" formatCode="_-* #,##0_-;\-* #,##0_-;_-* &quot;-&quot;??_-;_-@_-">
                  <c:v>109328.30084469859</c:v>
                </c:pt>
                <c:pt idx="1516" formatCode="_-* #,##0_-;\-* #,##0_-;_-* &quot;-&quot;??_-;_-@_-">
                  <c:v>109433.28814875387</c:v>
                </c:pt>
                <c:pt idx="1517" formatCode="_-* #,##0_-;\-* #,##0_-;_-* &quot;-&quot;??_-;_-@_-">
                  <c:v>109538.27545280915</c:v>
                </c:pt>
                <c:pt idx="1518" formatCode="_-* #,##0_-;\-* #,##0_-;_-* &quot;-&quot;??_-;_-@_-">
                  <c:v>109643.26275686442</c:v>
                </c:pt>
                <c:pt idx="1519" formatCode="_-* #,##0_-;\-* #,##0_-;_-* &quot;-&quot;??_-;_-@_-">
                  <c:v>109748.2500609197</c:v>
                </c:pt>
                <c:pt idx="1520" formatCode="_-* #,##0_-;\-* #,##0_-;_-* &quot;-&quot;??_-;_-@_-">
                  <c:v>109853.23736497498</c:v>
                </c:pt>
                <c:pt idx="1521" formatCode="_-* #,##0_-;\-* #,##0_-;_-* &quot;-&quot;??_-;_-@_-">
                  <c:v>109958.22466903026</c:v>
                </c:pt>
                <c:pt idx="1522" formatCode="_-* #,##0_-;\-* #,##0_-;_-* &quot;-&quot;??_-;_-@_-">
                  <c:v>110063.21197308553</c:v>
                </c:pt>
                <c:pt idx="1523" formatCode="_-* #,##0_-;\-* #,##0_-;_-* &quot;-&quot;??_-;_-@_-">
                  <c:v>110168.19927714081</c:v>
                </c:pt>
                <c:pt idx="1524" formatCode="_-* #,##0_-;\-* #,##0_-;_-* &quot;-&quot;??_-;_-@_-">
                  <c:v>110273.18658119609</c:v>
                </c:pt>
                <c:pt idx="1525" formatCode="_-* #,##0_-;\-* #,##0_-;_-* &quot;-&quot;??_-;_-@_-">
                  <c:v>110378.17388525137</c:v>
                </c:pt>
                <c:pt idx="1526" formatCode="_-* #,##0_-;\-* #,##0_-;_-* &quot;-&quot;??_-;_-@_-">
                  <c:v>110483.16118930664</c:v>
                </c:pt>
                <c:pt idx="1527" formatCode="_-* #,##0_-;\-* #,##0_-;_-* &quot;-&quot;??_-;_-@_-">
                  <c:v>110588.14849336192</c:v>
                </c:pt>
                <c:pt idx="1528" formatCode="_-* #,##0_-;\-* #,##0_-;_-* &quot;-&quot;??_-;_-@_-">
                  <c:v>110693.1357974172</c:v>
                </c:pt>
                <c:pt idx="1529" formatCode="_-* #,##0_-;\-* #,##0_-;_-* &quot;-&quot;??_-;_-@_-">
                  <c:v>110798.12310147248</c:v>
                </c:pt>
                <c:pt idx="1530" formatCode="_-* #,##0_-;\-* #,##0_-;_-* &quot;-&quot;??_-;_-@_-">
                  <c:v>110903.11040552775</c:v>
                </c:pt>
                <c:pt idx="1531" formatCode="_-* #,##0_-;\-* #,##0_-;_-* &quot;-&quot;??_-;_-@_-">
                  <c:v>111008.09770958303</c:v>
                </c:pt>
                <c:pt idx="1532" formatCode="_-* #,##0_-;\-* #,##0_-;_-* &quot;-&quot;??_-;_-@_-">
                  <c:v>111113.08501363831</c:v>
                </c:pt>
                <c:pt idx="1533" formatCode="_-* #,##0_-;\-* #,##0_-;_-* &quot;-&quot;??_-;_-@_-">
                  <c:v>111218.07231769359</c:v>
                </c:pt>
                <c:pt idx="1534" formatCode="_-* #,##0_-;\-* #,##0_-;_-* &quot;-&quot;??_-;_-@_-">
                  <c:v>111323.05962174886</c:v>
                </c:pt>
                <c:pt idx="1535" formatCode="_-* #,##0_-;\-* #,##0_-;_-* &quot;-&quot;??_-;_-@_-">
                  <c:v>111428.04692580414</c:v>
                </c:pt>
                <c:pt idx="1536" formatCode="_-* #,##0_-;\-* #,##0_-;_-* &quot;-&quot;??_-;_-@_-">
                  <c:v>111533.03422985942</c:v>
                </c:pt>
                <c:pt idx="1537" formatCode="_-* #,##0_-;\-* #,##0_-;_-* &quot;-&quot;??_-;_-@_-">
                  <c:v>111638.0215339147</c:v>
                </c:pt>
                <c:pt idx="1538" formatCode="_-* #,##0_-;\-* #,##0_-;_-* &quot;-&quot;??_-;_-@_-">
                  <c:v>111743.00883796997</c:v>
                </c:pt>
                <c:pt idx="1539" formatCode="_-* #,##0_-;\-* #,##0_-;_-* &quot;-&quot;??_-;_-@_-">
                  <c:v>111847.99614202525</c:v>
                </c:pt>
                <c:pt idx="1540" formatCode="_-* #,##0_-;\-* #,##0_-;_-* &quot;-&quot;??_-;_-@_-">
                  <c:v>111952.98344608053</c:v>
                </c:pt>
                <c:pt idx="1541" formatCode="_-* #,##0_-;\-* #,##0_-;_-* &quot;-&quot;??_-;_-@_-">
                  <c:v>112057.97075013581</c:v>
                </c:pt>
                <c:pt idx="1542" formatCode="_-* #,##0_-;\-* #,##0_-;_-* &quot;-&quot;??_-;_-@_-">
                  <c:v>112162.95805419108</c:v>
                </c:pt>
                <c:pt idx="1543" formatCode="_-* #,##0_-;\-* #,##0_-;_-* &quot;-&quot;??_-;_-@_-">
                  <c:v>112267.94535824636</c:v>
                </c:pt>
                <c:pt idx="1544" formatCode="_-* #,##0_-;\-* #,##0_-;_-* &quot;-&quot;??_-;_-@_-">
                  <c:v>112372.93266230164</c:v>
                </c:pt>
                <c:pt idx="1545" formatCode="_-* #,##0_-;\-* #,##0_-;_-* &quot;-&quot;??_-;_-@_-">
                  <c:v>112477.91996635692</c:v>
                </c:pt>
                <c:pt idx="1546" formatCode="_-* #,##0_-;\-* #,##0_-;_-* &quot;-&quot;??_-;_-@_-">
                  <c:v>112582.90727041219</c:v>
                </c:pt>
                <c:pt idx="1547" formatCode="_-* #,##0_-;\-* #,##0_-;_-* &quot;-&quot;??_-;_-@_-">
                  <c:v>112687.89457446747</c:v>
                </c:pt>
                <c:pt idx="1548" formatCode="_-* #,##0_-;\-* #,##0_-;_-* &quot;-&quot;??_-;_-@_-">
                  <c:v>112792.88187852275</c:v>
                </c:pt>
                <c:pt idx="1549" formatCode="_-* #,##0_-;\-* #,##0_-;_-* &quot;-&quot;??_-;_-@_-">
                  <c:v>112897.86918257803</c:v>
                </c:pt>
                <c:pt idx="1550" formatCode="_-* #,##0_-;\-* #,##0_-;_-* &quot;-&quot;??_-;_-@_-">
                  <c:v>113002.8564866333</c:v>
                </c:pt>
                <c:pt idx="1551" formatCode="_-* #,##0_-;\-* #,##0_-;_-* &quot;-&quot;??_-;_-@_-">
                  <c:v>113107.84379068858</c:v>
                </c:pt>
                <c:pt idx="1552" formatCode="_-* #,##0_-;\-* #,##0_-;_-* &quot;-&quot;??_-;_-@_-">
                  <c:v>113212.83109474386</c:v>
                </c:pt>
                <c:pt idx="1553" formatCode="_-* #,##0_-;\-* #,##0_-;_-* &quot;-&quot;??_-;_-@_-">
                  <c:v>113317.81839879914</c:v>
                </c:pt>
                <c:pt idx="1554" formatCode="_-* #,##0_-;\-* #,##0_-;_-* &quot;-&quot;??_-;_-@_-">
                  <c:v>113422.80570285441</c:v>
                </c:pt>
                <c:pt idx="1555" formatCode="_-* #,##0_-;\-* #,##0_-;_-* &quot;-&quot;??_-;_-@_-">
                  <c:v>113527.79300690969</c:v>
                </c:pt>
                <c:pt idx="1556" formatCode="_-* #,##0_-;\-* #,##0_-;_-* &quot;-&quot;??_-;_-@_-">
                  <c:v>113632.78031096497</c:v>
                </c:pt>
                <c:pt idx="1557" formatCode="_-* #,##0_-;\-* #,##0_-;_-* &quot;-&quot;??_-;_-@_-">
                  <c:v>113737.76761502025</c:v>
                </c:pt>
                <c:pt idx="1558" formatCode="_-* #,##0_-;\-* #,##0_-;_-* &quot;-&quot;??_-;_-@_-">
                  <c:v>113842.75491907552</c:v>
                </c:pt>
                <c:pt idx="1559" formatCode="_-* #,##0_-;\-* #,##0_-;_-* &quot;-&quot;??_-;_-@_-">
                  <c:v>113947.7422231308</c:v>
                </c:pt>
                <c:pt idx="1560" formatCode="_-* #,##0_-;\-* #,##0_-;_-* &quot;-&quot;??_-;_-@_-">
                  <c:v>114052.72952718608</c:v>
                </c:pt>
                <c:pt idx="1561" formatCode="_-* #,##0_-;\-* #,##0_-;_-* &quot;-&quot;??_-;_-@_-">
                  <c:v>114157.71683124136</c:v>
                </c:pt>
                <c:pt idx="1562" formatCode="_-* #,##0_-;\-* #,##0_-;_-* &quot;-&quot;??_-;_-@_-">
                  <c:v>114262.70413529663</c:v>
                </c:pt>
                <c:pt idx="1563" formatCode="_-* #,##0_-;\-* #,##0_-;_-* &quot;-&quot;??_-;_-@_-">
                  <c:v>114367.69143935191</c:v>
                </c:pt>
                <c:pt idx="1564" formatCode="_-* #,##0_-;\-* #,##0_-;_-* &quot;-&quot;??_-;_-@_-">
                  <c:v>114472.67874340719</c:v>
                </c:pt>
                <c:pt idx="1565" formatCode="_-* #,##0_-;\-* #,##0_-;_-* &quot;-&quot;??_-;_-@_-">
                  <c:v>114577.66604746247</c:v>
                </c:pt>
                <c:pt idx="1566" formatCode="_-* #,##0_-;\-* #,##0_-;_-* &quot;-&quot;??_-;_-@_-">
                  <c:v>114682.65335151774</c:v>
                </c:pt>
                <c:pt idx="1567" formatCode="_-* #,##0_-;\-* #,##0_-;_-* &quot;-&quot;??_-;_-@_-">
                  <c:v>114787.64065557302</c:v>
                </c:pt>
                <c:pt idx="1568" formatCode="_-* #,##0_-;\-* #,##0_-;_-* &quot;-&quot;??_-;_-@_-">
                  <c:v>114892.6279596283</c:v>
                </c:pt>
                <c:pt idx="1569" formatCode="_-* #,##0_-;\-* #,##0_-;_-* &quot;-&quot;??_-;_-@_-">
                  <c:v>114997.61526368358</c:v>
                </c:pt>
                <c:pt idx="1570" formatCode="_-* #,##0_-;\-* #,##0_-;_-* &quot;-&quot;??_-;_-@_-">
                  <c:v>115102.60256773885</c:v>
                </c:pt>
                <c:pt idx="1571" formatCode="_-* #,##0_-;\-* #,##0_-;_-* &quot;-&quot;??_-;_-@_-">
                  <c:v>115207.58987179413</c:v>
                </c:pt>
                <c:pt idx="1572" formatCode="_-* #,##0_-;\-* #,##0_-;_-* &quot;-&quot;??_-;_-@_-">
                  <c:v>115312.57717584941</c:v>
                </c:pt>
                <c:pt idx="1573" formatCode="_-* #,##0_-;\-* #,##0_-;_-* &quot;-&quot;??_-;_-@_-">
                  <c:v>115417.56447990469</c:v>
                </c:pt>
                <c:pt idx="1574" formatCode="_-* #,##0_-;\-* #,##0_-;_-* &quot;-&quot;??_-;_-@_-">
                  <c:v>115522.55178395996</c:v>
                </c:pt>
                <c:pt idx="1575" formatCode="_-* #,##0_-;\-* #,##0_-;_-* &quot;-&quot;??_-;_-@_-">
                  <c:v>115627.53908801524</c:v>
                </c:pt>
                <c:pt idx="1576" formatCode="_-* #,##0_-;\-* #,##0_-;_-* &quot;-&quot;??_-;_-@_-">
                  <c:v>115732.52639207052</c:v>
                </c:pt>
                <c:pt idx="1577" formatCode="_-* #,##0_-;\-* #,##0_-;_-* &quot;-&quot;??_-;_-@_-">
                  <c:v>115837.5136961258</c:v>
                </c:pt>
                <c:pt idx="1578" formatCode="_-* #,##0_-;\-* #,##0_-;_-* &quot;-&quot;??_-;_-@_-">
                  <c:v>115942.50100018107</c:v>
                </c:pt>
                <c:pt idx="1579" formatCode="_-* #,##0_-;\-* #,##0_-;_-* &quot;-&quot;??_-;_-@_-">
                  <c:v>116047.48830423635</c:v>
                </c:pt>
                <c:pt idx="1580" formatCode="_-* #,##0_-;\-* #,##0_-;_-* &quot;-&quot;??_-;_-@_-">
                  <c:v>116152.47560829163</c:v>
                </c:pt>
                <c:pt idx="1581" formatCode="_-* #,##0_-;\-* #,##0_-;_-* &quot;-&quot;??_-;_-@_-">
                  <c:v>116257.46291234691</c:v>
                </c:pt>
                <c:pt idx="1582" formatCode="_-* #,##0_-;\-* #,##0_-;_-* &quot;-&quot;??_-;_-@_-">
                  <c:v>116362.45021640218</c:v>
                </c:pt>
                <c:pt idx="1583" formatCode="_-* #,##0_-;\-* #,##0_-;_-* &quot;-&quot;??_-;_-@_-">
                  <c:v>116467.43752045746</c:v>
                </c:pt>
                <c:pt idx="1584" formatCode="_-* #,##0_-;\-* #,##0_-;_-* &quot;-&quot;??_-;_-@_-">
                  <c:v>116572.42482451274</c:v>
                </c:pt>
                <c:pt idx="1585" formatCode="_-* #,##0_-;\-* #,##0_-;_-* &quot;-&quot;??_-;_-@_-">
                  <c:v>116677.41212856802</c:v>
                </c:pt>
                <c:pt idx="1586" formatCode="_-* #,##0_-;\-* #,##0_-;_-* &quot;-&quot;??_-;_-@_-">
                  <c:v>116782.39943262329</c:v>
                </c:pt>
                <c:pt idx="1587" formatCode="_-* #,##0_-;\-* #,##0_-;_-* &quot;-&quot;??_-;_-@_-">
                  <c:v>116887.38673667857</c:v>
                </c:pt>
                <c:pt idx="1588" formatCode="_-* #,##0_-;\-* #,##0_-;_-* &quot;-&quot;??_-;_-@_-">
                  <c:v>116992.37404073385</c:v>
                </c:pt>
                <c:pt idx="1589" formatCode="_-* #,##0_-;\-* #,##0_-;_-* &quot;-&quot;??_-;_-@_-">
                  <c:v>117097.36134478913</c:v>
                </c:pt>
                <c:pt idx="1590" formatCode="_-* #,##0_-;\-* #,##0_-;_-* &quot;-&quot;??_-;_-@_-">
                  <c:v>117202.3486488444</c:v>
                </c:pt>
                <c:pt idx="1591" formatCode="_-* #,##0_-;\-* #,##0_-;_-* &quot;-&quot;??_-;_-@_-">
                  <c:v>117307.33595289968</c:v>
                </c:pt>
                <c:pt idx="1592" formatCode="_-* #,##0_-;\-* #,##0_-;_-* &quot;-&quot;??_-;_-@_-">
                  <c:v>117412.32325695496</c:v>
                </c:pt>
                <c:pt idx="1593" formatCode="_-* #,##0_-;\-* #,##0_-;_-* &quot;-&quot;??_-;_-@_-">
                  <c:v>117517.31056101024</c:v>
                </c:pt>
                <c:pt idx="1594" formatCode="_-* #,##0_-;\-* #,##0_-;_-* &quot;-&quot;??_-;_-@_-">
                  <c:v>117622.29786506551</c:v>
                </c:pt>
                <c:pt idx="1595" formatCode="_-* #,##0_-;\-* #,##0_-;_-* &quot;-&quot;??_-;_-@_-">
                  <c:v>117727.28516912079</c:v>
                </c:pt>
                <c:pt idx="1596" formatCode="_-* #,##0_-;\-* #,##0_-;_-* &quot;-&quot;??_-;_-@_-">
                  <c:v>117832.27247317607</c:v>
                </c:pt>
                <c:pt idx="1597" formatCode="_-* #,##0_-;\-* #,##0_-;_-* &quot;-&quot;??_-;_-@_-">
                  <c:v>117937.25977723135</c:v>
                </c:pt>
                <c:pt idx="1598" formatCode="_-* #,##0_-;\-* #,##0_-;_-* &quot;-&quot;??_-;_-@_-">
                  <c:v>118042.24708128662</c:v>
                </c:pt>
                <c:pt idx="1599" formatCode="_-* #,##0_-;\-* #,##0_-;_-* &quot;-&quot;??_-;_-@_-">
                  <c:v>118147.2343853419</c:v>
                </c:pt>
                <c:pt idx="1600" formatCode="_-* #,##0_-;\-* #,##0_-;_-* &quot;-&quot;??_-;_-@_-">
                  <c:v>118252.22168939718</c:v>
                </c:pt>
                <c:pt idx="1601" formatCode="_-* #,##0_-;\-* #,##0_-;_-* &quot;-&quot;??_-;_-@_-">
                  <c:v>118357.20899345246</c:v>
                </c:pt>
                <c:pt idx="1602" formatCode="_-* #,##0_-;\-* #,##0_-;_-* &quot;-&quot;??_-;_-@_-">
                  <c:v>118462.19629750773</c:v>
                </c:pt>
                <c:pt idx="1603" formatCode="_-* #,##0_-;\-* #,##0_-;_-* &quot;-&quot;??_-;_-@_-">
                  <c:v>118567.18360156301</c:v>
                </c:pt>
                <c:pt idx="1604" formatCode="_-* #,##0_-;\-* #,##0_-;_-* &quot;-&quot;??_-;_-@_-">
                  <c:v>118672.17090561829</c:v>
                </c:pt>
                <c:pt idx="1605" formatCode="_-* #,##0_-;\-* #,##0_-;_-* &quot;-&quot;??_-;_-@_-">
                  <c:v>118777.15820967357</c:v>
                </c:pt>
                <c:pt idx="1606" formatCode="_-* #,##0_-;\-* #,##0_-;_-* &quot;-&quot;??_-;_-@_-">
                  <c:v>118882.14551372884</c:v>
                </c:pt>
                <c:pt idx="1607" formatCode="_-* #,##0_-;\-* #,##0_-;_-* &quot;-&quot;??_-;_-@_-">
                  <c:v>118987.13281778412</c:v>
                </c:pt>
                <c:pt idx="1608" formatCode="_-* #,##0_-;\-* #,##0_-;_-* &quot;-&quot;??_-;_-@_-">
                  <c:v>119092.1201218394</c:v>
                </c:pt>
                <c:pt idx="1609" formatCode="_-* #,##0_-;\-* #,##0_-;_-* &quot;-&quot;??_-;_-@_-">
                  <c:v>119197.10742589468</c:v>
                </c:pt>
                <c:pt idx="1610" formatCode="_-* #,##0_-;\-* #,##0_-;_-* &quot;-&quot;??_-;_-@_-">
                  <c:v>119302.09472994995</c:v>
                </c:pt>
                <c:pt idx="1611" formatCode="_-* #,##0_-;\-* #,##0_-;_-* &quot;-&quot;??_-;_-@_-">
                  <c:v>119407.08203400523</c:v>
                </c:pt>
                <c:pt idx="1612" formatCode="_-* #,##0_-;\-* #,##0_-;_-* &quot;-&quot;??_-;_-@_-">
                  <c:v>119512.06933806051</c:v>
                </c:pt>
                <c:pt idx="1613" formatCode="_-* #,##0_-;\-* #,##0_-;_-* &quot;-&quot;??_-;_-@_-">
                  <c:v>119617.05664211579</c:v>
                </c:pt>
                <c:pt idx="1614" formatCode="_-* #,##0_-;\-* #,##0_-;_-* &quot;-&quot;??_-;_-@_-">
                  <c:v>119722.04394617106</c:v>
                </c:pt>
                <c:pt idx="1615" formatCode="_-* #,##0_-;\-* #,##0_-;_-* &quot;-&quot;??_-;_-@_-">
                  <c:v>119827.03125022634</c:v>
                </c:pt>
                <c:pt idx="1616" formatCode="_-* #,##0_-;\-* #,##0_-;_-* &quot;-&quot;??_-;_-@_-">
                  <c:v>119932.01855428162</c:v>
                </c:pt>
                <c:pt idx="1617" formatCode="_-* #,##0_-;\-* #,##0_-;_-* &quot;-&quot;??_-;_-@_-">
                  <c:v>120037.0058583369</c:v>
                </c:pt>
                <c:pt idx="1618" formatCode="_-* #,##0_-;\-* #,##0_-;_-* &quot;-&quot;??_-;_-@_-">
                  <c:v>120141.99316239318</c:v>
                </c:pt>
              </c:numCache>
            </c:numRef>
          </c:val>
          <c:smooth val="0"/>
        </c:ser>
        <c:ser>
          <c:idx val="2"/>
          <c:order val="2"/>
          <c:spPr>
            <a:ln w="28575" cap="rnd">
              <a:solidFill>
                <a:srgbClr val="C00000"/>
              </a:solidFill>
              <a:prstDash val="sysDot"/>
              <a:round/>
            </a:ln>
            <a:effectLst/>
          </c:spPr>
          <c:marker>
            <c:symbol val="none"/>
          </c:marker>
          <c:cat>
            <c:numRef>
              <c:f>Sheet1!$A$7:$A$1625</c:f>
              <c:numCache>
                <c:formatCode>m/d/yyyy</c:formatCode>
                <c:ptCount val="1619"/>
                <c:pt idx="0">
                  <c:v>41640</c:v>
                </c:pt>
                <c:pt idx="1">
                  <c:v>41641</c:v>
                </c:pt>
                <c:pt idx="2">
                  <c:v>41642</c:v>
                </c:pt>
                <c:pt idx="3">
                  <c:v>41645</c:v>
                </c:pt>
                <c:pt idx="4">
                  <c:v>41646</c:v>
                </c:pt>
                <c:pt idx="5">
                  <c:v>41647</c:v>
                </c:pt>
                <c:pt idx="6">
                  <c:v>41648</c:v>
                </c:pt>
                <c:pt idx="7">
                  <c:v>41649</c:v>
                </c:pt>
                <c:pt idx="8">
                  <c:v>41652</c:v>
                </c:pt>
                <c:pt idx="9">
                  <c:v>41653</c:v>
                </c:pt>
                <c:pt idx="10">
                  <c:v>41654</c:v>
                </c:pt>
                <c:pt idx="11">
                  <c:v>41655</c:v>
                </c:pt>
                <c:pt idx="12">
                  <c:v>41656</c:v>
                </c:pt>
                <c:pt idx="13">
                  <c:v>41659</c:v>
                </c:pt>
                <c:pt idx="14">
                  <c:v>41660</c:v>
                </c:pt>
                <c:pt idx="15">
                  <c:v>41661</c:v>
                </c:pt>
                <c:pt idx="16">
                  <c:v>41662</c:v>
                </c:pt>
                <c:pt idx="17">
                  <c:v>41663</c:v>
                </c:pt>
                <c:pt idx="18">
                  <c:v>41666</c:v>
                </c:pt>
                <c:pt idx="19">
                  <c:v>41667</c:v>
                </c:pt>
                <c:pt idx="20">
                  <c:v>41668</c:v>
                </c:pt>
                <c:pt idx="21">
                  <c:v>41669</c:v>
                </c:pt>
                <c:pt idx="22">
                  <c:v>41670</c:v>
                </c:pt>
                <c:pt idx="23">
                  <c:v>41673</c:v>
                </c:pt>
                <c:pt idx="24">
                  <c:v>41674</c:v>
                </c:pt>
                <c:pt idx="25">
                  <c:v>41675</c:v>
                </c:pt>
                <c:pt idx="26">
                  <c:v>41676</c:v>
                </c:pt>
                <c:pt idx="27">
                  <c:v>41677</c:v>
                </c:pt>
                <c:pt idx="28">
                  <c:v>41680</c:v>
                </c:pt>
                <c:pt idx="29">
                  <c:v>41681</c:v>
                </c:pt>
                <c:pt idx="30">
                  <c:v>41682</c:v>
                </c:pt>
                <c:pt idx="31">
                  <c:v>41683</c:v>
                </c:pt>
                <c:pt idx="32">
                  <c:v>41684</c:v>
                </c:pt>
                <c:pt idx="33">
                  <c:v>41687</c:v>
                </c:pt>
                <c:pt idx="34">
                  <c:v>41688</c:v>
                </c:pt>
                <c:pt idx="35">
                  <c:v>41689</c:v>
                </c:pt>
                <c:pt idx="36">
                  <c:v>41690</c:v>
                </c:pt>
                <c:pt idx="37">
                  <c:v>41691</c:v>
                </c:pt>
                <c:pt idx="38">
                  <c:v>41694</c:v>
                </c:pt>
                <c:pt idx="39">
                  <c:v>41695</c:v>
                </c:pt>
                <c:pt idx="40">
                  <c:v>41696</c:v>
                </c:pt>
                <c:pt idx="41">
                  <c:v>41697</c:v>
                </c:pt>
                <c:pt idx="42">
                  <c:v>41698</c:v>
                </c:pt>
                <c:pt idx="43">
                  <c:v>41701</c:v>
                </c:pt>
                <c:pt idx="44">
                  <c:v>41702</c:v>
                </c:pt>
                <c:pt idx="45">
                  <c:v>41703</c:v>
                </c:pt>
                <c:pt idx="46">
                  <c:v>41704</c:v>
                </c:pt>
                <c:pt idx="47">
                  <c:v>41705</c:v>
                </c:pt>
                <c:pt idx="48">
                  <c:v>41708</c:v>
                </c:pt>
                <c:pt idx="49">
                  <c:v>41709</c:v>
                </c:pt>
                <c:pt idx="50">
                  <c:v>41710</c:v>
                </c:pt>
                <c:pt idx="51">
                  <c:v>41711</c:v>
                </c:pt>
                <c:pt idx="52">
                  <c:v>41712</c:v>
                </c:pt>
                <c:pt idx="53">
                  <c:v>41715</c:v>
                </c:pt>
                <c:pt idx="54">
                  <c:v>41716</c:v>
                </c:pt>
                <c:pt idx="55">
                  <c:v>41717</c:v>
                </c:pt>
                <c:pt idx="56">
                  <c:v>41718</c:v>
                </c:pt>
                <c:pt idx="57">
                  <c:v>41719</c:v>
                </c:pt>
                <c:pt idx="58">
                  <c:v>41722</c:v>
                </c:pt>
                <c:pt idx="59">
                  <c:v>41723</c:v>
                </c:pt>
                <c:pt idx="60">
                  <c:v>41724</c:v>
                </c:pt>
                <c:pt idx="61">
                  <c:v>41725</c:v>
                </c:pt>
                <c:pt idx="62">
                  <c:v>41726</c:v>
                </c:pt>
                <c:pt idx="63">
                  <c:v>41729</c:v>
                </c:pt>
                <c:pt idx="64">
                  <c:v>41730</c:v>
                </c:pt>
                <c:pt idx="65">
                  <c:v>41731</c:v>
                </c:pt>
                <c:pt idx="66">
                  <c:v>41732</c:v>
                </c:pt>
                <c:pt idx="67">
                  <c:v>41733</c:v>
                </c:pt>
                <c:pt idx="68">
                  <c:v>41736</c:v>
                </c:pt>
                <c:pt idx="69">
                  <c:v>41737</c:v>
                </c:pt>
                <c:pt idx="70">
                  <c:v>41738</c:v>
                </c:pt>
                <c:pt idx="71">
                  <c:v>41739</c:v>
                </c:pt>
                <c:pt idx="72">
                  <c:v>41740</c:v>
                </c:pt>
                <c:pt idx="73">
                  <c:v>41743</c:v>
                </c:pt>
                <c:pt idx="74">
                  <c:v>41744</c:v>
                </c:pt>
                <c:pt idx="75">
                  <c:v>41745</c:v>
                </c:pt>
                <c:pt idx="76">
                  <c:v>41746</c:v>
                </c:pt>
                <c:pt idx="77">
                  <c:v>41747</c:v>
                </c:pt>
                <c:pt idx="78">
                  <c:v>41750</c:v>
                </c:pt>
                <c:pt idx="79">
                  <c:v>41751</c:v>
                </c:pt>
                <c:pt idx="80">
                  <c:v>41752</c:v>
                </c:pt>
                <c:pt idx="81">
                  <c:v>41753</c:v>
                </c:pt>
                <c:pt idx="82">
                  <c:v>41754</c:v>
                </c:pt>
                <c:pt idx="83">
                  <c:v>41757</c:v>
                </c:pt>
                <c:pt idx="84">
                  <c:v>41758</c:v>
                </c:pt>
                <c:pt idx="85">
                  <c:v>41759</c:v>
                </c:pt>
                <c:pt idx="86">
                  <c:v>41760</c:v>
                </c:pt>
                <c:pt idx="87">
                  <c:v>41761</c:v>
                </c:pt>
                <c:pt idx="88">
                  <c:v>41764</c:v>
                </c:pt>
                <c:pt idx="89">
                  <c:v>41765</c:v>
                </c:pt>
                <c:pt idx="90">
                  <c:v>41766</c:v>
                </c:pt>
                <c:pt idx="91">
                  <c:v>41767</c:v>
                </c:pt>
                <c:pt idx="92">
                  <c:v>41768</c:v>
                </c:pt>
                <c:pt idx="93">
                  <c:v>41771</c:v>
                </c:pt>
                <c:pt idx="94">
                  <c:v>41772</c:v>
                </c:pt>
                <c:pt idx="95">
                  <c:v>41773</c:v>
                </c:pt>
                <c:pt idx="96">
                  <c:v>41774</c:v>
                </c:pt>
                <c:pt idx="97">
                  <c:v>41775</c:v>
                </c:pt>
                <c:pt idx="98">
                  <c:v>41778</c:v>
                </c:pt>
                <c:pt idx="99">
                  <c:v>41779</c:v>
                </c:pt>
                <c:pt idx="100">
                  <c:v>41780</c:v>
                </c:pt>
                <c:pt idx="101">
                  <c:v>41781</c:v>
                </c:pt>
                <c:pt idx="102">
                  <c:v>41782</c:v>
                </c:pt>
                <c:pt idx="103">
                  <c:v>41785</c:v>
                </c:pt>
                <c:pt idx="104">
                  <c:v>41786</c:v>
                </c:pt>
                <c:pt idx="105">
                  <c:v>41787</c:v>
                </c:pt>
                <c:pt idx="106">
                  <c:v>41788</c:v>
                </c:pt>
                <c:pt idx="107">
                  <c:v>41789</c:v>
                </c:pt>
                <c:pt idx="108">
                  <c:v>41792</c:v>
                </c:pt>
                <c:pt idx="109">
                  <c:v>41793</c:v>
                </c:pt>
                <c:pt idx="110">
                  <c:v>41794</c:v>
                </c:pt>
                <c:pt idx="111">
                  <c:v>41795</c:v>
                </c:pt>
                <c:pt idx="112">
                  <c:v>41796</c:v>
                </c:pt>
                <c:pt idx="113">
                  <c:v>41799</c:v>
                </c:pt>
                <c:pt idx="114">
                  <c:v>41800</c:v>
                </c:pt>
                <c:pt idx="115">
                  <c:v>41801</c:v>
                </c:pt>
                <c:pt idx="116">
                  <c:v>41802</c:v>
                </c:pt>
                <c:pt idx="117">
                  <c:v>41803</c:v>
                </c:pt>
                <c:pt idx="118">
                  <c:v>41806</c:v>
                </c:pt>
                <c:pt idx="119">
                  <c:v>41807</c:v>
                </c:pt>
                <c:pt idx="120">
                  <c:v>41808</c:v>
                </c:pt>
                <c:pt idx="121">
                  <c:v>41809</c:v>
                </c:pt>
                <c:pt idx="122">
                  <c:v>41810</c:v>
                </c:pt>
                <c:pt idx="123">
                  <c:v>41813</c:v>
                </c:pt>
                <c:pt idx="124">
                  <c:v>41814</c:v>
                </c:pt>
                <c:pt idx="125">
                  <c:v>41815</c:v>
                </c:pt>
                <c:pt idx="126">
                  <c:v>41816</c:v>
                </c:pt>
                <c:pt idx="127">
                  <c:v>41817</c:v>
                </c:pt>
                <c:pt idx="128">
                  <c:v>41820</c:v>
                </c:pt>
                <c:pt idx="129">
                  <c:v>41821</c:v>
                </c:pt>
                <c:pt idx="130">
                  <c:v>41822</c:v>
                </c:pt>
                <c:pt idx="131">
                  <c:v>41823</c:v>
                </c:pt>
                <c:pt idx="132">
                  <c:v>41824</c:v>
                </c:pt>
                <c:pt idx="133">
                  <c:v>41827</c:v>
                </c:pt>
                <c:pt idx="134">
                  <c:v>41828</c:v>
                </c:pt>
                <c:pt idx="135">
                  <c:v>41829</c:v>
                </c:pt>
                <c:pt idx="136">
                  <c:v>41830</c:v>
                </c:pt>
                <c:pt idx="137">
                  <c:v>41831</c:v>
                </c:pt>
                <c:pt idx="138">
                  <c:v>41834</c:v>
                </c:pt>
                <c:pt idx="139">
                  <c:v>41835</c:v>
                </c:pt>
                <c:pt idx="140">
                  <c:v>41836</c:v>
                </c:pt>
                <c:pt idx="141">
                  <c:v>41837</c:v>
                </c:pt>
                <c:pt idx="142">
                  <c:v>41838</c:v>
                </c:pt>
                <c:pt idx="143">
                  <c:v>41841</c:v>
                </c:pt>
                <c:pt idx="144">
                  <c:v>41842</c:v>
                </c:pt>
                <c:pt idx="145">
                  <c:v>41843</c:v>
                </c:pt>
                <c:pt idx="146">
                  <c:v>41844</c:v>
                </c:pt>
                <c:pt idx="147">
                  <c:v>41845</c:v>
                </c:pt>
                <c:pt idx="148">
                  <c:v>41848</c:v>
                </c:pt>
                <c:pt idx="149">
                  <c:v>41849</c:v>
                </c:pt>
                <c:pt idx="150">
                  <c:v>41850</c:v>
                </c:pt>
                <c:pt idx="151">
                  <c:v>41851</c:v>
                </c:pt>
                <c:pt idx="152">
                  <c:v>41852</c:v>
                </c:pt>
                <c:pt idx="153">
                  <c:v>41855</c:v>
                </c:pt>
                <c:pt idx="154">
                  <c:v>41856</c:v>
                </c:pt>
                <c:pt idx="155">
                  <c:v>41857</c:v>
                </c:pt>
                <c:pt idx="156">
                  <c:v>41858</c:v>
                </c:pt>
                <c:pt idx="157">
                  <c:v>41859</c:v>
                </c:pt>
                <c:pt idx="158">
                  <c:v>41862</c:v>
                </c:pt>
                <c:pt idx="159">
                  <c:v>41863</c:v>
                </c:pt>
                <c:pt idx="160">
                  <c:v>41864</c:v>
                </c:pt>
                <c:pt idx="161">
                  <c:v>41865</c:v>
                </c:pt>
                <c:pt idx="162">
                  <c:v>41866</c:v>
                </c:pt>
                <c:pt idx="163">
                  <c:v>41869</c:v>
                </c:pt>
                <c:pt idx="164">
                  <c:v>41870</c:v>
                </c:pt>
                <c:pt idx="165">
                  <c:v>41871</c:v>
                </c:pt>
                <c:pt idx="166">
                  <c:v>41872</c:v>
                </c:pt>
                <c:pt idx="167">
                  <c:v>41873</c:v>
                </c:pt>
                <c:pt idx="168">
                  <c:v>41876</c:v>
                </c:pt>
                <c:pt idx="169">
                  <c:v>41877</c:v>
                </c:pt>
                <c:pt idx="170">
                  <c:v>41878</c:v>
                </c:pt>
                <c:pt idx="171">
                  <c:v>41879</c:v>
                </c:pt>
                <c:pt idx="172">
                  <c:v>41880</c:v>
                </c:pt>
                <c:pt idx="173">
                  <c:v>41883</c:v>
                </c:pt>
                <c:pt idx="174">
                  <c:v>41884</c:v>
                </c:pt>
                <c:pt idx="175">
                  <c:v>41885</c:v>
                </c:pt>
                <c:pt idx="176">
                  <c:v>41886</c:v>
                </c:pt>
                <c:pt idx="177">
                  <c:v>41887</c:v>
                </c:pt>
                <c:pt idx="178">
                  <c:v>41890</c:v>
                </c:pt>
                <c:pt idx="179">
                  <c:v>41891</c:v>
                </c:pt>
                <c:pt idx="180">
                  <c:v>41892</c:v>
                </c:pt>
                <c:pt idx="181">
                  <c:v>41893</c:v>
                </c:pt>
                <c:pt idx="182">
                  <c:v>41894</c:v>
                </c:pt>
                <c:pt idx="183">
                  <c:v>41897</c:v>
                </c:pt>
                <c:pt idx="184">
                  <c:v>41898</c:v>
                </c:pt>
                <c:pt idx="185">
                  <c:v>41899</c:v>
                </c:pt>
                <c:pt idx="186">
                  <c:v>41900</c:v>
                </c:pt>
                <c:pt idx="187">
                  <c:v>41901</c:v>
                </c:pt>
                <c:pt idx="188">
                  <c:v>41904</c:v>
                </c:pt>
                <c:pt idx="189">
                  <c:v>41905</c:v>
                </c:pt>
                <c:pt idx="190">
                  <c:v>41906</c:v>
                </c:pt>
                <c:pt idx="191">
                  <c:v>41907</c:v>
                </c:pt>
                <c:pt idx="192">
                  <c:v>41908</c:v>
                </c:pt>
                <c:pt idx="193">
                  <c:v>41911</c:v>
                </c:pt>
                <c:pt idx="194">
                  <c:v>41912</c:v>
                </c:pt>
                <c:pt idx="195">
                  <c:v>41913</c:v>
                </c:pt>
                <c:pt idx="196">
                  <c:v>41914</c:v>
                </c:pt>
                <c:pt idx="197">
                  <c:v>41915</c:v>
                </c:pt>
                <c:pt idx="198">
                  <c:v>41918</c:v>
                </c:pt>
                <c:pt idx="199">
                  <c:v>41919</c:v>
                </c:pt>
                <c:pt idx="200">
                  <c:v>41920</c:v>
                </c:pt>
                <c:pt idx="201">
                  <c:v>41921</c:v>
                </c:pt>
                <c:pt idx="202">
                  <c:v>41922</c:v>
                </c:pt>
                <c:pt idx="203">
                  <c:v>41925</c:v>
                </c:pt>
                <c:pt idx="204">
                  <c:v>41926</c:v>
                </c:pt>
                <c:pt idx="205">
                  <c:v>41927</c:v>
                </c:pt>
                <c:pt idx="206">
                  <c:v>41928</c:v>
                </c:pt>
                <c:pt idx="207">
                  <c:v>41929</c:v>
                </c:pt>
                <c:pt idx="208">
                  <c:v>41932</c:v>
                </c:pt>
                <c:pt idx="209">
                  <c:v>41933</c:v>
                </c:pt>
                <c:pt idx="210">
                  <c:v>41934</c:v>
                </c:pt>
                <c:pt idx="211">
                  <c:v>41935</c:v>
                </c:pt>
                <c:pt idx="212">
                  <c:v>41936</c:v>
                </c:pt>
                <c:pt idx="213">
                  <c:v>41939</c:v>
                </c:pt>
                <c:pt idx="214">
                  <c:v>41940</c:v>
                </c:pt>
                <c:pt idx="215">
                  <c:v>41941</c:v>
                </c:pt>
                <c:pt idx="216">
                  <c:v>41942</c:v>
                </c:pt>
                <c:pt idx="217">
                  <c:v>41943</c:v>
                </c:pt>
                <c:pt idx="218">
                  <c:v>41946</c:v>
                </c:pt>
                <c:pt idx="219">
                  <c:v>41947</c:v>
                </c:pt>
                <c:pt idx="220">
                  <c:v>41948</c:v>
                </c:pt>
                <c:pt idx="221">
                  <c:v>41949</c:v>
                </c:pt>
                <c:pt idx="222">
                  <c:v>41950</c:v>
                </c:pt>
                <c:pt idx="223">
                  <c:v>41953</c:v>
                </c:pt>
                <c:pt idx="224">
                  <c:v>41954</c:v>
                </c:pt>
                <c:pt idx="225">
                  <c:v>41955</c:v>
                </c:pt>
                <c:pt idx="226">
                  <c:v>41956</c:v>
                </c:pt>
                <c:pt idx="227">
                  <c:v>41957</c:v>
                </c:pt>
                <c:pt idx="228">
                  <c:v>41960</c:v>
                </c:pt>
                <c:pt idx="229">
                  <c:v>41961</c:v>
                </c:pt>
                <c:pt idx="230">
                  <c:v>41962</c:v>
                </c:pt>
                <c:pt idx="231">
                  <c:v>41963</c:v>
                </c:pt>
                <c:pt idx="232">
                  <c:v>41964</c:v>
                </c:pt>
                <c:pt idx="233">
                  <c:v>41967</c:v>
                </c:pt>
                <c:pt idx="234">
                  <c:v>41968</c:v>
                </c:pt>
                <c:pt idx="235">
                  <c:v>41969</c:v>
                </c:pt>
                <c:pt idx="236">
                  <c:v>41970</c:v>
                </c:pt>
                <c:pt idx="237">
                  <c:v>41971</c:v>
                </c:pt>
                <c:pt idx="238">
                  <c:v>41974</c:v>
                </c:pt>
                <c:pt idx="239">
                  <c:v>41975</c:v>
                </c:pt>
                <c:pt idx="240">
                  <c:v>41976</c:v>
                </c:pt>
                <c:pt idx="241">
                  <c:v>41977</c:v>
                </c:pt>
                <c:pt idx="242">
                  <c:v>41978</c:v>
                </c:pt>
                <c:pt idx="243">
                  <c:v>41981</c:v>
                </c:pt>
                <c:pt idx="244">
                  <c:v>41982</c:v>
                </c:pt>
                <c:pt idx="245">
                  <c:v>41983</c:v>
                </c:pt>
                <c:pt idx="246">
                  <c:v>41984</c:v>
                </c:pt>
                <c:pt idx="247">
                  <c:v>41985</c:v>
                </c:pt>
                <c:pt idx="248">
                  <c:v>41988</c:v>
                </c:pt>
                <c:pt idx="249">
                  <c:v>41989</c:v>
                </c:pt>
                <c:pt idx="250">
                  <c:v>41990</c:v>
                </c:pt>
                <c:pt idx="251">
                  <c:v>41991</c:v>
                </c:pt>
                <c:pt idx="252">
                  <c:v>41992</c:v>
                </c:pt>
                <c:pt idx="253">
                  <c:v>41995</c:v>
                </c:pt>
                <c:pt idx="254">
                  <c:v>41996</c:v>
                </c:pt>
                <c:pt idx="255">
                  <c:v>41997</c:v>
                </c:pt>
                <c:pt idx="256">
                  <c:v>41998</c:v>
                </c:pt>
                <c:pt idx="257">
                  <c:v>41999</c:v>
                </c:pt>
                <c:pt idx="258">
                  <c:v>42002</c:v>
                </c:pt>
                <c:pt idx="259">
                  <c:v>42003</c:v>
                </c:pt>
                <c:pt idx="260">
                  <c:v>42004</c:v>
                </c:pt>
                <c:pt idx="261">
                  <c:v>42005</c:v>
                </c:pt>
                <c:pt idx="262">
                  <c:v>42006</c:v>
                </c:pt>
                <c:pt idx="263">
                  <c:v>42009</c:v>
                </c:pt>
                <c:pt idx="264">
                  <c:v>42010</c:v>
                </c:pt>
                <c:pt idx="265">
                  <c:v>42011</c:v>
                </c:pt>
                <c:pt idx="266">
                  <c:v>42012</c:v>
                </c:pt>
                <c:pt idx="267">
                  <c:v>42013</c:v>
                </c:pt>
                <c:pt idx="268">
                  <c:v>42016</c:v>
                </c:pt>
                <c:pt idx="269">
                  <c:v>42017</c:v>
                </c:pt>
                <c:pt idx="270">
                  <c:v>42018</c:v>
                </c:pt>
                <c:pt idx="271">
                  <c:v>42019</c:v>
                </c:pt>
                <c:pt idx="272">
                  <c:v>42020</c:v>
                </c:pt>
                <c:pt idx="273">
                  <c:v>42023</c:v>
                </c:pt>
                <c:pt idx="274">
                  <c:v>42024</c:v>
                </c:pt>
                <c:pt idx="275">
                  <c:v>42025</c:v>
                </c:pt>
                <c:pt idx="276">
                  <c:v>42026</c:v>
                </c:pt>
                <c:pt idx="277">
                  <c:v>42027</c:v>
                </c:pt>
                <c:pt idx="278">
                  <c:v>42030</c:v>
                </c:pt>
                <c:pt idx="279">
                  <c:v>42031</c:v>
                </c:pt>
                <c:pt idx="280">
                  <c:v>42032</c:v>
                </c:pt>
                <c:pt idx="281">
                  <c:v>42033</c:v>
                </c:pt>
                <c:pt idx="282">
                  <c:v>42034</c:v>
                </c:pt>
                <c:pt idx="283">
                  <c:v>42037</c:v>
                </c:pt>
                <c:pt idx="284">
                  <c:v>42038</c:v>
                </c:pt>
                <c:pt idx="285">
                  <c:v>42039</c:v>
                </c:pt>
                <c:pt idx="286">
                  <c:v>42040</c:v>
                </c:pt>
                <c:pt idx="287">
                  <c:v>42041</c:v>
                </c:pt>
                <c:pt idx="288">
                  <c:v>42044</c:v>
                </c:pt>
                <c:pt idx="289">
                  <c:v>42045</c:v>
                </c:pt>
                <c:pt idx="290">
                  <c:v>42046</c:v>
                </c:pt>
                <c:pt idx="291">
                  <c:v>42047</c:v>
                </c:pt>
                <c:pt idx="292">
                  <c:v>42048</c:v>
                </c:pt>
                <c:pt idx="293">
                  <c:v>42051</c:v>
                </c:pt>
                <c:pt idx="294">
                  <c:v>42052</c:v>
                </c:pt>
                <c:pt idx="295">
                  <c:v>42053</c:v>
                </c:pt>
                <c:pt idx="296">
                  <c:v>42054</c:v>
                </c:pt>
                <c:pt idx="297">
                  <c:v>42055</c:v>
                </c:pt>
                <c:pt idx="298">
                  <c:v>42058</c:v>
                </c:pt>
                <c:pt idx="299">
                  <c:v>42059</c:v>
                </c:pt>
                <c:pt idx="300">
                  <c:v>42060</c:v>
                </c:pt>
                <c:pt idx="301">
                  <c:v>42061</c:v>
                </c:pt>
                <c:pt idx="302">
                  <c:v>42062</c:v>
                </c:pt>
                <c:pt idx="303">
                  <c:v>42065</c:v>
                </c:pt>
                <c:pt idx="304">
                  <c:v>42066</c:v>
                </c:pt>
                <c:pt idx="305">
                  <c:v>42067</c:v>
                </c:pt>
                <c:pt idx="306">
                  <c:v>42068</c:v>
                </c:pt>
                <c:pt idx="307">
                  <c:v>42069</c:v>
                </c:pt>
                <c:pt idx="308">
                  <c:v>42072</c:v>
                </c:pt>
                <c:pt idx="309">
                  <c:v>42073</c:v>
                </c:pt>
                <c:pt idx="310">
                  <c:v>42074</c:v>
                </c:pt>
                <c:pt idx="311">
                  <c:v>42075</c:v>
                </c:pt>
                <c:pt idx="312">
                  <c:v>42076</c:v>
                </c:pt>
                <c:pt idx="313">
                  <c:v>42079</c:v>
                </c:pt>
                <c:pt idx="314">
                  <c:v>42080</c:v>
                </c:pt>
                <c:pt idx="315">
                  <c:v>42081</c:v>
                </c:pt>
                <c:pt idx="316">
                  <c:v>42082</c:v>
                </c:pt>
                <c:pt idx="317">
                  <c:v>42083</c:v>
                </c:pt>
                <c:pt idx="318">
                  <c:v>42086</c:v>
                </c:pt>
                <c:pt idx="319">
                  <c:v>42087</c:v>
                </c:pt>
                <c:pt idx="320">
                  <c:v>42088</c:v>
                </c:pt>
                <c:pt idx="321">
                  <c:v>42089</c:v>
                </c:pt>
                <c:pt idx="322">
                  <c:v>42090</c:v>
                </c:pt>
                <c:pt idx="323">
                  <c:v>42093</c:v>
                </c:pt>
                <c:pt idx="324">
                  <c:v>42094</c:v>
                </c:pt>
                <c:pt idx="325">
                  <c:v>42095</c:v>
                </c:pt>
                <c:pt idx="326">
                  <c:v>42096</c:v>
                </c:pt>
                <c:pt idx="327">
                  <c:v>42097</c:v>
                </c:pt>
                <c:pt idx="328">
                  <c:v>42100</c:v>
                </c:pt>
                <c:pt idx="329">
                  <c:v>42101</c:v>
                </c:pt>
                <c:pt idx="330">
                  <c:v>42102</c:v>
                </c:pt>
                <c:pt idx="331">
                  <c:v>42103</c:v>
                </c:pt>
                <c:pt idx="332">
                  <c:v>42104</c:v>
                </c:pt>
                <c:pt idx="333">
                  <c:v>42107</c:v>
                </c:pt>
                <c:pt idx="334">
                  <c:v>42108</c:v>
                </c:pt>
                <c:pt idx="335">
                  <c:v>42109</c:v>
                </c:pt>
                <c:pt idx="336">
                  <c:v>42110</c:v>
                </c:pt>
                <c:pt idx="337">
                  <c:v>42111</c:v>
                </c:pt>
                <c:pt idx="338">
                  <c:v>42114</c:v>
                </c:pt>
                <c:pt idx="339">
                  <c:v>42115</c:v>
                </c:pt>
                <c:pt idx="340">
                  <c:v>42116</c:v>
                </c:pt>
                <c:pt idx="341">
                  <c:v>42117</c:v>
                </c:pt>
                <c:pt idx="342">
                  <c:v>42118</c:v>
                </c:pt>
                <c:pt idx="343">
                  <c:v>42121</c:v>
                </c:pt>
                <c:pt idx="344">
                  <c:v>42122</c:v>
                </c:pt>
                <c:pt idx="345">
                  <c:v>42123</c:v>
                </c:pt>
                <c:pt idx="346">
                  <c:v>42124</c:v>
                </c:pt>
                <c:pt idx="347">
                  <c:v>42125</c:v>
                </c:pt>
                <c:pt idx="348">
                  <c:v>42128</c:v>
                </c:pt>
                <c:pt idx="349">
                  <c:v>42129</c:v>
                </c:pt>
                <c:pt idx="350">
                  <c:v>42130</c:v>
                </c:pt>
                <c:pt idx="351">
                  <c:v>42131</c:v>
                </c:pt>
                <c:pt idx="352">
                  <c:v>42132</c:v>
                </c:pt>
                <c:pt idx="353">
                  <c:v>42135</c:v>
                </c:pt>
                <c:pt idx="354">
                  <c:v>42136</c:v>
                </c:pt>
                <c:pt idx="355">
                  <c:v>42137</c:v>
                </c:pt>
                <c:pt idx="356">
                  <c:v>42138</c:v>
                </c:pt>
                <c:pt idx="357">
                  <c:v>42139</c:v>
                </c:pt>
                <c:pt idx="358">
                  <c:v>42142</c:v>
                </c:pt>
                <c:pt idx="359">
                  <c:v>42143</c:v>
                </c:pt>
                <c:pt idx="360">
                  <c:v>42144</c:v>
                </c:pt>
                <c:pt idx="361">
                  <c:v>42145</c:v>
                </c:pt>
                <c:pt idx="362">
                  <c:v>42146</c:v>
                </c:pt>
                <c:pt idx="363">
                  <c:v>42149</c:v>
                </c:pt>
                <c:pt idx="364">
                  <c:v>42150</c:v>
                </c:pt>
                <c:pt idx="365">
                  <c:v>42151</c:v>
                </c:pt>
                <c:pt idx="366">
                  <c:v>42152</c:v>
                </c:pt>
                <c:pt idx="367">
                  <c:v>42153</c:v>
                </c:pt>
                <c:pt idx="368">
                  <c:v>42156</c:v>
                </c:pt>
                <c:pt idx="369">
                  <c:v>42157</c:v>
                </c:pt>
                <c:pt idx="370">
                  <c:v>42158</c:v>
                </c:pt>
                <c:pt idx="371">
                  <c:v>42159</c:v>
                </c:pt>
                <c:pt idx="372">
                  <c:v>42160</c:v>
                </c:pt>
                <c:pt idx="373">
                  <c:v>42163</c:v>
                </c:pt>
                <c:pt idx="374">
                  <c:v>42164</c:v>
                </c:pt>
                <c:pt idx="375">
                  <c:v>42165</c:v>
                </c:pt>
                <c:pt idx="376">
                  <c:v>42166</c:v>
                </c:pt>
                <c:pt idx="377">
                  <c:v>42167</c:v>
                </c:pt>
                <c:pt idx="378">
                  <c:v>42170</c:v>
                </c:pt>
                <c:pt idx="379">
                  <c:v>42171</c:v>
                </c:pt>
                <c:pt idx="380">
                  <c:v>42172</c:v>
                </c:pt>
                <c:pt idx="381">
                  <c:v>42173</c:v>
                </c:pt>
                <c:pt idx="382">
                  <c:v>42174</c:v>
                </c:pt>
                <c:pt idx="383">
                  <c:v>42177</c:v>
                </c:pt>
                <c:pt idx="384">
                  <c:v>42178</c:v>
                </c:pt>
                <c:pt idx="385">
                  <c:v>42179</c:v>
                </c:pt>
                <c:pt idx="386">
                  <c:v>42180</c:v>
                </c:pt>
                <c:pt idx="387">
                  <c:v>42181</c:v>
                </c:pt>
                <c:pt idx="388">
                  <c:v>42184</c:v>
                </c:pt>
                <c:pt idx="389">
                  <c:v>42185</c:v>
                </c:pt>
                <c:pt idx="390">
                  <c:v>42186</c:v>
                </c:pt>
                <c:pt idx="391">
                  <c:v>42187</c:v>
                </c:pt>
                <c:pt idx="392">
                  <c:v>42188</c:v>
                </c:pt>
                <c:pt idx="393">
                  <c:v>42191</c:v>
                </c:pt>
                <c:pt idx="394">
                  <c:v>42192</c:v>
                </c:pt>
                <c:pt idx="395">
                  <c:v>42193</c:v>
                </c:pt>
                <c:pt idx="396">
                  <c:v>42194</c:v>
                </c:pt>
                <c:pt idx="397">
                  <c:v>42195</c:v>
                </c:pt>
                <c:pt idx="398">
                  <c:v>42198</c:v>
                </c:pt>
                <c:pt idx="399">
                  <c:v>42199</c:v>
                </c:pt>
                <c:pt idx="400">
                  <c:v>42200</c:v>
                </c:pt>
                <c:pt idx="401">
                  <c:v>42201</c:v>
                </c:pt>
                <c:pt idx="402">
                  <c:v>42202</c:v>
                </c:pt>
                <c:pt idx="403">
                  <c:v>42205</c:v>
                </c:pt>
                <c:pt idx="404">
                  <c:v>42206</c:v>
                </c:pt>
                <c:pt idx="405">
                  <c:v>42207</c:v>
                </c:pt>
                <c:pt idx="406">
                  <c:v>42208</c:v>
                </c:pt>
                <c:pt idx="407">
                  <c:v>42209</c:v>
                </c:pt>
                <c:pt idx="408">
                  <c:v>42212</c:v>
                </c:pt>
                <c:pt idx="409">
                  <c:v>42213</c:v>
                </c:pt>
                <c:pt idx="410">
                  <c:v>42214</c:v>
                </c:pt>
                <c:pt idx="411">
                  <c:v>42215</c:v>
                </c:pt>
                <c:pt idx="412">
                  <c:v>42216</c:v>
                </c:pt>
                <c:pt idx="413">
                  <c:v>42219</c:v>
                </c:pt>
                <c:pt idx="414">
                  <c:v>42220</c:v>
                </c:pt>
                <c:pt idx="415">
                  <c:v>42221</c:v>
                </c:pt>
                <c:pt idx="416">
                  <c:v>42222</c:v>
                </c:pt>
                <c:pt idx="417">
                  <c:v>42223</c:v>
                </c:pt>
                <c:pt idx="418">
                  <c:v>42226</c:v>
                </c:pt>
                <c:pt idx="419">
                  <c:v>42227</c:v>
                </c:pt>
                <c:pt idx="420">
                  <c:v>42228</c:v>
                </c:pt>
                <c:pt idx="421">
                  <c:v>42229</c:v>
                </c:pt>
                <c:pt idx="422">
                  <c:v>42230</c:v>
                </c:pt>
                <c:pt idx="423">
                  <c:v>42233</c:v>
                </c:pt>
                <c:pt idx="424">
                  <c:v>42234</c:v>
                </c:pt>
                <c:pt idx="425">
                  <c:v>42235</c:v>
                </c:pt>
                <c:pt idx="426">
                  <c:v>42236</c:v>
                </c:pt>
                <c:pt idx="427">
                  <c:v>42237</c:v>
                </c:pt>
                <c:pt idx="428">
                  <c:v>42240</c:v>
                </c:pt>
                <c:pt idx="429">
                  <c:v>42241</c:v>
                </c:pt>
                <c:pt idx="430">
                  <c:v>42242</c:v>
                </c:pt>
                <c:pt idx="431">
                  <c:v>42243</c:v>
                </c:pt>
                <c:pt idx="432">
                  <c:v>42244</c:v>
                </c:pt>
                <c:pt idx="433">
                  <c:v>42247</c:v>
                </c:pt>
                <c:pt idx="434">
                  <c:v>42248</c:v>
                </c:pt>
                <c:pt idx="435">
                  <c:v>42249</c:v>
                </c:pt>
                <c:pt idx="436">
                  <c:v>42250</c:v>
                </c:pt>
                <c:pt idx="437">
                  <c:v>42251</c:v>
                </c:pt>
                <c:pt idx="438">
                  <c:v>42254</c:v>
                </c:pt>
                <c:pt idx="439">
                  <c:v>42255</c:v>
                </c:pt>
                <c:pt idx="440">
                  <c:v>42256</c:v>
                </c:pt>
                <c:pt idx="441">
                  <c:v>42257</c:v>
                </c:pt>
                <c:pt idx="442">
                  <c:v>42258</c:v>
                </c:pt>
                <c:pt idx="443">
                  <c:v>42261</c:v>
                </c:pt>
                <c:pt idx="444">
                  <c:v>42262</c:v>
                </c:pt>
                <c:pt idx="445">
                  <c:v>42263</c:v>
                </c:pt>
                <c:pt idx="446">
                  <c:v>42264</c:v>
                </c:pt>
                <c:pt idx="447">
                  <c:v>42265</c:v>
                </c:pt>
                <c:pt idx="448">
                  <c:v>42268</c:v>
                </c:pt>
                <c:pt idx="449">
                  <c:v>42269</c:v>
                </c:pt>
                <c:pt idx="450">
                  <c:v>42270</c:v>
                </c:pt>
                <c:pt idx="451">
                  <c:v>42271</c:v>
                </c:pt>
                <c:pt idx="452">
                  <c:v>42272</c:v>
                </c:pt>
                <c:pt idx="453">
                  <c:v>42275</c:v>
                </c:pt>
                <c:pt idx="454">
                  <c:v>42276</c:v>
                </c:pt>
                <c:pt idx="455">
                  <c:v>42277</c:v>
                </c:pt>
                <c:pt idx="456">
                  <c:v>42278</c:v>
                </c:pt>
                <c:pt idx="457">
                  <c:v>42279</c:v>
                </c:pt>
                <c:pt idx="458">
                  <c:v>42282</c:v>
                </c:pt>
                <c:pt idx="459">
                  <c:v>42283</c:v>
                </c:pt>
                <c:pt idx="460">
                  <c:v>42284</c:v>
                </c:pt>
                <c:pt idx="461">
                  <c:v>42285</c:v>
                </c:pt>
                <c:pt idx="462">
                  <c:v>42286</c:v>
                </c:pt>
                <c:pt idx="463">
                  <c:v>42289</c:v>
                </c:pt>
                <c:pt idx="464">
                  <c:v>42290</c:v>
                </c:pt>
                <c:pt idx="465">
                  <c:v>42291</c:v>
                </c:pt>
                <c:pt idx="466">
                  <c:v>42292</c:v>
                </c:pt>
                <c:pt idx="467">
                  <c:v>42293</c:v>
                </c:pt>
                <c:pt idx="468">
                  <c:v>42296</c:v>
                </c:pt>
                <c:pt idx="469">
                  <c:v>42297</c:v>
                </c:pt>
                <c:pt idx="470">
                  <c:v>42298</c:v>
                </c:pt>
                <c:pt idx="471">
                  <c:v>42299</c:v>
                </c:pt>
                <c:pt idx="472">
                  <c:v>42300</c:v>
                </c:pt>
                <c:pt idx="473">
                  <c:v>42303</c:v>
                </c:pt>
                <c:pt idx="474">
                  <c:v>42304</c:v>
                </c:pt>
                <c:pt idx="475">
                  <c:v>42305</c:v>
                </c:pt>
                <c:pt idx="476">
                  <c:v>42306</c:v>
                </c:pt>
                <c:pt idx="477">
                  <c:v>42307</c:v>
                </c:pt>
                <c:pt idx="478">
                  <c:v>42310</c:v>
                </c:pt>
                <c:pt idx="479">
                  <c:v>42311</c:v>
                </c:pt>
                <c:pt idx="480">
                  <c:v>42312</c:v>
                </c:pt>
                <c:pt idx="481">
                  <c:v>42313</c:v>
                </c:pt>
                <c:pt idx="482">
                  <c:v>42314</c:v>
                </c:pt>
                <c:pt idx="483">
                  <c:v>42317</c:v>
                </c:pt>
                <c:pt idx="484">
                  <c:v>42318</c:v>
                </c:pt>
                <c:pt idx="485">
                  <c:v>42319</c:v>
                </c:pt>
                <c:pt idx="486">
                  <c:v>42320</c:v>
                </c:pt>
                <c:pt idx="487">
                  <c:v>42321</c:v>
                </c:pt>
                <c:pt idx="488">
                  <c:v>42324</c:v>
                </c:pt>
                <c:pt idx="489">
                  <c:v>42325</c:v>
                </c:pt>
                <c:pt idx="490">
                  <c:v>42326</c:v>
                </c:pt>
                <c:pt idx="491">
                  <c:v>42327</c:v>
                </c:pt>
                <c:pt idx="492">
                  <c:v>42328</c:v>
                </c:pt>
                <c:pt idx="493">
                  <c:v>42331</c:v>
                </c:pt>
                <c:pt idx="494">
                  <c:v>42332</c:v>
                </c:pt>
                <c:pt idx="495">
                  <c:v>42333</c:v>
                </c:pt>
                <c:pt idx="496">
                  <c:v>42334</c:v>
                </c:pt>
                <c:pt idx="497">
                  <c:v>42335</c:v>
                </c:pt>
                <c:pt idx="498">
                  <c:v>42338</c:v>
                </c:pt>
                <c:pt idx="499">
                  <c:v>42339</c:v>
                </c:pt>
                <c:pt idx="500">
                  <c:v>42340</c:v>
                </c:pt>
                <c:pt idx="501">
                  <c:v>42341</c:v>
                </c:pt>
                <c:pt idx="502">
                  <c:v>42342</c:v>
                </c:pt>
                <c:pt idx="503">
                  <c:v>42345</c:v>
                </c:pt>
                <c:pt idx="504">
                  <c:v>42346</c:v>
                </c:pt>
                <c:pt idx="505">
                  <c:v>42347</c:v>
                </c:pt>
                <c:pt idx="506">
                  <c:v>42348</c:v>
                </c:pt>
                <c:pt idx="507">
                  <c:v>42349</c:v>
                </c:pt>
                <c:pt idx="508">
                  <c:v>42352</c:v>
                </c:pt>
                <c:pt idx="509">
                  <c:v>42353</c:v>
                </c:pt>
                <c:pt idx="510">
                  <c:v>42354</c:v>
                </c:pt>
                <c:pt idx="511">
                  <c:v>42355</c:v>
                </c:pt>
                <c:pt idx="512">
                  <c:v>42356</c:v>
                </c:pt>
                <c:pt idx="513">
                  <c:v>42359</c:v>
                </c:pt>
                <c:pt idx="514">
                  <c:v>42360</c:v>
                </c:pt>
                <c:pt idx="515">
                  <c:v>42361</c:v>
                </c:pt>
                <c:pt idx="516">
                  <c:v>42362</c:v>
                </c:pt>
                <c:pt idx="517">
                  <c:v>42363</c:v>
                </c:pt>
                <c:pt idx="518">
                  <c:v>42366</c:v>
                </c:pt>
                <c:pt idx="519">
                  <c:v>42367</c:v>
                </c:pt>
                <c:pt idx="520">
                  <c:v>42368</c:v>
                </c:pt>
                <c:pt idx="521">
                  <c:v>42369</c:v>
                </c:pt>
                <c:pt idx="522">
                  <c:v>42370</c:v>
                </c:pt>
                <c:pt idx="523">
                  <c:v>42373</c:v>
                </c:pt>
                <c:pt idx="524">
                  <c:v>42374</c:v>
                </c:pt>
                <c:pt idx="525">
                  <c:v>42375</c:v>
                </c:pt>
                <c:pt idx="526">
                  <c:v>42376</c:v>
                </c:pt>
                <c:pt idx="527">
                  <c:v>42377</c:v>
                </c:pt>
                <c:pt idx="528">
                  <c:v>42380</c:v>
                </c:pt>
                <c:pt idx="529">
                  <c:v>42381</c:v>
                </c:pt>
                <c:pt idx="530">
                  <c:v>42382</c:v>
                </c:pt>
                <c:pt idx="531">
                  <c:v>42383</c:v>
                </c:pt>
                <c:pt idx="532">
                  <c:v>42384</c:v>
                </c:pt>
                <c:pt idx="533">
                  <c:v>42387</c:v>
                </c:pt>
                <c:pt idx="534">
                  <c:v>42388</c:v>
                </c:pt>
                <c:pt idx="535">
                  <c:v>42389</c:v>
                </c:pt>
                <c:pt idx="536">
                  <c:v>42390</c:v>
                </c:pt>
                <c:pt idx="537">
                  <c:v>42391</c:v>
                </c:pt>
                <c:pt idx="538">
                  <c:v>42394</c:v>
                </c:pt>
                <c:pt idx="539">
                  <c:v>42395</c:v>
                </c:pt>
                <c:pt idx="540">
                  <c:v>42396</c:v>
                </c:pt>
                <c:pt idx="541">
                  <c:v>42397</c:v>
                </c:pt>
                <c:pt idx="542">
                  <c:v>42398</c:v>
                </c:pt>
                <c:pt idx="543">
                  <c:v>42401</c:v>
                </c:pt>
                <c:pt idx="544">
                  <c:v>42402</c:v>
                </c:pt>
                <c:pt idx="545">
                  <c:v>42403</c:v>
                </c:pt>
                <c:pt idx="546">
                  <c:v>42404</c:v>
                </c:pt>
                <c:pt idx="547">
                  <c:v>42405</c:v>
                </c:pt>
                <c:pt idx="548">
                  <c:v>42408</c:v>
                </c:pt>
                <c:pt idx="549">
                  <c:v>42409</c:v>
                </c:pt>
                <c:pt idx="550">
                  <c:v>42410</c:v>
                </c:pt>
                <c:pt idx="551">
                  <c:v>42411</c:v>
                </c:pt>
                <c:pt idx="552">
                  <c:v>42412</c:v>
                </c:pt>
                <c:pt idx="553">
                  <c:v>42415</c:v>
                </c:pt>
                <c:pt idx="554">
                  <c:v>42416</c:v>
                </c:pt>
                <c:pt idx="555">
                  <c:v>42417</c:v>
                </c:pt>
                <c:pt idx="556">
                  <c:v>42418</c:v>
                </c:pt>
                <c:pt idx="557">
                  <c:v>42419</c:v>
                </c:pt>
                <c:pt idx="558">
                  <c:v>42422</c:v>
                </c:pt>
                <c:pt idx="559">
                  <c:v>42423</c:v>
                </c:pt>
                <c:pt idx="560">
                  <c:v>42424</c:v>
                </c:pt>
                <c:pt idx="561">
                  <c:v>42425</c:v>
                </c:pt>
                <c:pt idx="562">
                  <c:v>42426</c:v>
                </c:pt>
                <c:pt idx="563">
                  <c:v>42429</c:v>
                </c:pt>
                <c:pt idx="564">
                  <c:v>42430</c:v>
                </c:pt>
                <c:pt idx="565">
                  <c:v>42431</c:v>
                </c:pt>
                <c:pt idx="566">
                  <c:v>42432</c:v>
                </c:pt>
                <c:pt idx="567">
                  <c:v>42433</c:v>
                </c:pt>
                <c:pt idx="568">
                  <c:v>42436</c:v>
                </c:pt>
                <c:pt idx="569">
                  <c:v>42437</c:v>
                </c:pt>
                <c:pt idx="570">
                  <c:v>42438</c:v>
                </c:pt>
                <c:pt idx="571">
                  <c:v>42439</c:v>
                </c:pt>
                <c:pt idx="572">
                  <c:v>42440</c:v>
                </c:pt>
                <c:pt idx="573">
                  <c:v>42443</c:v>
                </c:pt>
                <c:pt idx="574">
                  <c:v>42444</c:v>
                </c:pt>
                <c:pt idx="575">
                  <c:v>42445</c:v>
                </c:pt>
                <c:pt idx="576">
                  <c:v>42446</c:v>
                </c:pt>
                <c:pt idx="577">
                  <c:v>42447</c:v>
                </c:pt>
                <c:pt idx="578">
                  <c:v>42450</c:v>
                </c:pt>
                <c:pt idx="579">
                  <c:v>42451</c:v>
                </c:pt>
                <c:pt idx="580">
                  <c:v>42452</c:v>
                </c:pt>
                <c:pt idx="581">
                  <c:v>42453</c:v>
                </c:pt>
                <c:pt idx="582">
                  <c:v>42454</c:v>
                </c:pt>
                <c:pt idx="583">
                  <c:v>42457</c:v>
                </c:pt>
                <c:pt idx="584">
                  <c:v>42458</c:v>
                </c:pt>
                <c:pt idx="585">
                  <c:v>42459</c:v>
                </c:pt>
                <c:pt idx="586">
                  <c:v>42460</c:v>
                </c:pt>
                <c:pt idx="587">
                  <c:v>42461</c:v>
                </c:pt>
                <c:pt idx="588">
                  <c:v>42464</c:v>
                </c:pt>
                <c:pt idx="589">
                  <c:v>42465</c:v>
                </c:pt>
                <c:pt idx="590">
                  <c:v>42466</c:v>
                </c:pt>
                <c:pt idx="591">
                  <c:v>42467</c:v>
                </c:pt>
                <c:pt idx="592">
                  <c:v>42468</c:v>
                </c:pt>
                <c:pt idx="593">
                  <c:v>42471</c:v>
                </c:pt>
                <c:pt idx="594">
                  <c:v>42472</c:v>
                </c:pt>
                <c:pt idx="595">
                  <c:v>42473</c:v>
                </c:pt>
                <c:pt idx="596">
                  <c:v>42474</c:v>
                </c:pt>
                <c:pt idx="597">
                  <c:v>42475</c:v>
                </c:pt>
                <c:pt idx="598">
                  <c:v>42478</c:v>
                </c:pt>
                <c:pt idx="599">
                  <c:v>42479</c:v>
                </c:pt>
                <c:pt idx="600">
                  <c:v>42480</c:v>
                </c:pt>
                <c:pt idx="601">
                  <c:v>42481</c:v>
                </c:pt>
                <c:pt idx="602">
                  <c:v>42482</c:v>
                </c:pt>
                <c:pt idx="603">
                  <c:v>42485</c:v>
                </c:pt>
                <c:pt idx="604">
                  <c:v>42486</c:v>
                </c:pt>
                <c:pt idx="605">
                  <c:v>42487</c:v>
                </c:pt>
                <c:pt idx="606">
                  <c:v>42488</c:v>
                </c:pt>
                <c:pt idx="607">
                  <c:v>42489</c:v>
                </c:pt>
                <c:pt idx="608">
                  <c:v>42492</c:v>
                </c:pt>
                <c:pt idx="609">
                  <c:v>42493</c:v>
                </c:pt>
                <c:pt idx="610">
                  <c:v>42494</c:v>
                </c:pt>
                <c:pt idx="611">
                  <c:v>42495</c:v>
                </c:pt>
                <c:pt idx="612">
                  <c:v>42496</c:v>
                </c:pt>
                <c:pt idx="613">
                  <c:v>42499</c:v>
                </c:pt>
                <c:pt idx="614">
                  <c:v>42500</c:v>
                </c:pt>
                <c:pt idx="615">
                  <c:v>42501</c:v>
                </c:pt>
                <c:pt idx="616">
                  <c:v>42502</c:v>
                </c:pt>
                <c:pt idx="617">
                  <c:v>42503</c:v>
                </c:pt>
                <c:pt idx="618">
                  <c:v>42506</c:v>
                </c:pt>
                <c:pt idx="619">
                  <c:v>42507</c:v>
                </c:pt>
                <c:pt idx="620">
                  <c:v>42508</c:v>
                </c:pt>
                <c:pt idx="621">
                  <c:v>42509</c:v>
                </c:pt>
                <c:pt idx="622">
                  <c:v>42510</c:v>
                </c:pt>
                <c:pt idx="623">
                  <c:v>42513</c:v>
                </c:pt>
                <c:pt idx="624">
                  <c:v>42514</c:v>
                </c:pt>
                <c:pt idx="625">
                  <c:v>42515</c:v>
                </c:pt>
                <c:pt idx="626">
                  <c:v>42516</c:v>
                </c:pt>
                <c:pt idx="627">
                  <c:v>42517</c:v>
                </c:pt>
                <c:pt idx="628">
                  <c:v>42520</c:v>
                </c:pt>
                <c:pt idx="629">
                  <c:v>42521</c:v>
                </c:pt>
                <c:pt idx="630">
                  <c:v>42522</c:v>
                </c:pt>
                <c:pt idx="631">
                  <c:v>42523</c:v>
                </c:pt>
                <c:pt idx="632">
                  <c:v>42524</c:v>
                </c:pt>
                <c:pt idx="633">
                  <c:v>42527</c:v>
                </c:pt>
                <c:pt idx="634">
                  <c:v>42528</c:v>
                </c:pt>
                <c:pt idx="635">
                  <c:v>42529</c:v>
                </c:pt>
                <c:pt idx="636">
                  <c:v>42530</c:v>
                </c:pt>
                <c:pt idx="637">
                  <c:v>42531</c:v>
                </c:pt>
                <c:pt idx="638">
                  <c:v>42534</c:v>
                </c:pt>
                <c:pt idx="639">
                  <c:v>42535</c:v>
                </c:pt>
                <c:pt idx="640">
                  <c:v>42536</c:v>
                </c:pt>
                <c:pt idx="641">
                  <c:v>42537</c:v>
                </c:pt>
                <c:pt idx="642">
                  <c:v>42538</c:v>
                </c:pt>
                <c:pt idx="643">
                  <c:v>42541</c:v>
                </c:pt>
                <c:pt idx="644">
                  <c:v>42542</c:v>
                </c:pt>
                <c:pt idx="645">
                  <c:v>42543</c:v>
                </c:pt>
                <c:pt idx="646">
                  <c:v>42544</c:v>
                </c:pt>
                <c:pt idx="647">
                  <c:v>42545</c:v>
                </c:pt>
                <c:pt idx="648">
                  <c:v>42548</c:v>
                </c:pt>
                <c:pt idx="649">
                  <c:v>42549</c:v>
                </c:pt>
                <c:pt idx="650">
                  <c:v>42550</c:v>
                </c:pt>
                <c:pt idx="651">
                  <c:v>42551</c:v>
                </c:pt>
                <c:pt idx="652">
                  <c:v>42552</c:v>
                </c:pt>
                <c:pt idx="653">
                  <c:v>42555</c:v>
                </c:pt>
                <c:pt idx="654">
                  <c:v>42556</c:v>
                </c:pt>
                <c:pt idx="655">
                  <c:v>42557</c:v>
                </c:pt>
                <c:pt idx="656">
                  <c:v>42558</c:v>
                </c:pt>
                <c:pt idx="657">
                  <c:v>42559</c:v>
                </c:pt>
                <c:pt idx="658">
                  <c:v>42562</c:v>
                </c:pt>
                <c:pt idx="659">
                  <c:v>42563</c:v>
                </c:pt>
                <c:pt idx="660">
                  <c:v>42564</c:v>
                </c:pt>
                <c:pt idx="661">
                  <c:v>42565</c:v>
                </c:pt>
                <c:pt idx="662">
                  <c:v>42566</c:v>
                </c:pt>
                <c:pt idx="663">
                  <c:v>42569</c:v>
                </c:pt>
                <c:pt idx="664">
                  <c:v>42570</c:v>
                </c:pt>
                <c:pt idx="665">
                  <c:v>42571</c:v>
                </c:pt>
                <c:pt idx="666">
                  <c:v>42572</c:v>
                </c:pt>
                <c:pt idx="667">
                  <c:v>42573</c:v>
                </c:pt>
                <c:pt idx="668">
                  <c:v>42576</c:v>
                </c:pt>
                <c:pt idx="669">
                  <c:v>42577</c:v>
                </c:pt>
                <c:pt idx="670">
                  <c:v>42578</c:v>
                </c:pt>
                <c:pt idx="671">
                  <c:v>42579</c:v>
                </c:pt>
                <c:pt idx="672">
                  <c:v>42580</c:v>
                </c:pt>
                <c:pt idx="673">
                  <c:v>42583</c:v>
                </c:pt>
                <c:pt idx="674">
                  <c:v>42584</c:v>
                </c:pt>
                <c:pt idx="675">
                  <c:v>42585</c:v>
                </c:pt>
                <c:pt idx="676">
                  <c:v>42586</c:v>
                </c:pt>
                <c:pt idx="677">
                  <c:v>42587</c:v>
                </c:pt>
                <c:pt idx="678">
                  <c:v>42590</c:v>
                </c:pt>
                <c:pt idx="679">
                  <c:v>42591</c:v>
                </c:pt>
                <c:pt idx="680">
                  <c:v>42592</c:v>
                </c:pt>
                <c:pt idx="681">
                  <c:v>42593</c:v>
                </c:pt>
                <c:pt idx="682">
                  <c:v>42594</c:v>
                </c:pt>
                <c:pt idx="683">
                  <c:v>42597</c:v>
                </c:pt>
                <c:pt idx="684">
                  <c:v>42598</c:v>
                </c:pt>
                <c:pt idx="685">
                  <c:v>42599</c:v>
                </c:pt>
                <c:pt idx="686">
                  <c:v>42600</c:v>
                </c:pt>
                <c:pt idx="687">
                  <c:v>42601</c:v>
                </c:pt>
                <c:pt idx="688">
                  <c:v>42604</c:v>
                </c:pt>
                <c:pt idx="689">
                  <c:v>42605</c:v>
                </c:pt>
                <c:pt idx="690">
                  <c:v>42606</c:v>
                </c:pt>
                <c:pt idx="691">
                  <c:v>42607</c:v>
                </c:pt>
                <c:pt idx="692">
                  <c:v>42608</c:v>
                </c:pt>
                <c:pt idx="693">
                  <c:v>42611</c:v>
                </c:pt>
                <c:pt idx="694">
                  <c:v>42612</c:v>
                </c:pt>
                <c:pt idx="695">
                  <c:v>42613</c:v>
                </c:pt>
                <c:pt idx="696">
                  <c:v>42614</c:v>
                </c:pt>
                <c:pt idx="697">
                  <c:v>42615</c:v>
                </c:pt>
                <c:pt idx="698">
                  <c:v>42618</c:v>
                </c:pt>
                <c:pt idx="699">
                  <c:v>42619</c:v>
                </c:pt>
                <c:pt idx="700">
                  <c:v>42620</c:v>
                </c:pt>
                <c:pt idx="701">
                  <c:v>42621</c:v>
                </c:pt>
                <c:pt idx="702">
                  <c:v>42622</c:v>
                </c:pt>
                <c:pt idx="703">
                  <c:v>42625</c:v>
                </c:pt>
                <c:pt idx="704">
                  <c:v>42626</c:v>
                </c:pt>
                <c:pt idx="705">
                  <c:v>42627</c:v>
                </c:pt>
                <c:pt idx="706">
                  <c:v>42628</c:v>
                </c:pt>
                <c:pt idx="707">
                  <c:v>42629</c:v>
                </c:pt>
                <c:pt idx="708">
                  <c:v>42632</c:v>
                </c:pt>
                <c:pt idx="709">
                  <c:v>42633</c:v>
                </c:pt>
                <c:pt idx="710">
                  <c:v>42634</c:v>
                </c:pt>
                <c:pt idx="711">
                  <c:v>42635</c:v>
                </c:pt>
                <c:pt idx="712">
                  <c:v>42636</c:v>
                </c:pt>
                <c:pt idx="713">
                  <c:v>42639</c:v>
                </c:pt>
                <c:pt idx="714">
                  <c:v>42640</c:v>
                </c:pt>
                <c:pt idx="715">
                  <c:v>42641</c:v>
                </c:pt>
                <c:pt idx="716">
                  <c:v>42642</c:v>
                </c:pt>
                <c:pt idx="717">
                  <c:v>42643</c:v>
                </c:pt>
                <c:pt idx="718">
                  <c:v>42646</c:v>
                </c:pt>
                <c:pt idx="719">
                  <c:v>42647</c:v>
                </c:pt>
                <c:pt idx="720">
                  <c:v>42648</c:v>
                </c:pt>
                <c:pt idx="721">
                  <c:v>42649</c:v>
                </c:pt>
                <c:pt idx="722">
                  <c:v>42650</c:v>
                </c:pt>
                <c:pt idx="723">
                  <c:v>42653</c:v>
                </c:pt>
                <c:pt idx="724">
                  <c:v>42654</c:v>
                </c:pt>
                <c:pt idx="725">
                  <c:v>42655</c:v>
                </c:pt>
                <c:pt idx="726">
                  <c:v>42656</c:v>
                </c:pt>
                <c:pt idx="727">
                  <c:v>42657</c:v>
                </c:pt>
                <c:pt idx="728">
                  <c:v>42660</c:v>
                </c:pt>
                <c:pt idx="729">
                  <c:v>42661</c:v>
                </c:pt>
                <c:pt idx="730">
                  <c:v>42662</c:v>
                </c:pt>
                <c:pt idx="731">
                  <c:v>42663</c:v>
                </c:pt>
                <c:pt idx="732">
                  <c:v>42664</c:v>
                </c:pt>
                <c:pt idx="733">
                  <c:v>42667</c:v>
                </c:pt>
                <c:pt idx="734">
                  <c:v>42668</c:v>
                </c:pt>
                <c:pt idx="735">
                  <c:v>42669</c:v>
                </c:pt>
                <c:pt idx="736">
                  <c:v>42670</c:v>
                </c:pt>
                <c:pt idx="737">
                  <c:v>42671</c:v>
                </c:pt>
                <c:pt idx="738">
                  <c:v>42674</c:v>
                </c:pt>
                <c:pt idx="739">
                  <c:v>42675</c:v>
                </c:pt>
                <c:pt idx="740">
                  <c:v>42676</c:v>
                </c:pt>
                <c:pt idx="741">
                  <c:v>42677</c:v>
                </c:pt>
                <c:pt idx="742">
                  <c:v>42678</c:v>
                </c:pt>
                <c:pt idx="743">
                  <c:v>42681</c:v>
                </c:pt>
                <c:pt idx="744">
                  <c:v>42682</c:v>
                </c:pt>
                <c:pt idx="745">
                  <c:v>42683</c:v>
                </c:pt>
                <c:pt idx="746">
                  <c:v>42684</c:v>
                </c:pt>
                <c:pt idx="747">
                  <c:v>42685</c:v>
                </c:pt>
                <c:pt idx="748">
                  <c:v>42688</c:v>
                </c:pt>
                <c:pt idx="749">
                  <c:v>42689</c:v>
                </c:pt>
                <c:pt idx="750">
                  <c:v>42690</c:v>
                </c:pt>
                <c:pt idx="751">
                  <c:v>42691</c:v>
                </c:pt>
                <c:pt idx="752">
                  <c:v>42692</c:v>
                </c:pt>
                <c:pt idx="753">
                  <c:v>42695</c:v>
                </c:pt>
                <c:pt idx="754">
                  <c:v>42696</c:v>
                </c:pt>
                <c:pt idx="755">
                  <c:v>42697</c:v>
                </c:pt>
                <c:pt idx="756">
                  <c:v>42698</c:v>
                </c:pt>
                <c:pt idx="757">
                  <c:v>42699</c:v>
                </c:pt>
                <c:pt idx="758">
                  <c:v>42702</c:v>
                </c:pt>
                <c:pt idx="759">
                  <c:v>42703</c:v>
                </c:pt>
                <c:pt idx="760">
                  <c:v>42704</c:v>
                </c:pt>
                <c:pt idx="761">
                  <c:v>42705</c:v>
                </c:pt>
                <c:pt idx="762">
                  <c:v>42706</c:v>
                </c:pt>
                <c:pt idx="763">
                  <c:v>42709</c:v>
                </c:pt>
                <c:pt idx="764">
                  <c:v>42710</c:v>
                </c:pt>
                <c:pt idx="765">
                  <c:v>42711</c:v>
                </c:pt>
                <c:pt idx="766">
                  <c:v>42712</c:v>
                </c:pt>
                <c:pt idx="767">
                  <c:v>42713</c:v>
                </c:pt>
                <c:pt idx="768">
                  <c:v>42716</c:v>
                </c:pt>
                <c:pt idx="769">
                  <c:v>42717</c:v>
                </c:pt>
                <c:pt idx="770">
                  <c:v>42718</c:v>
                </c:pt>
                <c:pt idx="771">
                  <c:v>42719</c:v>
                </c:pt>
                <c:pt idx="772">
                  <c:v>42720</c:v>
                </c:pt>
                <c:pt idx="773">
                  <c:v>42723</c:v>
                </c:pt>
                <c:pt idx="774">
                  <c:v>42724</c:v>
                </c:pt>
                <c:pt idx="775">
                  <c:v>42725</c:v>
                </c:pt>
                <c:pt idx="776">
                  <c:v>42726</c:v>
                </c:pt>
                <c:pt idx="777">
                  <c:v>42727</c:v>
                </c:pt>
                <c:pt idx="778">
                  <c:v>42730</c:v>
                </c:pt>
                <c:pt idx="779">
                  <c:v>42731</c:v>
                </c:pt>
                <c:pt idx="780">
                  <c:v>42732</c:v>
                </c:pt>
                <c:pt idx="781">
                  <c:v>42733</c:v>
                </c:pt>
                <c:pt idx="782">
                  <c:v>42734</c:v>
                </c:pt>
                <c:pt idx="783">
                  <c:v>42737</c:v>
                </c:pt>
                <c:pt idx="784">
                  <c:v>42738</c:v>
                </c:pt>
                <c:pt idx="785">
                  <c:v>42739</c:v>
                </c:pt>
                <c:pt idx="786">
                  <c:v>42740</c:v>
                </c:pt>
                <c:pt idx="787">
                  <c:v>42741</c:v>
                </c:pt>
                <c:pt idx="788">
                  <c:v>42744</c:v>
                </c:pt>
                <c:pt idx="789">
                  <c:v>42745</c:v>
                </c:pt>
                <c:pt idx="790">
                  <c:v>42746</c:v>
                </c:pt>
                <c:pt idx="791">
                  <c:v>42747</c:v>
                </c:pt>
                <c:pt idx="792">
                  <c:v>42748</c:v>
                </c:pt>
                <c:pt idx="793">
                  <c:v>42751</c:v>
                </c:pt>
                <c:pt idx="794">
                  <c:v>42752</c:v>
                </c:pt>
                <c:pt idx="795">
                  <c:v>42753</c:v>
                </c:pt>
                <c:pt idx="796">
                  <c:v>42754</c:v>
                </c:pt>
                <c:pt idx="797">
                  <c:v>42755</c:v>
                </c:pt>
                <c:pt idx="798">
                  <c:v>42758</c:v>
                </c:pt>
                <c:pt idx="799">
                  <c:v>42759</c:v>
                </c:pt>
                <c:pt idx="800">
                  <c:v>42760</c:v>
                </c:pt>
                <c:pt idx="801">
                  <c:v>42761</c:v>
                </c:pt>
                <c:pt idx="802">
                  <c:v>42762</c:v>
                </c:pt>
                <c:pt idx="803">
                  <c:v>42765</c:v>
                </c:pt>
                <c:pt idx="804">
                  <c:v>42766</c:v>
                </c:pt>
                <c:pt idx="805">
                  <c:v>42767</c:v>
                </c:pt>
                <c:pt idx="806">
                  <c:v>42768</c:v>
                </c:pt>
                <c:pt idx="807">
                  <c:v>42769</c:v>
                </c:pt>
                <c:pt idx="808">
                  <c:v>42772</c:v>
                </c:pt>
                <c:pt idx="809">
                  <c:v>42773</c:v>
                </c:pt>
                <c:pt idx="810">
                  <c:v>42774</c:v>
                </c:pt>
                <c:pt idx="811">
                  <c:v>42775</c:v>
                </c:pt>
                <c:pt idx="812">
                  <c:v>42776</c:v>
                </c:pt>
                <c:pt idx="813">
                  <c:v>42779</c:v>
                </c:pt>
                <c:pt idx="814">
                  <c:v>42780</c:v>
                </c:pt>
                <c:pt idx="815">
                  <c:v>42781</c:v>
                </c:pt>
                <c:pt idx="816">
                  <c:v>42782</c:v>
                </c:pt>
                <c:pt idx="817">
                  <c:v>42783</c:v>
                </c:pt>
                <c:pt idx="818">
                  <c:v>42786</c:v>
                </c:pt>
                <c:pt idx="819">
                  <c:v>42787</c:v>
                </c:pt>
                <c:pt idx="820">
                  <c:v>42788</c:v>
                </c:pt>
                <c:pt idx="821">
                  <c:v>42789</c:v>
                </c:pt>
                <c:pt idx="822">
                  <c:v>42790</c:v>
                </c:pt>
                <c:pt idx="823">
                  <c:v>42793</c:v>
                </c:pt>
                <c:pt idx="824">
                  <c:v>42794</c:v>
                </c:pt>
                <c:pt idx="825">
                  <c:v>42795</c:v>
                </c:pt>
                <c:pt idx="826">
                  <c:v>42796</c:v>
                </c:pt>
                <c:pt idx="827">
                  <c:v>42797</c:v>
                </c:pt>
                <c:pt idx="828">
                  <c:v>42800</c:v>
                </c:pt>
                <c:pt idx="829">
                  <c:v>42801</c:v>
                </c:pt>
                <c:pt idx="830">
                  <c:v>42802</c:v>
                </c:pt>
                <c:pt idx="831">
                  <c:v>42803</c:v>
                </c:pt>
                <c:pt idx="832">
                  <c:v>42804</c:v>
                </c:pt>
                <c:pt idx="833">
                  <c:v>42807</c:v>
                </c:pt>
                <c:pt idx="834">
                  <c:v>42808</c:v>
                </c:pt>
                <c:pt idx="835">
                  <c:v>42809</c:v>
                </c:pt>
                <c:pt idx="836">
                  <c:v>42810</c:v>
                </c:pt>
                <c:pt idx="837">
                  <c:v>42811</c:v>
                </c:pt>
                <c:pt idx="838">
                  <c:v>42814</c:v>
                </c:pt>
                <c:pt idx="839">
                  <c:v>42815</c:v>
                </c:pt>
                <c:pt idx="840">
                  <c:v>42816</c:v>
                </c:pt>
                <c:pt idx="841">
                  <c:v>42817</c:v>
                </c:pt>
                <c:pt idx="842">
                  <c:v>42818</c:v>
                </c:pt>
                <c:pt idx="843">
                  <c:v>42821</c:v>
                </c:pt>
                <c:pt idx="844">
                  <c:v>42822</c:v>
                </c:pt>
                <c:pt idx="845">
                  <c:v>42823</c:v>
                </c:pt>
                <c:pt idx="846">
                  <c:v>42824</c:v>
                </c:pt>
                <c:pt idx="847">
                  <c:v>42825</c:v>
                </c:pt>
                <c:pt idx="848">
                  <c:v>42828</c:v>
                </c:pt>
                <c:pt idx="849">
                  <c:v>42829</c:v>
                </c:pt>
                <c:pt idx="850">
                  <c:v>42830</c:v>
                </c:pt>
                <c:pt idx="851">
                  <c:v>42831</c:v>
                </c:pt>
                <c:pt idx="852">
                  <c:v>42832</c:v>
                </c:pt>
                <c:pt idx="853">
                  <c:v>42835</c:v>
                </c:pt>
                <c:pt idx="854">
                  <c:v>42836</c:v>
                </c:pt>
                <c:pt idx="855">
                  <c:v>42837</c:v>
                </c:pt>
                <c:pt idx="856">
                  <c:v>42838</c:v>
                </c:pt>
                <c:pt idx="857">
                  <c:v>42839</c:v>
                </c:pt>
                <c:pt idx="858">
                  <c:v>42842</c:v>
                </c:pt>
                <c:pt idx="859">
                  <c:v>42843</c:v>
                </c:pt>
                <c:pt idx="860">
                  <c:v>42844</c:v>
                </c:pt>
                <c:pt idx="861">
                  <c:v>42845</c:v>
                </c:pt>
                <c:pt idx="862">
                  <c:v>42846</c:v>
                </c:pt>
                <c:pt idx="863">
                  <c:v>42849</c:v>
                </c:pt>
                <c:pt idx="864">
                  <c:v>42850</c:v>
                </c:pt>
                <c:pt idx="865">
                  <c:v>42851</c:v>
                </c:pt>
                <c:pt idx="866">
                  <c:v>42852</c:v>
                </c:pt>
                <c:pt idx="867">
                  <c:v>42853</c:v>
                </c:pt>
                <c:pt idx="868">
                  <c:v>42856</c:v>
                </c:pt>
                <c:pt idx="869">
                  <c:v>42857</c:v>
                </c:pt>
                <c:pt idx="870">
                  <c:v>42858</c:v>
                </c:pt>
                <c:pt idx="871">
                  <c:v>42859</c:v>
                </c:pt>
                <c:pt idx="872">
                  <c:v>42860</c:v>
                </c:pt>
                <c:pt idx="873">
                  <c:v>42863</c:v>
                </c:pt>
                <c:pt idx="874">
                  <c:v>42864</c:v>
                </c:pt>
                <c:pt idx="875">
                  <c:v>42865</c:v>
                </c:pt>
                <c:pt idx="876">
                  <c:v>42866</c:v>
                </c:pt>
                <c:pt idx="877">
                  <c:v>42867</c:v>
                </c:pt>
                <c:pt idx="878">
                  <c:v>42870</c:v>
                </c:pt>
                <c:pt idx="879">
                  <c:v>42871</c:v>
                </c:pt>
                <c:pt idx="880">
                  <c:v>42872</c:v>
                </c:pt>
                <c:pt idx="881">
                  <c:v>42873</c:v>
                </c:pt>
                <c:pt idx="882">
                  <c:v>42874</c:v>
                </c:pt>
                <c:pt idx="883">
                  <c:v>42877</c:v>
                </c:pt>
                <c:pt idx="884">
                  <c:v>42878</c:v>
                </c:pt>
                <c:pt idx="885">
                  <c:v>42879</c:v>
                </c:pt>
                <c:pt idx="886">
                  <c:v>42880</c:v>
                </c:pt>
                <c:pt idx="887">
                  <c:v>42881</c:v>
                </c:pt>
                <c:pt idx="888">
                  <c:v>42884</c:v>
                </c:pt>
                <c:pt idx="889">
                  <c:v>42885</c:v>
                </c:pt>
                <c:pt idx="890">
                  <c:v>42886</c:v>
                </c:pt>
                <c:pt idx="891">
                  <c:v>42887</c:v>
                </c:pt>
                <c:pt idx="892">
                  <c:v>42888</c:v>
                </c:pt>
                <c:pt idx="893">
                  <c:v>42891</c:v>
                </c:pt>
                <c:pt idx="894">
                  <c:v>42892</c:v>
                </c:pt>
                <c:pt idx="895">
                  <c:v>42893</c:v>
                </c:pt>
                <c:pt idx="896">
                  <c:v>42894</c:v>
                </c:pt>
                <c:pt idx="897">
                  <c:v>42895</c:v>
                </c:pt>
                <c:pt idx="898">
                  <c:v>42898</c:v>
                </c:pt>
                <c:pt idx="899">
                  <c:v>42899</c:v>
                </c:pt>
                <c:pt idx="900">
                  <c:v>42900</c:v>
                </c:pt>
                <c:pt idx="901">
                  <c:v>42901</c:v>
                </c:pt>
                <c:pt idx="902">
                  <c:v>42902</c:v>
                </c:pt>
                <c:pt idx="903">
                  <c:v>42905</c:v>
                </c:pt>
                <c:pt idx="904">
                  <c:v>42906</c:v>
                </c:pt>
                <c:pt idx="905">
                  <c:v>42907</c:v>
                </c:pt>
                <c:pt idx="906">
                  <c:v>42908</c:v>
                </c:pt>
                <c:pt idx="907">
                  <c:v>42909</c:v>
                </c:pt>
                <c:pt idx="908">
                  <c:v>42912</c:v>
                </c:pt>
                <c:pt idx="909">
                  <c:v>42913</c:v>
                </c:pt>
                <c:pt idx="910">
                  <c:v>42914</c:v>
                </c:pt>
                <c:pt idx="911">
                  <c:v>42915</c:v>
                </c:pt>
                <c:pt idx="912">
                  <c:v>42916</c:v>
                </c:pt>
                <c:pt idx="913">
                  <c:v>42919</c:v>
                </c:pt>
                <c:pt idx="914">
                  <c:v>42920</c:v>
                </c:pt>
                <c:pt idx="915">
                  <c:v>42921</c:v>
                </c:pt>
                <c:pt idx="916">
                  <c:v>42922</c:v>
                </c:pt>
                <c:pt idx="917">
                  <c:v>42923</c:v>
                </c:pt>
                <c:pt idx="918">
                  <c:v>42926</c:v>
                </c:pt>
                <c:pt idx="919">
                  <c:v>42927</c:v>
                </c:pt>
                <c:pt idx="920">
                  <c:v>42928</c:v>
                </c:pt>
                <c:pt idx="921">
                  <c:v>42929</c:v>
                </c:pt>
                <c:pt idx="922">
                  <c:v>42930</c:v>
                </c:pt>
                <c:pt idx="923">
                  <c:v>42933</c:v>
                </c:pt>
                <c:pt idx="924">
                  <c:v>42934</c:v>
                </c:pt>
                <c:pt idx="925">
                  <c:v>42935</c:v>
                </c:pt>
                <c:pt idx="926">
                  <c:v>42936</c:v>
                </c:pt>
                <c:pt idx="927">
                  <c:v>42937</c:v>
                </c:pt>
                <c:pt idx="928">
                  <c:v>42940</c:v>
                </c:pt>
                <c:pt idx="929">
                  <c:v>42941</c:v>
                </c:pt>
                <c:pt idx="930">
                  <c:v>42942</c:v>
                </c:pt>
                <c:pt idx="931">
                  <c:v>42943</c:v>
                </c:pt>
                <c:pt idx="932">
                  <c:v>42944</c:v>
                </c:pt>
                <c:pt idx="933">
                  <c:v>42947</c:v>
                </c:pt>
                <c:pt idx="934">
                  <c:v>42948</c:v>
                </c:pt>
                <c:pt idx="935">
                  <c:v>42949</c:v>
                </c:pt>
                <c:pt idx="936">
                  <c:v>42950</c:v>
                </c:pt>
                <c:pt idx="937">
                  <c:v>42951</c:v>
                </c:pt>
                <c:pt idx="938">
                  <c:v>42954</c:v>
                </c:pt>
                <c:pt idx="939">
                  <c:v>42955</c:v>
                </c:pt>
                <c:pt idx="940">
                  <c:v>42956</c:v>
                </c:pt>
                <c:pt idx="941">
                  <c:v>42957</c:v>
                </c:pt>
                <c:pt idx="942">
                  <c:v>42958</c:v>
                </c:pt>
                <c:pt idx="943">
                  <c:v>42961</c:v>
                </c:pt>
                <c:pt idx="944">
                  <c:v>42962</c:v>
                </c:pt>
                <c:pt idx="945">
                  <c:v>42963</c:v>
                </c:pt>
                <c:pt idx="946">
                  <c:v>42964</c:v>
                </c:pt>
                <c:pt idx="947">
                  <c:v>42965</c:v>
                </c:pt>
                <c:pt idx="948">
                  <c:v>42968</c:v>
                </c:pt>
                <c:pt idx="949">
                  <c:v>42969</c:v>
                </c:pt>
                <c:pt idx="950">
                  <c:v>42970</c:v>
                </c:pt>
                <c:pt idx="951">
                  <c:v>42971</c:v>
                </c:pt>
                <c:pt idx="952">
                  <c:v>42972</c:v>
                </c:pt>
                <c:pt idx="953">
                  <c:v>42975</c:v>
                </c:pt>
                <c:pt idx="954">
                  <c:v>42976</c:v>
                </c:pt>
                <c:pt idx="955">
                  <c:v>42977</c:v>
                </c:pt>
                <c:pt idx="956">
                  <c:v>42978</c:v>
                </c:pt>
                <c:pt idx="957">
                  <c:v>42979</c:v>
                </c:pt>
                <c:pt idx="958">
                  <c:v>42982</c:v>
                </c:pt>
                <c:pt idx="959">
                  <c:v>42983</c:v>
                </c:pt>
                <c:pt idx="960">
                  <c:v>42984</c:v>
                </c:pt>
                <c:pt idx="961">
                  <c:v>42985</c:v>
                </c:pt>
                <c:pt idx="962">
                  <c:v>42986</c:v>
                </c:pt>
                <c:pt idx="963">
                  <c:v>42989</c:v>
                </c:pt>
                <c:pt idx="964">
                  <c:v>42990</c:v>
                </c:pt>
                <c:pt idx="965">
                  <c:v>42991</c:v>
                </c:pt>
                <c:pt idx="966">
                  <c:v>42992</c:v>
                </c:pt>
                <c:pt idx="967">
                  <c:v>42993</c:v>
                </c:pt>
                <c:pt idx="968">
                  <c:v>42996</c:v>
                </c:pt>
                <c:pt idx="969">
                  <c:v>42997</c:v>
                </c:pt>
                <c:pt idx="970">
                  <c:v>42998</c:v>
                </c:pt>
                <c:pt idx="971">
                  <c:v>42999</c:v>
                </c:pt>
                <c:pt idx="972">
                  <c:v>43000</c:v>
                </c:pt>
                <c:pt idx="973">
                  <c:v>43003</c:v>
                </c:pt>
                <c:pt idx="974">
                  <c:v>43004</c:v>
                </c:pt>
                <c:pt idx="975">
                  <c:v>43005</c:v>
                </c:pt>
                <c:pt idx="976">
                  <c:v>43006</c:v>
                </c:pt>
                <c:pt idx="977">
                  <c:v>43007</c:v>
                </c:pt>
                <c:pt idx="978">
                  <c:v>43010</c:v>
                </c:pt>
                <c:pt idx="979">
                  <c:v>43011</c:v>
                </c:pt>
                <c:pt idx="980">
                  <c:v>43012</c:v>
                </c:pt>
                <c:pt idx="981">
                  <c:v>43013</c:v>
                </c:pt>
                <c:pt idx="982">
                  <c:v>43014</c:v>
                </c:pt>
                <c:pt idx="983">
                  <c:v>43017</c:v>
                </c:pt>
                <c:pt idx="984">
                  <c:v>43018</c:v>
                </c:pt>
                <c:pt idx="985">
                  <c:v>43019</c:v>
                </c:pt>
                <c:pt idx="986">
                  <c:v>43020</c:v>
                </c:pt>
                <c:pt idx="987">
                  <c:v>43021</c:v>
                </c:pt>
                <c:pt idx="988">
                  <c:v>43024</c:v>
                </c:pt>
                <c:pt idx="989">
                  <c:v>43025</c:v>
                </c:pt>
                <c:pt idx="990">
                  <c:v>43026</c:v>
                </c:pt>
                <c:pt idx="991">
                  <c:v>43027</c:v>
                </c:pt>
                <c:pt idx="992">
                  <c:v>43028</c:v>
                </c:pt>
                <c:pt idx="993">
                  <c:v>43031</c:v>
                </c:pt>
                <c:pt idx="994">
                  <c:v>43032</c:v>
                </c:pt>
                <c:pt idx="995">
                  <c:v>43033</c:v>
                </c:pt>
                <c:pt idx="996">
                  <c:v>43034</c:v>
                </c:pt>
                <c:pt idx="997">
                  <c:v>43035</c:v>
                </c:pt>
                <c:pt idx="998">
                  <c:v>43038</c:v>
                </c:pt>
                <c:pt idx="999">
                  <c:v>43039</c:v>
                </c:pt>
                <c:pt idx="1000">
                  <c:v>43040</c:v>
                </c:pt>
                <c:pt idx="1001">
                  <c:v>43041</c:v>
                </c:pt>
                <c:pt idx="1002">
                  <c:v>43042</c:v>
                </c:pt>
                <c:pt idx="1003">
                  <c:v>43045</c:v>
                </c:pt>
                <c:pt idx="1004">
                  <c:v>43046</c:v>
                </c:pt>
                <c:pt idx="1005">
                  <c:v>43047</c:v>
                </c:pt>
                <c:pt idx="1006">
                  <c:v>43048</c:v>
                </c:pt>
                <c:pt idx="1007">
                  <c:v>43049</c:v>
                </c:pt>
                <c:pt idx="1008">
                  <c:v>43052</c:v>
                </c:pt>
                <c:pt idx="1009">
                  <c:v>43053</c:v>
                </c:pt>
                <c:pt idx="1010">
                  <c:v>43054</c:v>
                </c:pt>
                <c:pt idx="1011">
                  <c:v>43055</c:v>
                </c:pt>
                <c:pt idx="1012">
                  <c:v>43056</c:v>
                </c:pt>
                <c:pt idx="1013">
                  <c:v>43059</c:v>
                </c:pt>
                <c:pt idx="1014">
                  <c:v>43060</c:v>
                </c:pt>
                <c:pt idx="1015">
                  <c:v>43061</c:v>
                </c:pt>
                <c:pt idx="1016">
                  <c:v>43062</c:v>
                </c:pt>
                <c:pt idx="1017">
                  <c:v>43063</c:v>
                </c:pt>
                <c:pt idx="1018">
                  <c:v>43066</c:v>
                </c:pt>
                <c:pt idx="1019">
                  <c:v>43067</c:v>
                </c:pt>
                <c:pt idx="1020">
                  <c:v>43068</c:v>
                </c:pt>
                <c:pt idx="1021">
                  <c:v>43069</c:v>
                </c:pt>
                <c:pt idx="1022">
                  <c:v>43070</c:v>
                </c:pt>
                <c:pt idx="1023">
                  <c:v>43073</c:v>
                </c:pt>
                <c:pt idx="1024">
                  <c:v>43074</c:v>
                </c:pt>
                <c:pt idx="1025">
                  <c:v>43075</c:v>
                </c:pt>
                <c:pt idx="1026">
                  <c:v>43076</c:v>
                </c:pt>
                <c:pt idx="1027">
                  <c:v>43077</c:v>
                </c:pt>
                <c:pt idx="1028">
                  <c:v>43080</c:v>
                </c:pt>
                <c:pt idx="1029">
                  <c:v>43081</c:v>
                </c:pt>
                <c:pt idx="1030">
                  <c:v>43082</c:v>
                </c:pt>
                <c:pt idx="1031">
                  <c:v>43083</c:v>
                </c:pt>
                <c:pt idx="1032">
                  <c:v>43084</c:v>
                </c:pt>
                <c:pt idx="1033">
                  <c:v>43087</c:v>
                </c:pt>
                <c:pt idx="1034">
                  <c:v>43088</c:v>
                </c:pt>
                <c:pt idx="1035">
                  <c:v>43089</c:v>
                </c:pt>
                <c:pt idx="1036">
                  <c:v>43090</c:v>
                </c:pt>
                <c:pt idx="1037">
                  <c:v>43091</c:v>
                </c:pt>
                <c:pt idx="1038">
                  <c:v>43094</c:v>
                </c:pt>
                <c:pt idx="1039">
                  <c:v>43095</c:v>
                </c:pt>
                <c:pt idx="1040">
                  <c:v>43096</c:v>
                </c:pt>
                <c:pt idx="1041">
                  <c:v>43097</c:v>
                </c:pt>
                <c:pt idx="1042">
                  <c:v>43098</c:v>
                </c:pt>
                <c:pt idx="1043">
                  <c:v>43101</c:v>
                </c:pt>
                <c:pt idx="1044">
                  <c:v>43102</c:v>
                </c:pt>
                <c:pt idx="1045">
                  <c:v>43103</c:v>
                </c:pt>
                <c:pt idx="1046">
                  <c:v>43104</c:v>
                </c:pt>
                <c:pt idx="1047">
                  <c:v>43105</c:v>
                </c:pt>
                <c:pt idx="1048">
                  <c:v>43108</c:v>
                </c:pt>
                <c:pt idx="1049">
                  <c:v>43109</c:v>
                </c:pt>
                <c:pt idx="1050">
                  <c:v>43110</c:v>
                </c:pt>
                <c:pt idx="1051">
                  <c:v>43111</c:v>
                </c:pt>
                <c:pt idx="1052">
                  <c:v>43112</c:v>
                </c:pt>
                <c:pt idx="1053">
                  <c:v>43115</c:v>
                </c:pt>
                <c:pt idx="1054">
                  <c:v>43116</c:v>
                </c:pt>
                <c:pt idx="1055">
                  <c:v>43117</c:v>
                </c:pt>
                <c:pt idx="1056">
                  <c:v>43118</c:v>
                </c:pt>
                <c:pt idx="1057">
                  <c:v>43119</c:v>
                </c:pt>
                <c:pt idx="1058">
                  <c:v>43122</c:v>
                </c:pt>
                <c:pt idx="1059">
                  <c:v>43123</c:v>
                </c:pt>
                <c:pt idx="1060">
                  <c:v>43124</c:v>
                </c:pt>
                <c:pt idx="1061">
                  <c:v>43125</c:v>
                </c:pt>
                <c:pt idx="1062">
                  <c:v>43126</c:v>
                </c:pt>
                <c:pt idx="1063">
                  <c:v>43129</c:v>
                </c:pt>
                <c:pt idx="1064">
                  <c:v>43130</c:v>
                </c:pt>
                <c:pt idx="1065">
                  <c:v>43131</c:v>
                </c:pt>
                <c:pt idx="1066">
                  <c:v>43132</c:v>
                </c:pt>
                <c:pt idx="1067">
                  <c:v>43133</c:v>
                </c:pt>
                <c:pt idx="1068">
                  <c:v>43136</c:v>
                </c:pt>
                <c:pt idx="1069">
                  <c:v>43137</c:v>
                </c:pt>
                <c:pt idx="1070">
                  <c:v>43138</c:v>
                </c:pt>
                <c:pt idx="1071">
                  <c:v>43139</c:v>
                </c:pt>
                <c:pt idx="1072">
                  <c:v>43140</c:v>
                </c:pt>
                <c:pt idx="1073">
                  <c:v>43143</c:v>
                </c:pt>
                <c:pt idx="1074">
                  <c:v>43144</c:v>
                </c:pt>
                <c:pt idx="1075">
                  <c:v>43145</c:v>
                </c:pt>
                <c:pt idx="1076">
                  <c:v>43146</c:v>
                </c:pt>
                <c:pt idx="1077">
                  <c:v>43147</c:v>
                </c:pt>
                <c:pt idx="1078">
                  <c:v>43150</c:v>
                </c:pt>
                <c:pt idx="1079">
                  <c:v>43151</c:v>
                </c:pt>
                <c:pt idx="1080">
                  <c:v>43152</c:v>
                </c:pt>
                <c:pt idx="1081">
                  <c:v>43153</c:v>
                </c:pt>
                <c:pt idx="1082">
                  <c:v>43154</c:v>
                </c:pt>
                <c:pt idx="1083">
                  <c:v>43157</c:v>
                </c:pt>
                <c:pt idx="1084">
                  <c:v>43158</c:v>
                </c:pt>
                <c:pt idx="1085">
                  <c:v>43159</c:v>
                </c:pt>
                <c:pt idx="1086">
                  <c:v>43160</c:v>
                </c:pt>
                <c:pt idx="1087">
                  <c:v>43161</c:v>
                </c:pt>
                <c:pt idx="1088">
                  <c:v>43164</c:v>
                </c:pt>
                <c:pt idx="1089">
                  <c:v>43165</c:v>
                </c:pt>
                <c:pt idx="1090">
                  <c:v>43166</c:v>
                </c:pt>
                <c:pt idx="1091">
                  <c:v>43167</c:v>
                </c:pt>
                <c:pt idx="1092">
                  <c:v>43168</c:v>
                </c:pt>
                <c:pt idx="1093">
                  <c:v>43171</c:v>
                </c:pt>
                <c:pt idx="1094">
                  <c:v>43172</c:v>
                </c:pt>
                <c:pt idx="1095">
                  <c:v>43173</c:v>
                </c:pt>
                <c:pt idx="1096">
                  <c:v>43174</c:v>
                </c:pt>
                <c:pt idx="1097">
                  <c:v>43175</c:v>
                </c:pt>
                <c:pt idx="1098">
                  <c:v>43178</c:v>
                </c:pt>
                <c:pt idx="1099">
                  <c:v>43179</c:v>
                </c:pt>
                <c:pt idx="1100">
                  <c:v>43180</c:v>
                </c:pt>
                <c:pt idx="1101">
                  <c:v>43181</c:v>
                </c:pt>
                <c:pt idx="1102">
                  <c:v>43182</c:v>
                </c:pt>
                <c:pt idx="1103">
                  <c:v>43185</c:v>
                </c:pt>
                <c:pt idx="1104">
                  <c:v>43186</c:v>
                </c:pt>
                <c:pt idx="1105">
                  <c:v>43187</c:v>
                </c:pt>
                <c:pt idx="1106">
                  <c:v>43188</c:v>
                </c:pt>
                <c:pt idx="1107">
                  <c:v>43189</c:v>
                </c:pt>
                <c:pt idx="1108">
                  <c:v>43192</c:v>
                </c:pt>
                <c:pt idx="1109">
                  <c:v>43193</c:v>
                </c:pt>
                <c:pt idx="1110">
                  <c:v>43194</c:v>
                </c:pt>
                <c:pt idx="1111">
                  <c:v>43195</c:v>
                </c:pt>
                <c:pt idx="1112">
                  <c:v>43196</c:v>
                </c:pt>
                <c:pt idx="1113">
                  <c:v>43199</c:v>
                </c:pt>
                <c:pt idx="1114">
                  <c:v>43200</c:v>
                </c:pt>
                <c:pt idx="1115">
                  <c:v>43201</c:v>
                </c:pt>
                <c:pt idx="1116">
                  <c:v>43202</c:v>
                </c:pt>
                <c:pt idx="1117">
                  <c:v>43203</c:v>
                </c:pt>
                <c:pt idx="1118">
                  <c:v>43206</c:v>
                </c:pt>
                <c:pt idx="1119">
                  <c:v>43207</c:v>
                </c:pt>
                <c:pt idx="1120">
                  <c:v>43208</c:v>
                </c:pt>
                <c:pt idx="1121">
                  <c:v>43209</c:v>
                </c:pt>
                <c:pt idx="1122">
                  <c:v>43210</c:v>
                </c:pt>
                <c:pt idx="1123">
                  <c:v>43213</c:v>
                </c:pt>
                <c:pt idx="1124">
                  <c:v>43214</c:v>
                </c:pt>
                <c:pt idx="1125">
                  <c:v>43215</c:v>
                </c:pt>
                <c:pt idx="1126">
                  <c:v>43216</c:v>
                </c:pt>
                <c:pt idx="1127">
                  <c:v>43217</c:v>
                </c:pt>
                <c:pt idx="1128">
                  <c:v>43220</c:v>
                </c:pt>
                <c:pt idx="1129">
                  <c:v>43221</c:v>
                </c:pt>
                <c:pt idx="1130">
                  <c:v>43222</c:v>
                </c:pt>
                <c:pt idx="1131">
                  <c:v>43223</c:v>
                </c:pt>
                <c:pt idx="1132">
                  <c:v>43224</c:v>
                </c:pt>
                <c:pt idx="1133">
                  <c:v>43227</c:v>
                </c:pt>
                <c:pt idx="1134">
                  <c:v>43228</c:v>
                </c:pt>
                <c:pt idx="1135">
                  <c:v>43229</c:v>
                </c:pt>
                <c:pt idx="1136">
                  <c:v>43230</c:v>
                </c:pt>
                <c:pt idx="1137">
                  <c:v>43231</c:v>
                </c:pt>
                <c:pt idx="1138">
                  <c:v>43234</c:v>
                </c:pt>
                <c:pt idx="1139">
                  <c:v>43235</c:v>
                </c:pt>
                <c:pt idx="1140">
                  <c:v>43236</c:v>
                </c:pt>
                <c:pt idx="1141">
                  <c:v>43237</c:v>
                </c:pt>
                <c:pt idx="1142">
                  <c:v>43238</c:v>
                </c:pt>
                <c:pt idx="1143">
                  <c:v>43241</c:v>
                </c:pt>
                <c:pt idx="1144">
                  <c:v>43242</c:v>
                </c:pt>
                <c:pt idx="1145">
                  <c:v>43243</c:v>
                </c:pt>
                <c:pt idx="1146">
                  <c:v>43244</c:v>
                </c:pt>
                <c:pt idx="1147">
                  <c:v>43245</c:v>
                </c:pt>
                <c:pt idx="1148">
                  <c:v>43248</c:v>
                </c:pt>
                <c:pt idx="1149">
                  <c:v>43249</c:v>
                </c:pt>
                <c:pt idx="1150">
                  <c:v>43250</c:v>
                </c:pt>
                <c:pt idx="1151">
                  <c:v>43251</c:v>
                </c:pt>
                <c:pt idx="1152">
                  <c:v>43252</c:v>
                </c:pt>
                <c:pt idx="1153">
                  <c:v>43255</c:v>
                </c:pt>
                <c:pt idx="1154">
                  <c:v>43256</c:v>
                </c:pt>
                <c:pt idx="1155">
                  <c:v>43257</c:v>
                </c:pt>
                <c:pt idx="1156">
                  <c:v>43258</c:v>
                </c:pt>
                <c:pt idx="1157">
                  <c:v>43259</c:v>
                </c:pt>
                <c:pt idx="1158">
                  <c:v>43262</c:v>
                </c:pt>
                <c:pt idx="1159">
                  <c:v>43263</c:v>
                </c:pt>
                <c:pt idx="1160">
                  <c:v>43264</c:v>
                </c:pt>
                <c:pt idx="1161">
                  <c:v>43265</c:v>
                </c:pt>
                <c:pt idx="1162">
                  <c:v>43266</c:v>
                </c:pt>
                <c:pt idx="1163">
                  <c:v>43269</c:v>
                </c:pt>
                <c:pt idx="1164">
                  <c:v>43270</c:v>
                </c:pt>
                <c:pt idx="1165">
                  <c:v>43271</c:v>
                </c:pt>
                <c:pt idx="1166">
                  <c:v>43272</c:v>
                </c:pt>
                <c:pt idx="1167">
                  <c:v>43273</c:v>
                </c:pt>
                <c:pt idx="1168">
                  <c:v>43276</c:v>
                </c:pt>
                <c:pt idx="1169">
                  <c:v>43277</c:v>
                </c:pt>
                <c:pt idx="1170">
                  <c:v>43278</c:v>
                </c:pt>
                <c:pt idx="1171">
                  <c:v>43279</c:v>
                </c:pt>
                <c:pt idx="1172">
                  <c:v>43280</c:v>
                </c:pt>
                <c:pt idx="1173">
                  <c:v>43283</c:v>
                </c:pt>
                <c:pt idx="1174">
                  <c:v>43284</c:v>
                </c:pt>
                <c:pt idx="1175">
                  <c:v>43285</c:v>
                </c:pt>
                <c:pt idx="1176">
                  <c:v>43286</c:v>
                </c:pt>
                <c:pt idx="1177">
                  <c:v>43287</c:v>
                </c:pt>
                <c:pt idx="1178">
                  <c:v>43290</c:v>
                </c:pt>
                <c:pt idx="1179">
                  <c:v>43291</c:v>
                </c:pt>
                <c:pt idx="1180">
                  <c:v>43292</c:v>
                </c:pt>
                <c:pt idx="1181">
                  <c:v>43293</c:v>
                </c:pt>
                <c:pt idx="1182">
                  <c:v>43294</c:v>
                </c:pt>
                <c:pt idx="1183">
                  <c:v>43297</c:v>
                </c:pt>
                <c:pt idx="1184">
                  <c:v>43298</c:v>
                </c:pt>
                <c:pt idx="1185">
                  <c:v>43299</c:v>
                </c:pt>
                <c:pt idx="1186">
                  <c:v>43300</c:v>
                </c:pt>
                <c:pt idx="1187">
                  <c:v>43301</c:v>
                </c:pt>
                <c:pt idx="1188">
                  <c:v>43304</c:v>
                </c:pt>
                <c:pt idx="1189">
                  <c:v>43305</c:v>
                </c:pt>
                <c:pt idx="1190">
                  <c:v>43306</c:v>
                </c:pt>
                <c:pt idx="1191">
                  <c:v>43307</c:v>
                </c:pt>
                <c:pt idx="1192">
                  <c:v>43308</c:v>
                </c:pt>
                <c:pt idx="1193">
                  <c:v>43311</c:v>
                </c:pt>
                <c:pt idx="1194">
                  <c:v>43312</c:v>
                </c:pt>
                <c:pt idx="1195">
                  <c:v>43313</c:v>
                </c:pt>
                <c:pt idx="1196">
                  <c:v>43314</c:v>
                </c:pt>
                <c:pt idx="1197">
                  <c:v>43315</c:v>
                </c:pt>
                <c:pt idx="1198">
                  <c:v>43318</c:v>
                </c:pt>
                <c:pt idx="1199">
                  <c:v>43319</c:v>
                </c:pt>
                <c:pt idx="1200">
                  <c:v>43320</c:v>
                </c:pt>
                <c:pt idx="1201">
                  <c:v>43321</c:v>
                </c:pt>
                <c:pt idx="1202">
                  <c:v>43322</c:v>
                </c:pt>
                <c:pt idx="1203">
                  <c:v>43325</c:v>
                </c:pt>
                <c:pt idx="1204">
                  <c:v>43326</c:v>
                </c:pt>
                <c:pt idx="1205">
                  <c:v>43327</c:v>
                </c:pt>
                <c:pt idx="1206">
                  <c:v>43328</c:v>
                </c:pt>
                <c:pt idx="1207">
                  <c:v>43329</c:v>
                </c:pt>
                <c:pt idx="1208">
                  <c:v>43332</c:v>
                </c:pt>
                <c:pt idx="1209">
                  <c:v>43333</c:v>
                </c:pt>
                <c:pt idx="1210">
                  <c:v>43334</c:v>
                </c:pt>
                <c:pt idx="1211">
                  <c:v>43335</c:v>
                </c:pt>
                <c:pt idx="1212">
                  <c:v>43336</c:v>
                </c:pt>
                <c:pt idx="1213">
                  <c:v>43339</c:v>
                </c:pt>
                <c:pt idx="1214">
                  <c:v>43340</c:v>
                </c:pt>
                <c:pt idx="1215">
                  <c:v>43341</c:v>
                </c:pt>
                <c:pt idx="1216">
                  <c:v>43342</c:v>
                </c:pt>
                <c:pt idx="1217">
                  <c:v>43343</c:v>
                </c:pt>
                <c:pt idx="1218">
                  <c:v>43346</c:v>
                </c:pt>
                <c:pt idx="1219">
                  <c:v>43347</c:v>
                </c:pt>
                <c:pt idx="1220">
                  <c:v>43348</c:v>
                </c:pt>
                <c:pt idx="1221">
                  <c:v>43349</c:v>
                </c:pt>
                <c:pt idx="1222">
                  <c:v>43350</c:v>
                </c:pt>
                <c:pt idx="1223">
                  <c:v>43353</c:v>
                </c:pt>
                <c:pt idx="1224">
                  <c:v>43354</c:v>
                </c:pt>
                <c:pt idx="1225">
                  <c:v>43355</c:v>
                </c:pt>
                <c:pt idx="1226">
                  <c:v>43356</c:v>
                </c:pt>
                <c:pt idx="1227">
                  <c:v>43357</c:v>
                </c:pt>
                <c:pt idx="1228">
                  <c:v>43360</c:v>
                </c:pt>
                <c:pt idx="1229">
                  <c:v>43361</c:v>
                </c:pt>
                <c:pt idx="1230">
                  <c:v>43362</c:v>
                </c:pt>
                <c:pt idx="1231">
                  <c:v>43363</c:v>
                </c:pt>
                <c:pt idx="1232">
                  <c:v>43364</c:v>
                </c:pt>
                <c:pt idx="1233">
                  <c:v>43367</c:v>
                </c:pt>
                <c:pt idx="1234">
                  <c:v>43368</c:v>
                </c:pt>
                <c:pt idx="1235">
                  <c:v>43369</c:v>
                </c:pt>
                <c:pt idx="1236">
                  <c:v>43370</c:v>
                </c:pt>
                <c:pt idx="1237">
                  <c:v>43371</c:v>
                </c:pt>
                <c:pt idx="1238">
                  <c:v>43374</c:v>
                </c:pt>
                <c:pt idx="1239">
                  <c:v>43375</c:v>
                </c:pt>
                <c:pt idx="1240">
                  <c:v>43376</c:v>
                </c:pt>
                <c:pt idx="1241">
                  <c:v>43377</c:v>
                </c:pt>
                <c:pt idx="1242">
                  <c:v>43378</c:v>
                </c:pt>
                <c:pt idx="1243">
                  <c:v>43381</c:v>
                </c:pt>
                <c:pt idx="1244">
                  <c:v>43382</c:v>
                </c:pt>
                <c:pt idx="1245">
                  <c:v>43383</c:v>
                </c:pt>
                <c:pt idx="1246">
                  <c:v>43384</c:v>
                </c:pt>
                <c:pt idx="1247">
                  <c:v>43385</c:v>
                </c:pt>
                <c:pt idx="1248">
                  <c:v>43388</c:v>
                </c:pt>
                <c:pt idx="1249">
                  <c:v>43389</c:v>
                </c:pt>
                <c:pt idx="1250">
                  <c:v>43390</c:v>
                </c:pt>
                <c:pt idx="1251">
                  <c:v>43391</c:v>
                </c:pt>
                <c:pt idx="1252">
                  <c:v>43392</c:v>
                </c:pt>
                <c:pt idx="1253">
                  <c:v>43395</c:v>
                </c:pt>
                <c:pt idx="1254">
                  <c:v>43396</c:v>
                </c:pt>
                <c:pt idx="1255">
                  <c:v>43397</c:v>
                </c:pt>
                <c:pt idx="1256">
                  <c:v>43398</c:v>
                </c:pt>
                <c:pt idx="1257">
                  <c:v>43399</c:v>
                </c:pt>
                <c:pt idx="1258">
                  <c:v>43402</c:v>
                </c:pt>
                <c:pt idx="1259">
                  <c:v>43403</c:v>
                </c:pt>
                <c:pt idx="1260">
                  <c:v>43404</c:v>
                </c:pt>
                <c:pt idx="1261">
                  <c:v>43405</c:v>
                </c:pt>
                <c:pt idx="1262">
                  <c:v>43406</c:v>
                </c:pt>
                <c:pt idx="1263">
                  <c:v>43409</c:v>
                </c:pt>
                <c:pt idx="1264">
                  <c:v>43410</c:v>
                </c:pt>
                <c:pt idx="1265">
                  <c:v>43411</c:v>
                </c:pt>
                <c:pt idx="1266">
                  <c:v>43412</c:v>
                </c:pt>
                <c:pt idx="1267">
                  <c:v>43413</c:v>
                </c:pt>
                <c:pt idx="1268">
                  <c:v>43416</c:v>
                </c:pt>
                <c:pt idx="1269">
                  <c:v>43417</c:v>
                </c:pt>
                <c:pt idx="1270">
                  <c:v>43418</c:v>
                </c:pt>
                <c:pt idx="1271">
                  <c:v>43419</c:v>
                </c:pt>
                <c:pt idx="1272">
                  <c:v>43420</c:v>
                </c:pt>
                <c:pt idx="1273">
                  <c:v>43423</c:v>
                </c:pt>
                <c:pt idx="1274">
                  <c:v>43424</c:v>
                </c:pt>
                <c:pt idx="1275">
                  <c:v>43425</c:v>
                </c:pt>
                <c:pt idx="1276">
                  <c:v>43426</c:v>
                </c:pt>
                <c:pt idx="1277">
                  <c:v>43427</c:v>
                </c:pt>
                <c:pt idx="1278">
                  <c:v>43430</c:v>
                </c:pt>
                <c:pt idx="1279">
                  <c:v>43431</c:v>
                </c:pt>
                <c:pt idx="1280">
                  <c:v>43432</c:v>
                </c:pt>
                <c:pt idx="1281">
                  <c:v>43433</c:v>
                </c:pt>
                <c:pt idx="1282">
                  <c:v>43434</c:v>
                </c:pt>
                <c:pt idx="1283">
                  <c:v>43437</c:v>
                </c:pt>
                <c:pt idx="1284">
                  <c:v>43438</c:v>
                </c:pt>
                <c:pt idx="1285">
                  <c:v>43439</c:v>
                </c:pt>
                <c:pt idx="1286">
                  <c:v>43440</c:v>
                </c:pt>
                <c:pt idx="1287">
                  <c:v>43441</c:v>
                </c:pt>
                <c:pt idx="1288">
                  <c:v>43444</c:v>
                </c:pt>
                <c:pt idx="1289">
                  <c:v>43445</c:v>
                </c:pt>
                <c:pt idx="1290">
                  <c:v>43446</c:v>
                </c:pt>
                <c:pt idx="1291">
                  <c:v>43447</c:v>
                </c:pt>
                <c:pt idx="1292">
                  <c:v>43448</c:v>
                </c:pt>
                <c:pt idx="1293">
                  <c:v>43451</c:v>
                </c:pt>
                <c:pt idx="1294">
                  <c:v>43452</c:v>
                </c:pt>
                <c:pt idx="1295">
                  <c:v>43453</c:v>
                </c:pt>
                <c:pt idx="1296">
                  <c:v>43454</c:v>
                </c:pt>
                <c:pt idx="1297">
                  <c:v>43455</c:v>
                </c:pt>
                <c:pt idx="1298">
                  <c:v>43458</c:v>
                </c:pt>
                <c:pt idx="1299">
                  <c:v>43459</c:v>
                </c:pt>
                <c:pt idx="1300">
                  <c:v>43460</c:v>
                </c:pt>
                <c:pt idx="1301">
                  <c:v>43461</c:v>
                </c:pt>
                <c:pt idx="1302">
                  <c:v>43462</c:v>
                </c:pt>
                <c:pt idx="1303">
                  <c:v>43465</c:v>
                </c:pt>
                <c:pt idx="1304">
                  <c:v>43466</c:v>
                </c:pt>
                <c:pt idx="1305">
                  <c:v>43467</c:v>
                </c:pt>
                <c:pt idx="1306">
                  <c:v>43468</c:v>
                </c:pt>
                <c:pt idx="1307">
                  <c:v>43469</c:v>
                </c:pt>
                <c:pt idx="1308">
                  <c:v>43472</c:v>
                </c:pt>
                <c:pt idx="1309">
                  <c:v>43473</c:v>
                </c:pt>
                <c:pt idx="1310">
                  <c:v>43474</c:v>
                </c:pt>
                <c:pt idx="1311">
                  <c:v>43475</c:v>
                </c:pt>
                <c:pt idx="1312">
                  <c:v>43476</c:v>
                </c:pt>
                <c:pt idx="1313">
                  <c:v>43479</c:v>
                </c:pt>
                <c:pt idx="1314">
                  <c:v>43480</c:v>
                </c:pt>
                <c:pt idx="1315">
                  <c:v>43481</c:v>
                </c:pt>
                <c:pt idx="1316">
                  <c:v>43482</c:v>
                </c:pt>
                <c:pt idx="1317">
                  <c:v>43483</c:v>
                </c:pt>
                <c:pt idx="1318">
                  <c:v>43486</c:v>
                </c:pt>
                <c:pt idx="1319">
                  <c:v>43487</c:v>
                </c:pt>
                <c:pt idx="1320">
                  <c:v>43488</c:v>
                </c:pt>
                <c:pt idx="1321">
                  <c:v>43489</c:v>
                </c:pt>
                <c:pt idx="1322">
                  <c:v>43490</c:v>
                </c:pt>
                <c:pt idx="1323">
                  <c:v>43493</c:v>
                </c:pt>
                <c:pt idx="1324">
                  <c:v>43494</c:v>
                </c:pt>
                <c:pt idx="1325">
                  <c:v>43495</c:v>
                </c:pt>
                <c:pt idx="1326">
                  <c:v>43496</c:v>
                </c:pt>
                <c:pt idx="1327">
                  <c:v>43497</c:v>
                </c:pt>
                <c:pt idx="1328">
                  <c:v>43500</c:v>
                </c:pt>
                <c:pt idx="1329">
                  <c:v>43501</c:v>
                </c:pt>
                <c:pt idx="1330">
                  <c:v>43502</c:v>
                </c:pt>
                <c:pt idx="1331">
                  <c:v>43503</c:v>
                </c:pt>
                <c:pt idx="1332">
                  <c:v>43504</c:v>
                </c:pt>
                <c:pt idx="1333">
                  <c:v>43507</c:v>
                </c:pt>
                <c:pt idx="1334">
                  <c:v>43508</c:v>
                </c:pt>
                <c:pt idx="1335">
                  <c:v>43509</c:v>
                </c:pt>
                <c:pt idx="1336">
                  <c:v>43510</c:v>
                </c:pt>
                <c:pt idx="1337">
                  <c:v>43511</c:v>
                </c:pt>
                <c:pt idx="1338">
                  <c:v>43514</c:v>
                </c:pt>
                <c:pt idx="1339">
                  <c:v>43515</c:v>
                </c:pt>
                <c:pt idx="1340">
                  <c:v>43516</c:v>
                </c:pt>
                <c:pt idx="1341">
                  <c:v>43517</c:v>
                </c:pt>
                <c:pt idx="1342">
                  <c:v>43518</c:v>
                </c:pt>
                <c:pt idx="1343">
                  <c:v>43521</c:v>
                </c:pt>
                <c:pt idx="1344">
                  <c:v>43522</c:v>
                </c:pt>
                <c:pt idx="1345">
                  <c:v>43523</c:v>
                </c:pt>
                <c:pt idx="1346">
                  <c:v>43524</c:v>
                </c:pt>
                <c:pt idx="1347">
                  <c:v>43525</c:v>
                </c:pt>
                <c:pt idx="1348">
                  <c:v>43528</c:v>
                </c:pt>
                <c:pt idx="1349">
                  <c:v>43529</c:v>
                </c:pt>
                <c:pt idx="1350">
                  <c:v>43530</c:v>
                </c:pt>
                <c:pt idx="1351">
                  <c:v>43531</c:v>
                </c:pt>
                <c:pt idx="1352">
                  <c:v>43532</c:v>
                </c:pt>
                <c:pt idx="1353">
                  <c:v>43535</c:v>
                </c:pt>
                <c:pt idx="1354">
                  <c:v>43536</c:v>
                </c:pt>
                <c:pt idx="1355">
                  <c:v>43537</c:v>
                </c:pt>
                <c:pt idx="1356">
                  <c:v>43538</c:v>
                </c:pt>
                <c:pt idx="1357">
                  <c:v>43539</c:v>
                </c:pt>
                <c:pt idx="1358">
                  <c:v>43542</c:v>
                </c:pt>
                <c:pt idx="1359">
                  <c:v>43543</c:v>
                </c:pt>
                <c:pt idx="1360">
                  <c:v>43544</c:v>
                </c:pt>
                <c:pt idx="1361">
                  <c:v>43545</c:v>
                </c:pt>
                <c:pt idx="1362">
                  <c:v>43546</c:v>
                </c:pt>
                <c:pt idx="1363">
                  <c:v>43549</c:v>
                </c:pt>
                <c:pt idx="1364">
                  <c:v>43550</c:v>
                </c:pt>
                <c:pt idx="1365">
                  <c:v>43551</c:v>
                </c:pt>
                <c:pt idx="1366">
                  <c:v>43552</c:v>
                </c:pt>
                <c:pt idx="1367">
                  <c:v>43553</c:v>
                </c:pt>
                <c:pt idx="1368">
                  <c:v>43556</c:v>
                </c:pt>
                <c:pt idx="1369">
                  <c:v>43557</c:v>
                </c:pt>
                <c:pt idx="1370">
                  <c:v>43558</c:v>
                </c:pt>
                <c:pt idx="1371">
                  <c:v>43559</c:v>
                </c:pt>
                <c:pt idx="1372">
                  <c:v>43560</c:v>
                </c:pt>
                <c:pt idx="1373">
                  <c:v>43563</c:v>
                </c:pt>
                <c:pt idx="1374">
                  <c:v>43564</c:v>
                </c:pt>
                <c:pt idx="1375">
                  <c:v>43565</c:v>
                </c:pt>
                <c:pt idx="1376">
                  <c:v>43566</c:v>
                </c:pt>
                <c:pt idx="1377">
                  <c:v>43567</c:v>
                </c:pt>
                <c:pt idx="1378">
                  <c:v>43570</c:v>
                </c:pt>
                <c:pt idx="1379">
                  <c:v>43571</c:v>
                </c:pt>
                <c:pt idx="1380">
                  <c:v>43572</c:v>
                </c:pt>
                <c:pt idx="1381">
                  <c:v>43573</c:v>
                </c:pt>
                <c:pt idx="1382">
                  <c:v>43574</c:v>
                </c:pt>
                <c:pt idx="1383">
                  <c:v>43577</c:v>
                </c:pt>
                <c:pt idx="1384">
                  <c:v>43578</c:v>
                </c:pt>
                <c:pt idx="1385">
                  <c:v>43579</c:v>
                </c:pt>
                <c:pt idx="1386">
                  <c:v>43580</c:v>
                </c:pt>
                <c:pt idx="1387">
                  <c:v>43581</c:v>
                </c:pt>
                <c:pt idx="1388">
                  <c:v>43584</c:v>
                </c:pt>
                <c:pt idx="1389">
                  <c:v>43585</c:v>
                </c:pt>
                <c:pt idx="1390">
                  <c:v>43586</c:v>
                </c:pt>
                <c:pt idx="1391">
                  <c:v>43587</c:v>
                </c:pt>
                <c:pt idx="1392">
                  <c:v>43588</c:v>
                </c:pt>
                <c:pt idx="1393">
                  <c:v>43591</c:v>
                </c:pt>
                <c:pt idx="1394">
                  <c:v>43592</c:v>
                </c:pt>
                <c:pt idx="1395">
                  <c:v>43593</c:v>
                </c:pt>
                <c:pt idx="1396">
                  <c:v>43594</c:v>
                </c:pt>
                <c:pt idx="1397">
                  <c:v>43595</c:v>
                </c:pt>
                <c:pt idx="1398">
                  <c:v>43598</c:v>
                </c:pt>
                <c:pt idx="1399">
                  <c:v>43599</c:v>
                </c:pt>
                <c:pt idx="1400">
                  <c:v>43600</c:v>
                </c:pt>
                <c:pt idx="1401">
                  <c:v>43601</c:v>
                </c:pt>
                <c:pt idx="1402">
                  <c:v>43602</c:v>
                </c:pt>
                <c:pt idx="1403">
                  <c:v>43605</c:v>
                </c:pt>
                <c:pt idx="1404">
                  <c:v>43606</c:v>
                </c:pt>
                <c:pt idx="1405">
                  <c:v>43607</c:v>
                </c:pt>
                <c:pt idx="1406">
                  <c:v>43608</c:v>
                </c:pt>
                <c:pt idx="1407">
                  <c:v>43609</c:v>
                </c:pt>
                <c:pt idx="1408">
                  <c:v>43612</c:v>
                </c:pt>
                <c:pt idx="1409">
                  <c:v>43613</c:v>
                </c:pt>
                <c:pt idx="1410">
                  <c:v>43614</c:v>
                </c:pt>
                <c:pt idx="1411">
                  <c:v>43615</c:v>
                </c:pt>
                <c:pt idx="1412">
                  <c:v>43616</c:v>
                </c:pt>
                <c:pt idx="1413">
                  <c:v>43619</c:v>
                </c:pt>
                <c:pt idx="1414">
                  <c:v>43620</c:v>
                </c:pt>
                <c:pt idx="1415">
                  <c:v>43621</c:v>
                </c:pt>
                <c:pt idx="1416">
                  <c:v>43622</c:v>
                </c:pt>
                <c:pt idx="1417">
                  <c:v>43623</c:v>
                </c:pt>
                <c:pt idx="1418">
                  <c:v>43626</c:v>
                </c:pt>
                <c:pt idx="1419">
                  <c:v>43627</c:v>
                </c:pt>
                <c:pt idx="1420">
                  <c:v>43628</c:v>
                </c:pt>
                <c:pt idx="1421">
                  <c:v>43629</c:v>
                </c:pt>
                <c:pt idx="1422">
                  <c:v>43630</c:v>
                </c:pt>
                <c:pt idx="1423">
                  <c:v>43633</c:v>
                </c:pt>
                <c:pt idx="1424">
                  <c:v>43634</c:v>
                </c:pt>
                <c:pt idx="1425">
                  <c:v>43635</c:v>
                </c:pt>
                <c:pt idx="1426">
                  <c:v>43636</c:v>
                </c:pt>
                <c:pt idx="1427">
                  <c:v>43637</c:v>
                </c:pt>
                <c:pt idx="1428">
                  <c:v>43640</c:v>
                </c:pt>
                <c:pt idx="1429">
                  <c:v>43641</c:v>
                </c:pt>
                <c:pt idx="1430">
                  <c:v>43642</c:v>
                </c:pt>
                <c:pt idx="1431">
                  <c:v>43643</c:v>
                </c:pt>
                <c:pt idx="1432">
                  <c:v>43644</c:v>
                </c:pt>
                <c:pt idx="1433">
                  <c:v>43645</c:v>
                </c:pt>
                <c:pt idx="1434">
                  <c:v>43646</c:v>
                </c:pt>
                <c:pt idx="1435">
                  <c:v>43647</c:v>
                </c:pt>
                <c:pt idx="1436">
                  <c:v>43648</c:v>
                </c:pt>
                <c:pt idx="1437">
                  <c:v>43649</c:v>
                </c:pt>
                <c:pt idx="1438">
                  <c:v>43650</c:v>
                </c:pt>
                <c:pt idx="1439">
                  <c:v>43651</c:v>
                </c:pt>
                <c:pt idx="1440">
                  <c:v>43652</c:v>
                </c:pt>
                <c:pt idx="1441">
                  <c:v>43653</c:v>
                </c:pt>
                <c:pt idx="1442">
                  <c:v>43654</c:v>
                </c:pt>
                <c:pt idx="1443">
                  <c:v>43655</c:v>
                </c:pt>
                <c:pt idx="1444">
                  <c:v>43656</c:v>
                </c:pt>
                <c:pt idx="1445">
                  <c:v>43657</c:v>
                </c:pt>
                <c:pt idx="1446">
                  <c:v>43658</c:v>
                </c:pt>
                <c:pt idx="1447">
                  <c:v>43659</c:v>
                </c:pt>
                <c:pt idx="1448">
                  <c:v>43660</c:v>
                </c:pt>
                <c:pt idx="1449">
                  <c:v>43661</c:v>
                </c:pt>
                <c:pt idx="1450">
                  <c:v>43662</c:v>
                </c:pt>
                <c:pt idx="1451">
                  <c:v>43663</c:v>
                </c:pt>
                <c:pt idx="1452">
                  <c:v>43664</c:v>
                </c:pt>
                <c:pt idx="1453">
                  <c:v>43665</c:v>
                </c:pt>
                <c:pt idx="1454">
                  <c:v>43666</c:v>
                </c:pt>
                <c:pt idx="1455">
                  <c:v>43667</c:v>
                </c:pt>
                <c:pt idx="1456">
                  <c:v>43668</c:v>
                </c:pt>
                <c:pt idx="1457">
                  <c:v>43669</c:v>
                </c:pt>
                <c:pt idx="1458">
                  <c:v>43670</c:v>
                </c:pt>
                <c:pt idx="1459">
                  <c:v>43671</c:v>
                </c:pt>
                <c:pt idx="1460">
                  <c:v>43672</c:v>
                </c:pt>
                <c:pt idx="1461">
                  <c:v>43673</c:v>
                </c:pt>
                <c:pt idx="1462">
                  <c:v>43674</c:v>
                </c:pt>
                <c:pt idx="1463">
                  <c:v>43675</c:v>
                </c:pt>
                <c:pt idx="1464">
                  <c:v>43676</c:v>
                </c:pt>
                <c:pt idx="1465">
                  <c:v>43677</c:v>
                </c:pt>
                <c:pt idx="1466">
                  <c:v>43678</c:v>
                </c:pt>
                <c:pt idx="1467">
                  <c:v>43679</c:v>
                </c:pt>
                <c:pt idx="1468">
                  <c:v>43680</c:v>
                </c:pt>
                <c:pt idx="1469">
                  <c:v>43681</c:v>
                </c:pt>
                <c:pt idx="1470">
                  <c:v>43682</c:v>
                </c:pt>
                <c:pt idx="1471">
                  <c:v>43683</c:v>
                </c:pt>
                <c:pt idx="1472">
                  <c:v>43684</c:v>
                </c:pt>
                <c:pt idx="1473">
                  <c:v>43685</c:v>
                </c:pt>
                <c:pt idx="1474">
                  <c:v>43686</c:v>
                </c:pt>
                <c:pt idx="1475">
                  <c:v>43687</c:v>
                </c:pt>
                <c:pt idx="1476">
                  <c:v>43688</c:v>
                </c:pt>
                <c:pt idx="1477">
                  <c:v>43689</c:v>
                </c:pt>
                <c:pt idx="1478">
                  <c:v>43690</c:v>
                </c:pt>
                <c:pt idx="1479">
                  <c:v>43691</c:v>
                </c:pt>
                <c:pt idx="1480">
                  <c:v>43692</c:v>
                </c:pt>
                <c:pt idx="1481">
                  <c:v>43693</c:v>
                </c:pt>
                <c:pt idx="1482">
                  <c:v>43694</c:v>
                </c:pt>
                <c:pt idx="1483">
                  <c:v>43695</c:v>
                </c:pt>
                <c:pt idx="1484">
                  <c:v>43696</c:v>
                </c:pt>
                <c:pt idx="1485">
                  <c:v>43697</c:v>
                </c:pt>
                <c:pt idx="1486">
                  <c:v>43698</c:v>
                </c:pt>
                <c:pt idx="1487">
                  <c:v>43699</c:v>
                </c:pt>
                <c:pt idx="1488">
                  <c:v>43700</c:v>
                </c:pt>
                <c:pt idx="1489">
                  <c:v>43701</c:v>
                </c:pt>
                <c:pt idx="1490">
                  <c:v>43702</c:v>
                </c:pt>
                <c:pt idx="1491">
                  <c:v>43703</c:v>
                </c:pt>
                <c:pt idx="1492">
                  <c:v>43704</c:v>
                </c:pt>
                <c:pt idx="1493">
                  <c:v>43705</c:v>
                </c:pt>
                <c:pt idx="1494">
                  <c:v>43706</c:v>
                </c:pt>
                <c:pt idx="1495">
                  <c:v>43707</c:v>
                </c:pt>
                <c:pt idx="1496">
                  <c:v>43708</c:v>
                </c:pt>
                <c:pt idx="1497">
                  <c:v>43709</c:v>
                </c:pt>
                <c:pt idx="1498">
                  <c:v>43710</c:v>
                </c:pt>
                <c:pt idx="1499">
                  <c:v>43711</c:v>
                </c:pt>
                <c:pt idx="1500">
                  <c:v>43712</c:v>
                </c:pt>
                <c:pt idx="1501">
                  <c:v>43713</c:v>
                </c:pt>
                <c:pt idx="1502">
                  <c:v>43714</c:v>
                </c:pt>
                <c:pt idx="1503">
                  <c:v>43715</c:v>
                </c:pt>
                <c:pt idx="1504">
                  <c:v>43716</c:v>
                </c:pt>
                <c:pt idx="1505">
                  <c:v>43717</c:v>
                </c:pt>
                <c:pt idx="1506">
                  <c:v>43718</c:v>
                </c:pt>
                <c:pt idx="1507">
                  <c:v>43719</c:v>
                </c:pt>
                <c:pt idx="1508">
                  <c:v>43720</c:v>
                </c:pt>
                <c:pt idx="1509">
                  <c:v>43721</c:v>
                </c:pt>
                <c:pt idx="1510">
                  <c:v>43722</c:v>
                </c:pt>
                <c:pt idx="1511">
                  <c:v>43723</c:v>
                </c:pt>
                <c:pt idx="1512">
                  <c:v>43724</c:v>
                </c:pt>
                <c:pt idx="1513">
                  <c:v>43725</c:v>
                </c:pt>
                <c:pt idx="1514">
                  <c:v>43726</c:v>
                </c:pt>
                <c:pt idx="1515">
                  <c:v>43727</c:v>
                </c:pt>
                <c:pt idx="1516">
                  <c:v>43728</c:v>
                </c:pt>
                <c:pt idx="1517">
                  <c:v>43729</c:v>
                </c:pt>
                <c:pt idx="1518">
                  <c:v>43730</c:v>
                </c:pt>
                <c:pt idx="1519">
                  <c:v>43731</c:v>
                </c:pt>
                <c:pt idx="1520">
                  <c:v>43732</c:v>
                </c:pt>
                <c:pt idx="1521">
                  <c:v>43733</c:v>
                </c:pt>
                <c:pt idx="1522">
                  <c:v>43734</c:v>
                </c:pt>
                <c:pt idx="1523">
                  <c:v>43735</c:v>
                </c:pt>
                <c:pt idx="1524">
                  <c:v>43736</c:v>
                </c:pt>
                <c:pt idx="1525">
                  <c:v>43737</c:v>
                </c:pt>
                <c:pt idx="1526">
                  <c:v>43738</c:v>
                </c:pt>
                <c:pt idx="1527">
                  <c:v>43739</c:v>
                </c:pt>
                <c:pt idx="1528">
                  <c:v>43740</c:v>
                </c:pt>
                <c:pt idx="1529">
                  <c:v>43741</c:v>
                </c:pt>
                <c:pt idx="1530">
                  <c:v>43742</c:v>
                </c:pt>
                <c:pt idx="1531">
                  <c:v>43743</c:v>
                </c:pt>
                <c:pt idx="1532">
                  <c:v>43744</c:v>
                </c:pt>
                <c:pt idx="1533">
                  <c:v>43745</c:v>
                </c:pt>
                <c:pt idx="1534">
                  <c:v>43746</c:v>
                </c:pt>
                <c:pt idx="1535">
                  <c:v>43747</c:v>
                </c:pt>
                <c:pt idx="1536">
                  <c:v>43748</c:v>
                </c:pt>
                <c:pt idx="1537">
                  <c:v>43749</c:v>
                </c:pt>
                <c:pt idx="1538">
                  <c:v>43750</c:v>
                </c:pt>
                <c:pt idx="1539">
                  <c:v>43751</c:v>
                </c:pt>
                <c:pt idx="1540">
                  <c:v>43752</c:v>
                </c:pt>
                <c:pt idx="1541">
                  <c:v>43753</c:v>
                </c:pt>
                <c:pt idx="1542">
                  <c:v>43754</c:v>
                </c:pt>
                <c:pt idx="1543">
                  <c:v>43755</c:v>
                </c:pt>
                <c:pt idx="1544">
                  <c:v>43756</c:v>
                </c:pt>
                <c:pt idx="1545">
                  <c:v>43757</c:v>
                </c:pt>
                <c:pt idx="1546">
                  <c:v>43758</c:v>
                </c:pt>
                <c:pt idx="1547">
                  <c:v>43759</c:v>
                </c:pt>
                <c:pt idx="1548">
                  <c:v>43760</c:v>
                </c:pt>
                <c:pt idx="1549">
                  <c:v>43761</c:v>
                </c:pt>
                <c:pt idx="1550">
                  <c:v>43762</c:v>
                </c:pt>
                <c:pt idx="1551">
                  <c:v>43763</c:v>
                </c:pt>
                <c:pt idx="1552">
                  <c:v>43764</c:v>
                </c:pt>
                <c:pt idx="1553">
                  <c:v>43765</c:v>
                </c:pt>
                <c:pt idx="1554">
                  <c:v>43766</c:v>
                </c:pt>
                <c:pt idx="1555">
                  <c:v>43767</c:v>
                </c:pt>
                <c:pt idx="1556">
                  <c:v>43768</c:v>
                </c:pt>
                <c:pt idx="1557">
                  <c:v>43769</c:v>
                </c:pt>
                <c:pt idx="1558">
                  <c:v>43770</c:v>
                </c:pt>
                <c:pt idx="1559">
                  <c:v>43771</c:v>
                </c:pt>
                <c:pt idx="1560">
                  <c:v>43772</c:v>
                </c:pt>
                <c:pt idx="1561">
                  <c:v>43773</c:v>
                </c:pt>
                <c:pt idx="1562">
                  <c:v>43774</c:v>
                </c:pt>
                <c:pt idx="1563">
                  <c:v>43775</c:v>
                </c:pt>
                <c:pt idx="1564">
                  <c:v>43776</c:v>
                </c:pt>
                <c:pt idx="1565">
                  <c:v>43777</c:v>
                </c:pt>
                <c:pt idx="1566">
                  <c:v>43778</c:v>
                </c:pt>
                <c:pt idx="1567">
                  <c:v>43779</c:v>
                </c:pt>
                <c:pt idx="1568">
                  <c:v>43780</c:v>
                </c:pt>
                <c:pt idx="1569">
                  <c:v>43781</c:v>
                </c:pt>
                <c:pt idx="1570">
                  <c:v>43782</c:v>
                </c:pt>
                <c:pt idx="1571">
                  <c:v>43783</c:v>
                </c:pt>
                <c:pt idx="1572">
                  <c:v>43784</c:v>
                </c:pt>
                <c:pt idx="1573">
                  <c:v>43785</c:v>
                </c:pt>
                <c:pt idx="1574">
                  <c:v>43786</c:v>
                </c:pt>
                <c:pt idx="1575">
                  <c:v>43787</c:v>
                </c:pt>
                <c:pt idx="1576">
                  <c:v>43788</c:v>
                </c:pt>
                <c:pt idx="1577">
                  <c:v>43789</c:v>
                </c:pt>
                <c:pt idx="1578">
                  <c:v>43790</c:v>
                </c:pt>
                <c:pt idx="1579">
                  <c:v>43791</c:v>
                </c:pt>
                <c:pt idx="1580">
                  <c:v>43792</c:v>
                </c:pt>
                <c:pt idx="1581">
                  <c:v>43793</c:v>
                </c:pt>
                <c:pt idx="1582">
                  <c:v>43794</c:v>
                </c:pt>
                <c:pt idx="1583">
                  <c:v>43795</c:v>
                </c:pt>
                <c:pt idx="1584">
                  <c:v>43796</c:v>
                </c:pt>
                <c:pt idx="1585">
                  <c:v>43797</c:v>
                </c:pt>
                <c:pt idx="1586">
                  <c:v>43798</c:v>
                </c:pt>
                <c:pt idx="1587">
                  <c:v>43799</c:v>
                </c:pt>
                <c:pt idx="1588">
                  <c:v>43800</c:v>
                </c:pt>
                <c:pt idx="1589">
                  <c:v>43801</c:v>
                </c:pt>
                <c:pt idx="1590">
                  <c:v>43802</c:v>
                </c:pt>
                <c:pt idx="1591">
                  <c:v>43803</c:v>
                </c:pt>
                <c:pt idx="1592">
                  <c:v>43804</c:v>
                </c:pt>
                <c:pt idx="1593">
                  <c:v>43805</c:v>
                </c:pt>
                <c:pt idx="1594">
                  <c:v>43806</c:v>
                </c:pt>
                <c:pt idx="1595">
                  <c:v>43807</c:v>
                </c:pt>
                <c:pt idx="1596">
                  <c:v>43808</c:v>
                </c:pt>
                <c:pt idx="1597">
                  <c:v>43809</c:v>
                </c:pt>
                <c:pt idx="1598">
                  <c:v>43810</c:v>
                </c:pt>
                <c:pt idx="1599">
                  <c:v>43811</c:v>
                </c:pt>
                <c:pt idx="1600">
                  <c:v>43812</c:v>
                </c:pt>
                <c:pt idx="1601">
                  <c:v>43813</c:v>
                </c:pt>
                <c:pt idx="1602">
                  <c:v>43814</c:v>
                </c:pt>
                <c:pt idx="1603">
                  <c:v>43815</c:v>
                </c:pt>
                <c:pt idx="1604">
                  <c:v>43816</c:v>
                </c:pt>
                <c:pt idx="1605">
                  <c:v>43817</c:v>
                </c:pt>
                <c:pt idx="1606">
                  <c:v>43818</c:v>
                </c:pt>
                <c:pt idx="1607">
                  <c:v>43819</c:v>
                </c:pt>
                <c:pt idx="1608">
                  <c:v>43820</c:v>
                </c:pt>
                <c:pt idx="1609">
                  <c:v>43821</c:v>
                </c:pt>
                <c:pt idx="1610">
                  <c:v>43822</c:v>
                </c:pt>
                <c:pt idx="1611">
                  <c:v>43823</c:v>
                </c:pt>
                <c:pt idx="1612">
                  <c:v>43824</c:v>
                </c:pt>
                <c:pt idx="1613">
                  <c:v>43825</c:v>
                </c:pt>
                <c:pt idx="1614">
                  <c:v>43826</c:v>
                </c:pt>
                <c:pt idx="1615">
                  <c:v>43827</c:v>
                </c:pt>
                <c:pt idx="1616">
                  <c:v>43828</c:v>
                </c:pt>
                <c:pt idx="1617">
                  <c:v>43829</c:v>
                </c:pt>
                <c:pt idx="1618">
                  <c:v>43830</c:v>
                </c:pt>
              </c:numCache>
            </c:numRef>
          </c:cat>
          <c:val>
            <c:numRef>
              <c:f>Sheet1!$F$7:$F$1625</c:f>
              <c:numCache>
                <c:formatCode>General</c:formatCode>
                <c:ptCount val="1619"/>
                <c:pt idx="1430" formatCode="_-* #,##0_-;\-* #,##0_-;_-* &quot;-&quot;??_-;_-@_-">
                  <c:v>100404.38</c:v>
                </c:pt>
                <c:pt idx="1431" formatCode="_-* #,##0_-;\-* #,##0_-;_-* &quot;-&quot;??_-;_-@_-">
                  <c:v>100349.60401527552</c:v>
                </c:pt>
                <c:pt idx="1432" formatCode="_-* #,##0_-;\-* #,##0_-;_-* &quot;-&quot;??_-;_-@_-">
                  <c:v>100294.82803055103</c:v>
                </c:pt>
                <c:pt idx="1433" formatCode="_-* #,##0_-;\-* #,##0_-;_-* &quot;-&quot;??_-;_-@_-">
                  <c:v>100240.05204582654</c:v>
                </c:pt>
                <c:pt idx="1434" formatCode="_-* #,##0_-;\-* #,##0_-;_-* &quot;-&quot;??_-;_-@_-">
                  <c:v>100185.27606110205</c:v>
                </c:pt>
                <c:pt idx="1435" formatCode="_-* #,##0_-;\-* #,##0_-;_-* &quot;-&quot;??_-;_-@_-">
                  <c:v>100130.50007637756</c:v>
                </c:pt>
                <c:pt idx="1436" formatCode="_-* #,##0_-;\-* #,##0_-;_-* &quot;-&quot;??_-;_-@_-">
                  <c:v>100075.72409165307</c:v>
                </c:pt>
                <c:pt idx="1437" formatCode="_-* #,##0_-;\-* #,##0_-;_-* &quot;-&quot;??_-;_-@_-">
                  <c:v>100020.94810692858</c:v>
                </c:pt>
                <c:pt idx="1438" formatCode="_-* #,##0_-;\-* #,##0_-;_-* &quot;-&quot;??_-;_-@_-">
                  <c:v>99966.172122204094</c:v>
                </c:pt>
                <c:pt idx="1439" formatCode="_-* #,##0_-;\-* #,##0_-;_-* &quot;-&quot;??_-;_-@_-">
                  <c:v>99911.396137479605</c:v>
                </c:pt>
                <c:pt idx="1440" formatCode="_-* #,##0_-;\-* #,##0_-;_-* &quot;-&quot;??_-;_-@_-">
                  <c:v>99856.620152755117</c:v>
                </c:pt>
                <c:pt idx="1441" formatCode="_-* #,##0_-;\-* #,##0_-;_-* &quot;-&quot;??_-;_-@_-">
                  <c:v>99801.844168030628</c:v>
                </c:pt>
                <c:pt idx="1442" formatCode="_-* #,##0_-;\-* #,##0_-;_-* &quot;-&quot;??_-;_-@_-">
                  <c:v>99747.068183306139</c:v>
                </c:pt>
                <c:pt idx="1443" formatCode="_-* #,##0_-;\-* #,##0_-;_-* &quot;-&quot;??_-;_-@_-">
                  <c:v>99692.29219858165</c:v>
                </c:pt>
                <c:pt idx="1444" formatCode="_-* #,##0_-;\-* #,##0_-;_-* &quot;-&quot;??_-;_-@_-">
                  <c:v>99637.516213857161</c:v>
                </c:pt>
                <c:pt idx="1445" formatCode="_-* #,##0_-;\-* #,##0_-;_-* &quot;-&quot;??_-;_-@_-">
                  <c:v>99582.740229132673</c:v>
                </c:pt>
                <c:pt idx="1446" formatCode="_-* #,##0_-;\-* #,##0_-;_-* &quot;-&quot;??_-;_-@_-">
                  <c:v>99527.964244408184</c:v>
                </c:pt>
                <c:pt idx="1447" formatCode="_-* #,##0_-;\-* #,##0_-;_-* &quot;-&quot;??_-;_-@_-">
                  <c:v>99473.188259683695</c:v>
                </c:pt>
                <c:pt idx="1448" formatCode="_-* #,##0_-;\-* #,##0_-;_-* &quot;-&quot;??_-;_-@_-">
                  <c:v>99418.412274959206</c:v>
                </c:pt>
                <c:pt idx="1449" formatCode="_-* #,##0_-;\-* #,##0_-;_-* &quot;-&quot;??_-;_-@_-">
                  <c:v>99363.636290234717</c:v>
                </c:pt>
                <c:pt idx="1450" formatCode="_-* #,##0_-;\-* #,##0_-;_-* &quot;-&quot;??_-;_-@_-">
                  <c:v>99308.860305510228</c:v>
                </c:pt>
                <c:pt idx="1451" formatCode="_-* #,##0_-;\-* #,##0_-;_-* &quot;-&quot;??_-;_-@_-">
                  <c:v>99254.08432078574</c:v>
                </c:pt>
                <c:pt idx="1452" formatCode="_-* #,##0_-;\-* #,##0_-;_-* &quot;-&quot;??_-;_-@_-">
                  <c:v>99199.308336061251</c:v>
                </c:pt>
                <c:pt idx="1453" formatCode="_-* #,##0_-;\-* #,##0_-;_-* &quot;-&quot;??_-;_-@_-">
                  <c:v>99144.532351336762</c:v>
                </c:pt>
                <c:pt idx="1454" formatCode="_-* #,##0_-;\-* #,##0_-;_-* &quot;-&quot;??_-;_-@_-">
                  <c:v>99089.756366612273</c:v>
                </c:pt>
                <c:pt idx="1455" formatCode="_-* #,##0_-;\-* #,##0_-;_-* &quot;-&quot;??_-;_-@_-">
                  <c:v>99034.980381887784</c:v>
                </c:pt>
                <c:pt idx="1456" formatCode="_-* #,##0_-;\-* #,##0_-;_-* &quot;-&quot;??_-;_-@_-">
                  <c:v>98980.204397163296</c:v>
                </c:pt>
                <c:pt idx="1457" formatCode="_-* #,##0_-;\-* #,##0_-;_-* &quot;-&quot;??_-;_-@_-">
                  <c:v>98925.428412438807</c:v>
                </c:pt>
                <c:pt idx="1458" formatCode="_-* #,##0_-;\-* #,##0_-;_-* &quot;-&quot;??_-;_-@_-">
                  <c:v>98870.652427714318</c:v>
                </c:pt>
                <c:pt idx="1459" formatCode="_-* #,##0_-;\-* #,##0_-;_-* &quot;-&quot;??_-;_-@_-">
                  <c:v>98815.876442989829</c:v>
                </c:pt>
                <c:pt idx="1460" formatCode="_-* #,##0_-;\-* #,##0_-;_-* &quot;-&quot;??_-;_-@_-">
                  <c:v>98761.10045826534</c:v>
                </c:pt>
                <c:pt idx="1461" formatCode="_-* #,##0_-;\-* #,##0_-;_-* &quot;-&quot;??_-;_-@_-">
                  <c:v>98706.324473540852</c:v>
                </c:pt>
                <c:pt idx="1462" formatCode="_-* #,##0_-;\-* #,##0_-;_-* &quot;-&quot;??_-;_-@_-">
                  <c:v>98651.548488816363</c:v>
                </c:pt>
                <c:pt idx="1463" formatCode="_-* #,##0_-;\-* #,##0_-;_-* &quot;-&quot;??_-;_-@_-">
                  <c:v>98596.772504091874</c:v>
                </c:pt>
                <c:pt idx="1464" formatCode="_-* #,##0_-;\-* #,##0_-;_-* &quot;-&quot;??_-;_-@_-">
                  <c:v>98541.996519367385</c:v>
                </c:pt>
                <c:pt idx="1465" formatCode="_-* #,##0_-;\-* #,##0_-;_-* &quot;-&quot;??_-;_-@_-">
                  <c:v>98487.220534642896</c:v>
                </c:pt>
                <c:pt idx="1466" formatCode="_-* #,##0_-;\-* #,##0_-;_-* &quot;-&quot;??_-;_-@_-">
                  <c:v>98432.444549918408</c:v>
                </c:pt>
                <c:pt idx="1467" formatCode="_-* #,##0_-;\-* #,##0_-;_-* &quot;-&quot;??_-;_-@_-">
                  <c:v>98377.668565193919</c:v>
                </c:pt>
                <c:pt idx="1468" formatCode="_-* #,##0_-;\-* #,##0_-;_-* &quot;-&quot;??_-;_-@_-">
                  <c:v>98322.89258046943</c:v>
                </c:pt>
                <c:pt idx="1469" formatCode="_-* #,##0_-;\-* #,##0_-;_-* &quot;-&quot;??_-;_-@_-">
                  <c:v>98268.116595744941</c:v>
                </c:pt>
                <c:pt idx="1470" formatCode="_-* #,##0_-;\-* #,##0_-;_-* &quot;-&quot;??_-;_-@_-">
                  <c:v>98213.340611020452</c:v>
                </c:pt>
                <c:pt idx="1471" formatCode="_-* #,##0_-;\-* #,##0_-;_-* &quot;-&quot;??_-;_-@_-">
                  <c:v>98158.564626295964</c:v>
                </c:pt>
                <c:pt idx="1472" formatCode="_-* #,##0_-;\-* #,##0_-;_-* &quot;-&quot;??_-;_-@_-">
                  <c:v>98103.788641571475</c:v>
                </c:pt>
                <c:pt idx="1473" formatCode="_-* #,##0_-;\-* #,##0_-;_-* &quot;-&quot;??_-;_-@_-">
                  <c:v>98049.012656846986</c:v>
                </c:pt>
                <c:pt idx="1474" formatCode="_-* #,##0_-;\-* #,##0_-;_-* &quot;-&quot;??_-;_-@_-">
                  <c:v>97994.236672122497</c:v>
                </c:pt>
                <c:pt idx="1475" formatCode="_-* #,##0_-;\-* #,##0_-;_-* &quot;-&quot;??_-;_-@_-">
                  <c:v>97939.460687398008</c:v>
                </c:pt>
                <c:pt idx="1476" formatCode="_-* #,##0_-;\-* #,##0_-;_-* &quot;-&quot;??_-;_-@_-">
                  <c:v>97884.684702673519</c:v>
                </c:pt>
                <c:pt idx="1477" formatCode="_-* #,##0_-;\-* #,##0_-;_-* &quot;-&quot;??_-;_-@_-">
                  <c:v>97829.908717949031</c:v>
                </c:pt>
                <c:pt idx="1478" formatCode="_-* #,##0_-;\-* #,##0_-;_-* &quot;-&quot;??_-;_-@_-">
                  <c:v>97775.132733224542</c:v>
                </c:pt>
                <c:pt idx="1479" formatCode="_-* #,##0_-;\-* #,##0_-;_-* &quot;-&quot;??_-;_-@_-">
                  <c:v>97720.356748500053</c:v>
                </c:pt>
                <c:pt idx="1480" formatCode="_-* #,##0_-;\-* #,##0_-;_-* &quot;-&quot;??_-;_-@_-">
                  <c:v>97665.580763775564</c:v>
                </c:pt>
                <c:pt idx="1481" formatCode="_-* #,##0_-;\-* #,##0_-;_-* &quot;-&quot;??_-;_-@_-">
                  <c:v>97610.804779051075</c:v>
                </c:pt>
                <c:pt idx="1482" formatCode="_-* #,##0_-;\-* #,##0_-;_-* &quot;-&quot;??_-;_-@_-">
                  <c:v>97556.028794326587</c:v>
                </c:pt>
                <c:pt idx="1483" formatCode="_-* #,##0_-;\-* #,##0_-;_-* &quot;-&quot;??_-;_-@_-">
                  <c:v>97501.252809602098</c:v>
                </c:pt>
                <c:pt idx="1484" formatCode="_-* #,##0_-;\-* #,##0_-;_-* &quot;-&quot;??_-;_-@_-">
                  <c:v>97446.476824877609</c:v>
                </c:pt>
                <c:pt idx="1485" formatCode="_-* #,##0_-;\-* #,##0_-;_-* &quot;-&quot;??_-;_-@_-">
                  <c:v>97391.70084015312</c:v>
                </c:pt>
                <c:pt idx="1486" formatCode="_-* #,##0_-;\-* #,##0_-;_-* &quot;-&quot;??_-;_-@_-">
                  <c:v>97336.924855428631</c:v>
                </c:pt>
                <c:pt idx="1487" formatCode="_-* #,##0_-;\-* #,##0_-;_-* &quot;-&quot;??_-;_-@_-">
                  <c:v>97282.148870704143</c:v>
                </c:pt>
                <c:pt idx="1488" formatCode="_-* #,##0_-;\-* #,##0_-;_-* &quot;-&quot;??_-;_-@_-">
                  <c:v>97227.372885979654</c:v>
                </c:pt>
                <c:pt idx="1489" formatCode="_-* #,##0_-;\-* #,##0_-;_-* &quot;-&quot;??_-;_-@_-">
                  <c:v>97172.596901255165</c:v>
                </c:pt>
                <c:pt idx="1490" formatCode="_-* #,##0_-;\-* #,##0_-;_-* &quot;-&quot;??_-;_-@_-">
                  <c:v>97117.820916530676</c:v>
                </c:pt>
                <c:pt idx="1491" formatCode="_-* #,##0_-;\-* #,##0_-;_-* &quot;-&quot;??_-;_-@_-">
                  <c:v>97063.044931806187</c:v>
                </c:pt>
                <c:pt idx="1492" formatCode="_-* #,##0_-;\-* #,##0_-;_-* &quot;-&quot;??_-;_-@_-">
                  <c:v>97008.268947081699</c:v>
                </c:pt>
                <c:pt idx="1493" formatCode="_-* #,##0_-;\-* #,##0_-;_-* &quot;-&quot;??_-;_-@_-">
                  <c:v>96953.49296235721</c:v>
                </c:pt>
                <c:pt idx="1494" formatCode="_-* #,##0_-;\-* #,##0_-;_-* &quot;-&quot;??_-;_-@_-">
                  <c:v>96898.716977632721</c:v>
                </c:pt>
                <c:pt idx="1495" formatCode="_-* #,##0_-;\-* #,##0_-;_-* &quot;-&quot;??_-;_-@_-">
                  <c:v>96843.940992908232</c:v>
                </c:pt>
                <c:pt idx="1496" formatCode="_-* #,##0_-;\-* #,##0_-;_-* &quot;-&quot;??_-;_-@_-">
                  <c:v>96789.165008183743</c:v>
                </c:pt>
                <c:pt idx="1497" formatCode="_-* #,##0_-;\-* #,##0_-;_-* &quot;-&quot;??_-;_-@_-">
                  <c:v>96734.389023459255</c:v>
                </c:pt>
                <c:pt idx="1498" formatCode="_-* #,##0_-;\-* #,##0_-;_-* &quot;-&quot;??_-;_-@_-">
                  <c:v>96679.613038734766</c:v>
                </c:pt>
                <c:pt idx="1499" formatCode="_-* #,##0_-;\-* #,##0_-;_-* &quot;-&quot;??_-;_-@_-">
                  <c:v>96624.837054010277</c:v>
                </c:pt>
                <c:pt idx="1500" formatCode="_-* #,##0_-;\-* #,##0_-;_-* &quot;-&quot;??_-;_-@_-">
                  <c:v>96570.061069285788</c:v>
                </c:pt>
                <c:pt idx="1501" formatCode="_-* #,##0_-;\-* #,##0_-;_-* &quot;-&quot;??_-;_-@_-">
                  <c:v>96515.285084561299</c:v>
                </c:pt>
                <c:pt idx="1502" formatCode="_-* #,##0_-;\-* #,##0_-;_-* &quot;-&quot;??_-;_-@_-">
                  <c:v>96460.50909983681</c:v>
                </c:pt>
                <c:pt idx="1503" formatCode="_-* #,##0_-;\-* #,##0_-;_-* &quot;-&quot;??_-;_-@_-">
                  <c:v>96405.733115112322</c:v>
                </c:pt>
                <c:pt idx="1504" formatCode="_-* #,##0_-;\-* #,##0_-;_-* &quot;-&quot;??_-;_-@_-">
                  <c:v>96350.957130387833</c:v>
                </c:pt>
                <c:pt idx="1505" formatCode="_-* #,##0_-;\-* #,##0_-;_-* &quot;-&quot;??_-;_-@_-">
                  <c:v>96296.181145663344</c:v>
                </c:pt>
                <c:pt idx="1506" formatCode="_-* #,##0_-;\-* #,##0_-;_-* &quot;-&quot;??_-;_-@_-">
                  <c:v>96241.405160938855</c:v>
                </c:pt>
                <c:pt idx="1507" formatCode="_-* #,##0_-;\-* #,##0_-;_-* &quot;-&quot;??_-;_-@_-">
                  <c:v>96186.629176214366</c:v>
                </c:pt>
                <c:pt idx="1508" formatCode="_-* #,##0_-;\-* #,##0_-;_-* &quot;-&quot;??_-;_-@_-">
                  <c:v>96131.853191489878</c:v>
                </c:pt>
                <c:pt idx="1509" formatCode="_-* #,##0_-;\-* #,##0_-;_-* &quot;-&quot;??_-;_-@_-">
                  <c:v>96077.077206765389</c:v>
                </c:pt>
                <c:pt idx="1510" formatCode="_-* #,##0_-;\-* #,##0_-;_-* &quot;-&quot;??_-;_-@_-">
                  <c:v>96022.3012220409</c:v>
                </c:pt>
                <c:pt idx="1511" formatCode="_-* #,##0_-;\-* #,##0_-;_-* &quot;-&quot;??_-;_-@_-">
                  <c:v>95967.525237316411</c:v>
                </c:pt>
                <c:pt idx="1512" formatCode="_-* #,##0_-;\-* #,##0_-;_-* &quot;-&quot;??_-;_-@_-">
                  <c:v>95912.749252591922</c:v>
                </c:pt>
                <c:pt idx="1513" formatCode="_-* #,##0_-;\-* #,##0_-;_-* &quot;-&quot;??_-;_-@_-">
                  <c:v>95857.973267867434</c:v>
                </c:pt>
                <c:pt idx="1514" formatCode="_-* #,##0_-;\-* #,##0_-;_-* &quot;-&quot;??_-;_-@_-">
                  <c:v>95803.197283142945</c:v>
                </c:pt>
                <c:pt idx="1515" formatCode="_-* #,##0_-;\-* #,##0_-;_-* &quot;-&quot;??_-;_-@_-">
                  <c:v>95748.421298418456</c:v>
                </c:pt>
                <c:pt idx="1516" formatCode="_-* #,##0_-;\-* #,##0_-;_-* &quot;-&quot;??_-;_-@_-">
                  <c:v>95693.645313693967</c:v>
                </c:pt>
                <c:pt idx="1517" formatCode="_-* #,##0_-;\-* #,##0_-;_-* &quot;-&quot;??_-;_-@_-">
                  <c:v>95638.869328969478</c:v>
                </c:pt>
                <c:pt idx="1518" formatCode="_-* #,##0_-;\-* #,##0_-;_-* &quot;-&quot;??_-;_-@_-">
                  <c:v>95584.09334424499</c:v>
                </c:pt>
                <c:pt idx="1519" formatCode="_-* #,##0_-;\-* #,##0_-;_-* &quot;-&quot;??_-;_-@_-">
                  <c:v>95529.317359520501</c:v>
                </c:pt>
                <c:pt idx="1520" formatCode="_-* #,##0_-;\-* #,##0_-;_-* &quot;-&quot;??_-;_-@_-">
                  <c:v>95474.541374796012</c:v>
                </c:pt>
                <c:pt idx="1521" formatCode="_-* #,##0_-;\-* #,##0_-;_-* &quot;-&quot;??_-;_-@_-">
                  <c:v>95419.765390071523</c:v>
                </c:pt>
                <c:pt idx="1522" formatCode="_-* #,##0_-;\-* #,##0_-;_-* &quot;-&quot;??_-;_-@_-">
                  <c:v>95364.989405347034</c:v>
                </c:pt>
                <c:pt idx="1523" formatCode="_-* #,##0_-;\-* #,##0_-;_-* &quot;-&quot;??_-;_-@_-">
                  <c:v>95310.213420622546</c:v>
                </c:pt>
                <c:pt idx="1524" formatCode="_-* #,##0_-;\-* #,##0_-;_-* &quot;-&quot;??_-;_-@_-">
                  <c:v>95255.437435898057</c:v>
                </c:pt>
                <c:pt idx="1525" formatCode="_-* #,##0_-;\-* #,##0_-;_-* &quot;-&quot;??_-;_-@_-">
                  <c:v>95200.661451173568</c:v>
                </c:pt>
                <c:pt idx="1526" formatCode="_-* #,##0_-;\-* #,##0_-;_-* &quot;-&quot;??_-;_-@_-">
                  <c:v>95145.885466449079</c:v>
                </c:pt>
                <c:pt idx="1527" formatCode="_-* #,##0_-;\-* #,##0_-;_-* &quot;-&quot;??_-;_-@_-">
                  <c:v>95091.10948172459</c:v>
                </c:pt>
                <c:pt idx="1528" formatCode="_-* #,##0_-;\-* #,##0_-;_-* &quot;-&quot;??_-;_-@_-">
                  <c:v>95036.333497000101</c:v>
                </c:pt>
                <c:pt idx="1529" formatCode="_-* #,##0_-;\-* #,##0_-;_-* &quot;-&quot;??_-;_-@_-">
                  <c:v>94981.557512275613</c:v>
                </c:pt>
                <c:pt idx="1530" formatCode="_-* #,##0_-;\-* #,##0_-;_-* &quot;-&quot;??_-;_-@_-">
                  <c:v>94926.781527551124</c:v>
                </c:pt>
                <c:pt idx="1531" formatCode="_-* #,##0_-;\-* #,##0_-;_-* &quot;-&quot;??_-;_-@_-">
                  <c:v>94872.005542826635</c:v>
                </c:pt>
                <c:pt idx="1532" formatCode="_-* #,##0_-;\-* #,##0_-;_-* &quot;-&quot;??_-;_-@_-">
                  <c:v>94817.229558102146</c:v>
                </c:pt>
                <c:pt idx="1533" formatCode="_-* #,##0_-;\-* #,##0_-;_-* &quot;-&quot;??_-;_-@_-">
                  <c:v>94762.453573377657</c:v>
                </c:pt>
                <c:pt idx="1534" formatCode="_-* #,##0_-;\-* #,##0_-;_-* &quot;-&quot;??_-;_-@_-">
                  <c:v>94707.677588653169</c:v>
                </c:pt>
                <c:pt idx="1535" formatCode="_-* #,##0_-;\-* #,##0_-;_-* &quot;-&quot;??_-;_-@_-">
                  <c:v>94652.90160392868</c:v>
                </c:pt>
                <c:pt idx="1536" formatCode="_-* #,##0_-;\-* #,##0_-;_-* &quot;-&quot;??_-;_-@_-">
                  <c:v>94598.125619204191</c:v>
                </c:pt>
                <c:pt idx="1537" formatCode="_-* #,##0_-;\-* #,##0_-;_-* &quot;-&quot;??_-;_-@_-">
                  <c:v>94543.349634479702</c:v>
                </c:pt>
                <c:pt idx="1538" formatCode="_-* #,##0_-;\-* #,##0_-;_-* &quot;-&quot;??_-;_-@_-">
                  <c:v>94488.573649755213</c:v>
                </c:pt>
                <c:pt idx="1539" formatCode="_-* #,##0_-;\-* #,##0_-;_-* &quot;-&quot;??_-;_-@_-">
                  <c:v>94433.797665030725</c:v>
                </c:pt>
                <c:pt idx="1540" formatCode="_-* #,##0_-;\-* #,##0_-;_-* &quot;-&quot;??_-;_-@_-">
                  <c:v>94379.021680306236</c:v>
                </c:pt>
                <c:pt idx="1541" formatCode="_-* #,##0_-;\-* #,##0_-;_-* &quot;-&quot;??_-;_-@_-">
                  <c:v>94324.245695581747</c:v>
                </c:pt>
                <c:pt idx="1542" formatCode="_-* #,##0_-;\-* #,##0_-;_-* &quot;-&quot;??_-;_-@_-">
                  <c:v>94269.469710857258</c:v>
                </c:pt>
                <c:pt idx="1543" formatCode="_-* #,##0_-;\-* #,##0_-;_-* &quot;-&quot;??_-;_-@_-">
                  <c:v>94214.693726132769</c:v>
                </c:pt>
                <c:pt idx="1544" formatCode="_-* #,##0_-;\-* #,##0_-;_-* &quot;-&quot;??_-;_-@_-">
                  <c:v>94159.917741408281</c:v>
                </c:pt>
                <c:pt idx="1545" formatCode="_-* #,##0_-;\-* #,##0_-;_-* &quot;-&quot;??_-;_-@_-">
                  <c:v>94105.141756683792</c:v>
                </c:pt>
                <c:pt idx="1546" formatCode="_-* #,##0_-;\-* #,##0_-;_-* &quot;-&quot;??_-;_-@_-">
                  <c:v>94050.365771959303</c:v>
                </c:pt>
                <c:pt idx="1547" formatCode="_-* #,##0_-;\-* #,##0_-;_-* &quot;-&quot;??_-;_-@_-">
                  <c:v>93995.589787234814</c:v>
                </c:pt>
                <c:pt idx="1548" formatCode="_-* #,##0_-;\-* #,##0_-;_-* &quot;-&quot;??_-;_-@_-">
                  <c:v>93940.813802510325</c:v>
                </c:pt>
                <c:pt idx="1549" formatCode="_-* #,##0_-;\-* #,##0_-;_-* &quot;-&quot;??_-;_-@_-">
                  <c:v>93886.037817785837</c:v>
                </c:pt>
                <c:pt idx="1550" formatCode="_-* #,##0_-;\-* #,##0_-;_-* &quot;-&quot;??_-;_-@_-">
                  <c:v>93831.261833061348</c:v>
                </c:pt>
                <c:pt idx="1551" formatCode="_-* #,##0_-;\-* #,##0_-;_-* &quot;-&quot;??_-;_-@_-">
                  <c:v>93776.485848336859</c:v>
                </c:pt>
                <c:pt idx="1552" formatCode="_-* #,##0_-;\-* #,##0_-;_-* &quot;-&quot;??_-;_-@_-">
                  <c:v>93721.70986361237</c:v>
                </c:pt>
                <c:pt idx="1553" formatCode="_-* #,##0_-;\-* #,##0_-;_-* &quot;-&quot;??_-;_-@_-">
                  <c:v>93666.933878887881</c:v>
                </c:pt>
                <c:pt idx="1554" formatCode="_-* #,##0_-;\-* #,##0_-;_-* &quot;-&quot;??_-;_-@_-">
                  <c:v>93612.157894163392</c:v>
                </c:pt>
                <c:pt idx="1555" formatCode="_-* #,##0_-;\-* #,##0_-;_-* &quot;-&quot;??_-;_-@_-">
                  <c:v>93557.381909438904</c:v>
                </c:pt>
                <c:pt idx="1556" formatCode="_-* #,##0_-;\-* #,##0_-;_-* &quot;-&quot;??_-;_-@_-">
                  <c:v>93502.605924714415</c:v>
                </c:pt>
                <c:pt idx="1557" formatCode="_-* #,##0_-;\-* #,##0_-;_-* &quot;-&quot;??_-;_-@_-">
                  <c:v>93447.829939989926</c:v>
                </c:pt>
                <c:pt idx="1558" formatCode="_-* #,##0_-;\-* #,##0_-;_-* &quot;-&quot;??_-;_-@_-">
                  <c:v>93393.053955265437</c:v>
                </c:pt>
                <c:pt idx="1559" formatCode="_-* #,##0_-;\-* #,##0_-;_-* &quot;-&quot;??_-;_-@_-">
                  <c:v>93338.277970540948</c:v>
                </c:pt>
                <c:pt idx="1560" formatCode="_-* #,##0_-;\-* #,##0_-;_-* &quot;-&quot;??_-;_-@_-">
                  <c:v>93283.50198581646</c:v>
                </c:pt>
                <c:pt idx="1561" formatCode="_-* #,##0_-;\-* #,##0_-;_-* &quot;-&quot;??_-;_-@_-">
                  <c:v>93228.726001091971</c:v>
                </c:pt>
                <c:pt idx="1562" formatCode="_-* #,##0_-;\-* #,##0_-;_-* &quot;-&quot;??_-;_-@_-">
                  <c:v>93173.950016367482</c:v>
                </c:pt>
                <c:pt idx="1563" formatCode="_-* #,##0_-;\-* #,##0_-;_-* &quot;-&quot;??_-;_-@_-">
                  <c:v>93119.174031642993</c:v>
                </c:pt>
                <c:pt idx="1564" formatCode="_-* #,##0_-;\-* #,##0_-;_-* &quot;-&quot;??_-;_-@_-">
                  <c:v>93064.398046918504</c:v>
                </c:pt>
                <c:pt idx="1565" formatCode="_-* #,##0_-;\-* #,##0_-;_-* &quot;-&quot;??_-;_-@_-">
                  <c:v>93009.622062194016</c:v>
                </c:pt>
                <c:pt idx="1566" formatCode="_-* #,##0_-;\-* #,##0_-;_-* &quot;-&quot;??_-;_-@_-">
                  <c:v>92954.846077469527</c:v>
                </c:pt>
                <c:pt idx="1567" formatCode="_-* #,##0_-;\-* #,##0_-;_-* &quot;-&quot;??_-;_-@_-">
                  <c:v>92900.070092745038</c:v>
                </c:pt>
                <c:pt idx="1568" formatCode="_-* #,##0_-;\-* #,##0_-;_-* &quot;-&quot;??_-;_-@_-">
                  <c:v>92845.294108020549</c:v>
                </c:pt>
                <c:pt idx="1569" formatCode="_-* #,##0_-;\-* #,##0_-;_-* &quot;-&quot;??_-;_-@_-">
                  <c:v>92790.51812329606</c:v>
                </c:pt>
                <c:pt idx="1570" formatCode="_-* #,##0_-;\-* #,##0_-;_-* &quot;-&quot;??_-;_-@_-">
                  <c:v>92735.742138571572</c:v>
                </c:pt>
                <c:pt idx="1571" formatCode="_-* #,##0_-;\-* #,##0_-;_-* &quot;-&quot;??_-;_-@_-">
                  <c:v>92680.966153847083</c:v>
                </c:pt>
                <c:pt idx="1572" formatCode="_-* #,##0_-;\-* #,##0_-;_-* &quot;-&quot;??_-;_-@_-">
                  <c:v>92626.190169122594</c:v>
                </c:pt>
                <c:pt idx="1573" formatCode="_-* #,##0_-;\-* #,##0_-;_-* &quot;-&quot;??_-;_-@_-">
                  <c:v>92571.414184398105</c:v>
                </c:pt>
                <c:pt idx="1574" formatCode="_-* #,##0_-;\-* #,##0_-;_-* &quot;-&quot;??_-;_-@_-">
                  <c:v>92516.638199673616</c:v>
                </c:pt>
                <c:pt idx="1575" formatCode="_-* #,##0_-;\-* #,##0_-;_-* &quot;-&quot;??_-;_-@_-">
                  <c:v>92461.862214949128</c:v>
                </c:pt>
                <c:pt idx="1576" formatCode="_-* #,##0_-;\-* #,##0_-;_-* &quot;-&quot;??_-;_-@_-">
                  <c:v>92407.086230224639</c:v>
                </c:pt>
                <c:pt idx="1577" formatCode="_-* #,##0_-;\-* #,##0_-;_-* &quot;-&quot;??_-;_-@_-">
                  <c:v>92352.31024550015</c:v>
                </c:pt>
                <c:pt idx="1578" formatCode="_-* #,##0_-;\-* #,##0_-;_-* &quot;-&quot;??_-;_-@_-">
                  <c:v>92297.534260775661</c:v>
                </c:pt>
                <c:pt idx="1579" formatCode="_-* #,##0_-;\-* #,##0_-;_-* &quot;-&quot;??_-;_-@_-">
                  <c:v>92242.758276051172</c:v>
                </c:pt>
                <c:pt idx="1580" formatCode="_-* #,##0_-;\-* #,##0_-;_-* &quot;-&quot;??_-;_-@_-">
                  <c:v>92187.982291326683</c:v>
                </c:pt>
                <c:pt idx="1581" formatCode="_-* #,##0_-;\-* #,##0_-;_-* &quot;-&quot;??_-;_-@_-">
                  <c:v>92133.206306602195</c:v>
                </c:pt>
                <c:pt idx="1582" formatCode="_-* #,##0_-;\-* #,##0_-;_-* &quot;-&quot;??_-;_-@_-">
                  <c:v>92078.430321877706</c:v>
                </c:pt>
                <c:pt idx="1583" formatCode="_-* #,##0_-;\-* #,##0_-;_-* &quot;-&quot;??_-;_-@_-">
                  <c:v>92023.654337153217</c:v>
                </c:pt>
                <c:pt idx="1584" formatCode="_-* #,##0_-;\-* #,##0_-;_-* &quot;-&quot;??_-;_-@_-">
                  <c:v>91968.878352428728</c:v>
                </c:pt>
                <c:pt idx="1585" formatCode="_-* #,##0_-;\-* #,##0_-;_-* &quot;-&quot;??_-;_-@_-">
                  <c:v>91914.102367704239</c:v>
                </c:pt>
                <c:pt idx="1586" formatCode="_-* #,##0_-;\-* #,##0_-;_-* &quot;-&quot;??_-;_-@_-">
                  <c:v>91859.326382979751</c:v>
                </c:pt>
                <c:pt idx="1587" formatCode="_-* #,##0_-;\-* #,##0_-;_-* &quot;-&quot;??_-;_-@_-">
                  <c:v>91804.550398255262</c:v>
                </c:pt>
                <c:pt idx="1588" formatCode="_-* #,##0_-;\-* #,##0_-;_-* &quot;-&quot;??_-;_-@_-">
                  <c:v>91749.774413530773</c:v>
                </c:pt>
                <c:pt idx="1589" formatCode="_-* #,##0_-;\-* #,##0_-;_-* &quot;-&quot;??_-;_-@_-">
                  <c:v>91694.998428806284</c:v>
                </c:pt>
                <c:pt idx="1590" formatCode="_-* #,##0_-;\-* #,##0_-;_-* &quot;-&quot;??_-;_-@_-">
                  <c:v>91640.222444081795</c:v>
                </c:pt>
                <c:pt idx="1591" formatCode="_-* #,##0_-;\-* #,##0_-;_-* &quot;-&quot;??_-;_-@_-">
                  <c:v>91585.446459357307</c:v>
                </c:pt>
                <c:pt idx="1592" formatCode="_-* #,##0_-;\-* #,##0_-;_-* &quot;-&quot;??_-;_-@_-">
                  <c:v>91530.670474632818</c:v>
                </c:pt>
                <c:pt idx="1593" formatCode="_-* #,##0_-;\-* #,##0_-;_-* &quot;-&quot;??_-;_-@_-">
                  <c:v>91475.894489908329</c:v>
                </c:pt>
                <c:pt idx="1594" formatCode="_-* #,##0_-;\-* #,##0_-;_-* &quot;-&quot;??_-;_-@_-">
                  <c:v>91421.11850518384</c:v>
                </c:pt>
                <c:pt idx="1595" formatCode="_-* #,##0_-;\-* #,##0_-;_-* &quot;-&quot;??_-;_-@_-">
                  <c:v>91366.342520459351</c:v>
                </c:pt>
                <c:pt idx="1596" formatCode="_-* #,##0_-;\-* #,##0_-;_-* &quot;-&quot;??_-;_-@_-">
                  <c:v>91311.566535734863</c:v>
                </c:pt>
                <c:pt idx="1597" formatCode="_-* #,##0_-;\-* #,##0_-;_-* &quot;-&quot;??_-;_-@_-">
                  <c:v>91256.790551010374</c:v>
                </c:pt>
                <c:pt idx="1598" formatCode="_-* #,##0_-;\-* #,##0_-;_-* &quot;-&quot;??_-;_-@_-">
                  <c:v>91202.014566285885</c:v>
                </c:pt>
                <c:pt idx="1599" formatCode="_-* #,##0_-;\-* #,##0_-;_-* &quot;-&quot;??_-;_-@_-">
                  <c:v>91147.238581561396</c:v>
                </c:pt>
                <c:pt idx="1600" formatCode="_-* #,##0_-;\-* #,##0_-;_-* &quot;-&quot;??_-;_-@_-">
                  <c:v>91092.462596836907</c:v>
                </c:pt>
                <c:pt idx="1601" formatCode="_-* #,##0_-;\-* #,##0_-;_-* &quot;-&quot;??_-;_-@_-">
                  <c:v>91037.686612112419</c:v>
                </c:pt>
                <c:pt idx="1602" formatCode="_-* #,##0_-;\-* #,##0_-;_-* &quot;-&quot;??_-;_-@_-">
                  <c:v>90982.91062738793</c:v>
                </c:pt>
                <c:pt idx="1603" formatCode="_-* #,##0_-;\-* #,##0_-;_-* &quot;-&quot;??_-;_-@_-">
                  <c:v>90928.134642663441</c:v>
                </c:pt>
                <c:pt idx="1604" formatCode="_-* #,##0_-;\-* #,##0_-;_-* &quot;-&quot;??_-;_-@_-">
                  <c:v>90873.358657938952</c:v>
                </c:pt>
                <c:pt idx="1605" formatCode="_-* #,##0_-;\-* #,##0_-;_-* &quot;-&quot;??_-;_-@_-">
                  <c:v>90818.582673214463</c:v>
                </c:pt>
                <c:pt idx="1606" formatCode="_-* #,##0_-;\-* #,##0_-;_-* &quot;-&quot;??_-;_-@_-">
                  <c:v>90763.806688489974</c:v>
                </c:pt>
                <c:pt idx="1607" formatCode="_-* #,##0_-;\-* #,##0_-;_-* &quot;-&quot;??_-;_-@_-">
                  <c:v>90709.030703765486</c:v>
                </c:pt>
                <c:pt idx="1608" formatCode="_-* #,##0_-;\-* #,##0_-;_-* &quot;-&quot;??_-;_-@_-">
                  <c:v>90654.254719040997</c:v>
                </c:pt>
                <c:pt idx="1609" formatCode="_-* #,##0_-;\-* #,##0_-;_-* &quot;-&quot;??_-;_-@_-">
                  <c:v>90599.478734316508</c:v>
                </c:pt>
                <c:pt idx="1610" formatCode="_-* #,##0_-;\-* #,##0_-;_-* &quot;-&quot;??_-;_-@_-">
                  <c:v>90544.702749592019</c:v>
                </c:pt>
                <c:pt idx="1611" formatCode="_-* #,##0_-;\-* #,##0_-;_-* &quot;-&quot;??_-;_-@_-">
                  <c:v>90489.92676486753</c:v>
                </c:pt>
                <c:pt idx="1612" formatCode="_-* #,##0_-;\-* #,##0_-;_-* &quot;-&quot;??_-;_-@_-">
                  <c:v>90435.150780143042</c:v>
                </c:pt>
                <c:pt idx="1613" formatCode="_-* #,##0_-;\-* #,##0_-;_-* &quot;-&quot;??_-;_-@_-">
                  <c:v>90380.374795418553</c:v>
                </c:pt>
                <c:pt idx="1614" formatCode="_-* #,##0_-;\-* #,##0_-;_-* &quot;-&quot;??_-;_-@_-">
                  <c:v>90325.598810694064</c:v>
                </c:pt>
                <c:pt idx="1615" formatCode="_-* #,##0_-;\-* #,##0_-;_-* &quot;-&quot;??_-;_-@_-">
                  <c:v>90270.822825969575</c:v>
                </c:pt>
                <c:pt idx="1616" formatCode="_-* #,##0_-;\-* #,##0_-;_-* &quot;-&quot;??_-;_-@_-">
                  <c:v>90216.046841245086</c:v>
                </c:pt>
                <c:pt idx="1617" formatCode="_-* #,##0_-;\-* #,##0_-;_-* &quot;-&quot;??_-;_-@_-">
                  <c:v>90161.270856520598</c:v>
                </c:pt>
                <c:pt idx="1618" formatCode="_-* #,##0_-;\-* #,##0_-;_-* &quot;-&quot;??_-;_-@_-">
                  <c:v>90106.494871794872</c:v>
                </c:pt>
              </c:numCache>
            </c:numRef>
          </c:val>
          <c:smooth val="0"/>
        </c:ser>
        <c:dLbls>
          <c:showLegendKey val="0"/>
          <c:showVal val="0"/>
          <c:showCatName val="0"/>
          <c:showSerName val="0"/>
          <c:showPercent val="0"/>
          <c:showBubbleSize val="0"/>
        </c:dLbls>
        <c:smooth val="0"/>
        <c:axId val="725746672"/>
        <c:axId val="725740400"/>
      </c:lineChart>
      <c:dateAx>
        <c:axId val="725746672"/>
        <c:scaling>
          <c:orientation val="minMax"/>
        </c:scaling>
        <c:delete val="0"/>
        <c:axPos val="b"/>
        <c:numFmt formatCode="[$-416]mmm\-yy;@" sourceLinked="0"/>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25740400"/>
        <c:crosses val="autoZero"/>
        <c:auto val="1"/>
        <c:lblOffset val="100"/>
        <c:baseTimeUnit val="days"/>
      </c:dateAx>
      <c:valAx>
        <c:axId val="725740400"/>
        <c:scaling>
          <c:orientation val="minMax"/>
          <c:max val="120000"/>
          <c:min val="30000"/>
        </c:scaling>
        <c:delete val="0"/>
        <c:axPos val="l"/>
        <c:numFmt formatCode="_-* #,##0_-;\-* #,##0_-;_-*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25746672"/>
        <c:crosses val="autoZero"/>
        <c:crossBetween val="between"/>
        <c:majorUnit val="10000"/>
      </c:valAx>
      <c:spPr>
        <a:noFill/>
        <a:ln>
          <a:noFill/>
        </a:ln>
        <a:effectLst/>
      </c:spPr>
    </c:plotArea>
    <c:plotVisOnly val="1"/>
    <c:dispBlanksAs val="gap"/>
    <c:showDLblsOverMax val="0"/>
  </c:chart>
  <c:spPr>
    <a:solidFill>
      <a:schemeClr val="bg1"/>
    </a:solidFill>
    <a:ln w="9525" cap="flat" cmpd="sng" algn="ctr">
      <a:noFill/>
      <a:round/>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areaChart>
        <c:grouping val="percentStacked"/>
        <c:varyColors val="0"/>
        <c:ser>
          <c:idx val="0"/>
          <c:order val="0"/>
          <c:tx>
            <c:strRef>
              <c:f>Sheet2!$C$2</c:f>
              <c:strCache>
                <c:ptCount val="1"/>
                <c:pt idx="0">
                  <c:v>BNDES</c:v>
                </c:pt>
              </c:strCache>
            </c:strRef>
          </c:tx>
          <c:spPr>
            <a:solidFill>
              <a:schemeClr val="accent1"/>
            </a:solidFill>
            <a:ln>
              <a:noFill/>
            </a:ln>
            <a:effectLst/>
          </c:spPr>
          <c:cat>
            <c:numRef>
              <c:f>Sheet2!$B$3:$B$9</c:f>
              <c:numCache>
                <c:formatCode>General</c:formatCode>
                <c:ptCount val="7"/>
                <c:pt idx="0">
                  <c:v>2012</c:v>
                </c:pt>
                <c:pt idx="1">
                  <c:v>2013</c:v>
                </c:pt>
                <c:pt idx="2">
                  <c:v>2014</c:v>
                </c:pt>
                <c:pt idx="3">
                  <c:v>2015</c:v>
                </c:pt>
                <c:pt idx="4">
                  <c:v>2016</c:v>
                </c:pt>
                <c:pt idx="5">
                  <c:v>2017</c:v>
                </c:pt>
                <c:pt idx="6">
                  <c:v>2018</c:v>
                </c:pt>
              </c:numCache>
            </c:numRef>
          </c:cat>
          <c:val>
            <c:numRef>
              <c:f>Sheet2!$C$3:$C$9</c:f>
              <c:numCache>
                <c:formatCode>0</c:formatCode>
                <c:ptCount val="7"/>
                <c:pt idx="0">
                  <c:v>138.03399999999999</c:v>
                </c:pt>
                <c:pt idx="1">
                  <c:v>169.68700000000001</c:v>
                </c:pt>
                <c:pt idx="2">
                  <c:v>168.899</c:v>
                </c:pt>
                <c:pt idx="3">
                  <c:v>124.139</c:v>
                </c:pt>
                <c:pt idx="4">
                  <c:v>73.536000000000001</c:v>
                </c:pt>
                <c:pt idx="5">
                  <c:v>56.587000000000003</c:v>
                </c:pt>
                <c:pt idx="6">
                  <c:v>53</c:v>
                </c:pt>
              </c:numCache>
            </c:numRef>
          </c:val>
        </c:ser>
        <c:ser>
          <c:idx val="1"/>
          <c:order val="1"/>
          <c:tx>
            <c:strRef>
              <c:f>Sheet2!$D$2</c:f>
              <c:strCache>
                <c:ptCount val="1"/>
                <c:pt idx="0">
                  <c:v>Mercado de Capitais</c:v>
                </c:pt>
              </c:strCache>
            </c:strRef>
          </c:tx>
          <c:spPr>
            <a:solidFill>
              <a:schemeClr val="accent2"/>
            </a:solidFill>
            <a:ln>
              <a:noFill/>
            </a:ln>
            <a:effectLst/>
          </c:spPr>
          <c:cat>
            <c:numRef>
              <c:f>Sheet2!$B$3:$B$9</c:f>
              <c:numCache>
                <c:formatCode>General</c:formatCode>
                <c:ptCount val="7"/>
                <c:pt idx="0">
                  <c:v>2012</c:v>
                </c:pt>
                <c:pt idx="1">
                  <c:v>2013</c:v>
                </c:pt>
                <c:pt idx="2">
                  <c:v>2014</c:v>
                </c:pt>
                <c:pt idx="3">
                  <c:v>2015</c:v>
                </c:pt>
                <c:pt idx="4">
                  <c:v>2016</c:v>
                </c:pt>
                <c:pt idx="5">
                  <c:v>2017</c:v>
                </c:pt>
                <c:pt idx="6">
                  <c:v>2018</c:v>
                </c:pt>
              </c:numCache>
            </c:numRef>
          </c:cat>
          <c:val>
            <c:numRef>
              <c:f>Sheet2!$D$3:$D$9</c:f>
              <c:numCache>
                <c:formatCode>0</c:formatCode>
                <c:ptCount val="7"/>
                <c:pt idx="0">
                  <c:v>162.46590210519619</c:v>
                </c:pt>
                <c:pt idx="1">
                  <c:v>157.48010653739891</c:v>
                </c:pt>
                <c:pt idx="2">
                  <c:v>159.1506358668137</c:v>
                </c:pt>
                <c:pt idx="3">
                  <c:v>129.27748300778444</c:v>
                </c:pt>
                <c:pt idx="4">
                  <c:v>125.94129356295315</c:v>
                </c:pt>
                <c:pt idx="5">
                  <c:v>216.66908968394284</c:v>
                </c:pt>
                <c:pt idx="6">
                  <c:v>223.7</c:v>
                </c:pt>
              </c:numCache>
            </c:numRef>
          </c:val>
        </c:ser>
        <c:dLbls>
          <c:showLegendKey val="0"/>
          <c:showVal val="0"/>
          <c:showCatName val="0"/>
          <c:showSerName val="0"/>
          <c:showPercent val="0"/>
          <c:showBubbleSize val="0"/>
        </c:dLbls>
        <c:axId val="484520128"/>
        <c:axId val="484515424"/>
      </c:areaChart>
      <c:catAx>
        <c:axId val="484520128"/>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84515424"/>
        <c:crosses val="autoZero"/>
        <c:auto val="1"/>
        <c:lblAlgn val="ctr"/>
        <c:lblOffset val="100"/>
        <c:noMultiLvlLbl val="0"/>
      </c:catAx>
      <c:valAx>
        <c:axId val="48451542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84520128"/>
        <c:crosses val="autoZero"/>
        <c:crossBetween val="midCat"/>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zero"/>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2!$C$2</c:f>
              <c:strCache>
                <c:ptCount val="1"/>
                <c:pt idx="0">
                  <c:v>BND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2!$B$3:$B$9</c:f>
              <c:numCache>
                <c:formatCode>General</c:formatCode>
                <c:ptCount val="7"/>
                <c:pt idx="0">
                  <c:v>2012</c:v>
                </c:pt>
                <c:pt idx="1">
                  <c:v>2013</c:v>
                </c:pt>
                <c:pt idx="2">
                  <c:v>2014</c:v>
                </c:pt>
                <c:pt idx="3">
                  <c:v>2015</c:v>
                </c:pt>
                <c:pt idx="4">
                  <c:v>2016</c:v>
                </c:pt>
                <c:pt idx="5">
                  <c:v>2017</c:v>
                </c:pt>
                <c:pt idx="6">
                  <c:v>2018</c:v>
                </c:pt>
              </c:numCache>
            </c:numRef>
          </c:cat>
          <c:val>
            <c:numRef>
              <c:f>Sheet2!$C$3:$C$9</c:f>
              <c:numCache>
                <c:formatCode>0</c:formatCode>
                <c:ptCount val="7"/>
                <c:pt idx="0">
                  <c:v>138.03399999999999</c:v>
                </c:pt>
                <c:pt idx="1">
                  <c:v>169.68700000000001</c:v>
                </c:pt>
                <c:pt idx="2">
                  <c:v>168.899</c:v>
                </c:pt>
                <c:pt idx="3">
                  <c:v>124.139</c:v>
                </c:pt>
                <c:pt idx="4">
                  <c:v>73.536000000000001</c:v>
                </c:pt>
                <c:pt idx="5">
                  <c:v>56.587000000000003</c:v>
                </c:pt>
                <c:pt idx="6">
                  <c:v>53</c:v>
                </c:pt>
              </c:numCache>
            </c:numRef>
          </c:val>
        </c:ser>
        <c:ser>
          <c:idx val="1"/>
          <c:order val="1"/>
          <c:tx>
            <c:strRef>
              <c:f>Sheet2!$D$2</c:f>
              <c:strCache>
                <c:ptCount val="1"/>
                <c:pt idx="0">
                  <c:v>Mercado de Capitais</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2!$B$3:$B$9</c:f>
              <c:numCache>
                <c:formatCode>General</c:formatCode>
                <c:ptCount val="7"/>
                <c:pt idx="0">
                  <c:v>2012</c:v>
                </c:pt>
                <c:pt idx="1">
                  <c:v>2013</c:v>
                </c:pt>
                <c:pt idx="2">
                  <c:v>2014</c:v>
                </c:pt>
                <c:pt idx="3">
                  <c:v>2015</c:v>
                </c:pt>
                <c:pt idx="4">
                  <c:v>2016</c:v>
                </c:pt>
                <c:pt idx="5">
                  <c:v>2017</c:v>
                </c:pt>
                <c:pt idx="6">
                  <c:v>2018</c:v>
                </c:pt>
              </c:numCache>
            </c:numRef>
          </c:cat>
          <c:val>
            <c:numRef>
              <c:f>Sheet2!$D$3:$D$9</c:f>
              <c:numCache>
                <c:formatCode>0</c:formatCode>
                <c:ptCount val="7"/>
                <c:pt idx="0">
                  <c:v>162.46590210519619</c:v>
                </c:pt>
                <c:pt idx="1">
                  <c:v>157.48010653739891</c:v>
                </c:pt>
                <c:pt idx="2">
                  <c:v>159.1506358668137</c:v>
                </c:pt>
                <c:pt idx="3">
                  <c:v>129.27748300778444</c:v>
                </c:pt>
                <c:pt idx="4">
                  <c:v>125.94129356295315</c:v>
                </c:pt>
                <c:pt idx="5">
                  <c:v>216.66908968394284</c:v>
                </c:pt>
                <c:pt idx="6">
                  <c:v>223.7</c:v>
                </c:pt>
              </c:numCache>
            </c:numRef>
          </c:val>
        </c:ser>
        <c:dLbls>
          <c:showLegendKey val="0"/>
          <c:showVal val="0"/>
          <c:showCatName val="0"/>
          <c:showSerName val="0"/>
          <c:showPercent val="0"/>
          <c:showBubbleSize val="0"/>
        </c:dLbls>
        <c:gapWidth val="219"/>
        <c:overlap val="-27"/>
        <c:axId val="484514640"/>
        <c:axId val="484516208"/>
      </c:barChart>
      <c:catAx>
        <c:axId val="4845146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84516208"/>
        <c:crosses val="autoZero"/>
        <c:auto val="1"/>
        <c:lblAlgn val="ctr"/>
        <c:lblOffset val="100"/>
        <c:noMultiLvlLbl val="0"/>
      </c:catAx>
      <c:valAx>
        <c:axId val="484516208"/>
        <c:scaling>
          <c:orientation val="minMax"/>
        </c:scaling>
        <c:delete val="1"/>
        <c:axPos val="l"/>
        <c:numFmt formatCode="0" sourceLinked="1"/>
        <c:majorTickMark val="none"/>
        <c:minorTickMark val="none"/>
        <c:tickLblPos val="nextTo"/>
        <c:crossAx val="484514640"/>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3846153846153845E-2"/>
          <c:y val="6.3514435098886116E-2"/>
          <c:w val="0.93230769230769228"/>
          <c:h val="0.79254148670152291"/>
        </c:manualLayout>
      </c:layout>
      <c:lineChart>
        <c:grouping val="standard"/>
        <c:varyColors val="0"/>
        <c:ser>
          <c:idx val="1"/>
          <c:order val="0"/>
          <c:tx>
            <c:strRef>
              <c:f>Dados!$B$9</c:f>
              <c:strCache>
                <c:ptCount val="1"/>
                <c:pt idx="0">
                  <c:v>Crescimento de Receita</c:v>
                </c:pt>
              </c:strCache>
            </c:strRef>
          </c:tx>
          <c:spPr>
            <a:ln w="28575" cap="rnd">
              <a:solidFill>
                <a:schemeClr val="accent1"/>
              </a:solid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2"/>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Dados!$D$3:$K$3</c:f>
              <c:strCache>
                <c:ptCount val="8"/>
                <c:pt idx="0">
                  <c:v>2013</c:v>
                </c:pt>
                <c:pt idx="1">
                  <c:v>2014</c:v>
                </c:pt>
                <c:pt idx="2">
                  <c:v>2015</c:v>
                </c:pt>
                <c:pt idx="3">
                  <c:v>2016</c:v>
                </c:pt>
                <c:pt idx="4">
                  <c:v>2017</c:v>
                </c:pt>
                <c:pt idx="5">
                  <c:v>2018</c:v>
                </c:pt>
                <c:pt idx="6">
                  <c:v>2019E</c:v>
                </c:pt>
                <c:pt idx="7">
                  <c:v>2020E</c:v>
                </c:pt>
              </c:strCache>
            </c:strRef>
          </c:cat>
          <c:val>
            <c:numRef>
              <c:f>Dados!$D$9:$K$9</c:f>
              <c:numCache>
                <c:formatCode>0.0%</c:formatCode>
                <c:ptCount val="8"/>
                <c:pt idx="1">
                  <c:v>0.11848033034810768</c:v>
                </c:pt>
                <c:pt idx="2">
                  <c:v>2.9860962300529925E-2</c:v>
                </c:pt>
                <c:pt idx="3">
                  <c:v>7.6520082339060158E-2</c:v>
                </c:pt>
                <c:pt idx="4">
                  <c:v>0.11367408683115721</c:v>
                </c:pt>
                <c:pt idx="5">
                  <c:v>0.11191505452659967</c:v>
                </c:pt>
                <c:pt idx="6">
                  <c:v>0.11236411752559228</c:v>
                </c:pt>
                <c:pt idx="7">
                  <c:v>0.12434293996828316</c:v>
                </c:pt>
              </c:numCache>
            </c:numRef>
          </c:val>
          <c:smooth val="0"/>
        </c:ser>
        <c:dLbls>
          <c:showLegendKey val="0"/>
          <c:showVal val="0"/>
          <c:showCatName val="0"/>
          <c:showSerName val="0"/>
          <c:showPercent val="0"/>
          <c:showBubbleSize val="0"/>
        </c:dLbls>
        <c:smooth val="0"/>
        <c:axId val="484516600"/>
        <c:axId val="484516992"/>
      </c:lineChart>
      <c:catAx>
        <c:axId val="4845166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84516992"/>
        <c:crosses val="autoZero"/>
        <c:auto val="1"/>
        <c:lblAlgn val="ctr"/>
        <c:lblOffset val="100"/>
        <c:noMultiLvlLbl val="0"/>
      </c:catAx>
      <c:valAx>
        <c:axId val="484516992"/>
        <c:scaling>
          <c:orientation val="minMax"/>
        </c:scaling>
        <c:delete val="0"/>
        <c:axPos val="l"/>
        <c:numFmt formatCode="0.0%"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84516600"/>
        <c:crosses val="autoZero"/>
        <c:crossBetween val="between"/>
      </c:valAx>
      <c:spPr>
        <a:noFill/>
        <a:ln>
          <a:noFill/>
        </a:ln>
        <a:effectLst/>
      </c:spPr>
    </c:plotArea>
    <c:legend>
      <c:legendPos val="b"/>
      <c:layout>
        <c:manualLayout>
          <c:xMode val="edge"/>
          <c:yMode val="edge"/>
          <c:x val="0.45070381586917019"/>
          <c:y val="0.5961086610593318"/>
          <c:w val="0.44320775287704423"/>
          <c:h val="9.2093203000681967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solidFill>
      <a:schemeClr val="bg1"/>
    </a:solidFill>
    <a:ln w="9525" cap="flat" cmpd="sng" algn="ctr">
      <a:noFill/>
      <a:round/>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3846153846153845E-2"/>
          <c:y val="6.3514406222138567E-2"/>
          <c:w val="0.93230769230769228"/>
          <c:h val="0.81563772873938223"/>
        </c:manualLayout>
      </c:layout>
      <c:lineChart>
        <c:grouping val="standard"/>
        <c:varyColors val="0"/>
        <c:ser>
          <c:idx val="1"/>
          <c:order val="0"/>
          <c:tx>
            <c:strRef>
              <c:f>Dados!$B$11</c:f>
              <c:strCache>
                <c:ptCount val="1"/>
                <c:pt idx="0">
                  <c:v>Crescimento de Lucro</c:v>
                </c:pt>
              </c:strCache>
            </c:strRef>
          </c:tx>
          <c:spPr>
            <a:ln w="28575" cap="rnd">
              <a:solidFill>
                <a:schemeClr val="accent1"/>
              </a:solidFill>
              <a:round/>
            </a:ln>
            <a:effectLst/>
          </c:spPr>
          <c:marker>
            <c:symbol val="none"/>
          </c:marker>
          <c:dLbls>
            <c:dLbl>
              <c:idx val="2"/>
              <c:layout>
                <c:manualLayout>
                  <c:x val="-5.2315445184736527E-2"/>
                  <c:y val="6.2423177871996673E-2"/>
                </c:manualLayout>
              </c:layout>
              <c:dLblPos val="r"/>
              <c:showLegendKey val="0"/>
              <c:showVal val="1"/>
              <c:showCatName val="0"/>
              <c:showSerName val="0"/>
              <c:showPercent val="0"/>
              <c:showBubbleSize val="0"/>
              <c:extLst>
                <c:ext xmlns:c15="http://schemas.microsoft.com/office/drawing/2012/chart" uri="{CE6537A1-D6FC-4f65-9D91-7224C49458BB}">
                  <c15:layout/>
                </c:ext>
              </c:extLst>
            </c:dLbl>
            <c:dLbl>
              <c:idx val="3"/>
              <c:layout>
                <c:manualLayout>
                  <c:x val="-5.2315445184736527E-2"/>
                  <c:y val="6.242317787199677E-2"/>
                </c:manualLayout>
              </c:layout>
              <c:dLblPos val="r"/>
              <c:showLegendKey val="0"/>
              <c:showVal val="1"/>
              <c:showCatName val="0"/>
              <c:showSerName val="0"/>
              <c:showPercent val="0"/>
              <c:showBubbleSize val="0"/>
              <c:extLst>
                <c:ext xmlns:c15="http://schemas.microsoft.com/office/drawing/2012/chart" uri="{CE6537A1-D6FC-4f65-9D91-7224C49458BB}">
                  <c15:layout/>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2"/>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Dados!$D$3:$K$3</c:f>
              <c:strCache>
                <c:ptCount val="8"/>
                <c:pt idx="0">
                  <c:v>2013</c:v>
                </c:pt>
                <c:pt idx="1">
                  <c:v>2014</c:v>
                </c:pt>
                <c:pt idx="2">
                  <c:v>2015</c:v>
                </c:pt>
                <c:pt idx="3">
                  <c:v>2016</c:v>
                </c:pt>
                <c:pt idx="4">
                  <c:v>2017</c:v>
                </c:pt>
                <c:pt idx="5">
                  <c:v>2018</c:v>
                </c:pt>
                <c:pt idx="6">
                  <c:v>2019E</c:v>
                </c:pt>
                <c:pt idx="7">
                  <c:v>2020E</c:v>
                </c:pt>
              </c:strCache>
            </c:strRef>
          </c:cat>
          <c:val>
            <c:numRef>
              <c:f>Dados!$D$11:$K$11</c:f>
              <c:numCache>
                <c:formatCode>0.0%</c:formatCode>
                <c:ptCount val="8"/>
                <c:pt idx="1">
                  <c:v>5.6037928564424355E-2</c:v>
                </c:pt>
                <c:pt idx="2">
                  <c:v>-0.39867601946860831</c:v>
                </c:pt>
                <c:pt idx="3">
                  <c:v>-0.25232596974094623</c:v>
                </c:pt>
                <c:pt idx="4">
                  <c:v>0.71551988216395634</c:v>
                </c:pt>
                <c:pt idx="5">
                  <c:v>0.66213535814322744</c:v>
                </c:pt>
                <c:pt idx="6">
                  <c:v>0.21060536697352439</c:v>
                </c:pt>
                <c:pt idx="7">
                  <c:v>0.19933171856981668</c:v>
                </c:pt>
              </c:numCache>
            </c:numRef>
          </c:val>
          <c:smooth val="0"/>
        </c:ser>
        <c:dLbls>
          <c:showLegendKey val="0"/>
          <c:showVal val="0"/>
          <c:showCatName val="0"/>
          <c:showSerName val="0"/>
          <c:showPercent val="0"/>
          <c:showBubbleSize val="0"/>
        </c:dLbls>
        <c:smooth val="0"/>
        <c:axId val="484519736"/>
        <c:axId val="438190176"/>
      </c:lineChart>
      <c:catAx>
        <c:axId val="484519736"/>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38190176"/>
        <c:crosses val="autoZero"/>
        <c:auto val="1"/>
        <c:lblAlgn val="ctr"/>
        <c:lblOffset val="100"/>
        <c:noMultiLvlLbl val="0"/>
      </c:catAx>
      <c:valAx>
        <c:axId val="438190176"/>
        <c:scaling>
          <c:orientation val="minMax"/>
        </c:scaling>
        <c:delete val="0"/>
        <c:axPos val="l"/>
        <c:numFmt formatCode="0.0%"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84519736"/>
        <c:crosses val="autoZero"/>
        <c:crossBetween val="between"/>
      </c:valAx>
      <c:spPr>
        <a:noFill/>
        <a:ln>
          <a:noFill/>
        </a:ln>
        <a:effectLst/>
      </c:spPr>
    </c:plotArea>
    <c:legend>
      <c:legendPos val="b"/>
      <c:layout>
        <c:manualLayout>
          <c:xMode val="edge"/>
          <c:yMode val="edge"/>
          <c:x val="0.53317456087219872"/>
          <c:y val="0.73468573099080203"/>
          <c:w val="0.41365087825560265"/>
          <c:h val="9.2093161130638271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solidFill>
      <a:schemeClr val="bg1"/>
    </a:solidFill>
    <a:ln w="9525" cap="flat" cmpd="sng" algn="ctr">
      <a:noFill/>
      <a:round/>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5929716820197884E-2"/>
          <c:y val="3.1884057971014491E-2"/>
          <c:w val="0.95905834186284544"/>
          <c:h val="0.80230400547757619"/>
        </c:manualLayout>
      </c:layout>
      <c:lineChart>
        <c:grouping val="standard"/>
        <c:varyColors val="0"/>
        <c:ser>
          <c:idx val="1"/>
          <c:order val="0"/>
          <c:tx>
            <c:strRef>
              <c:f>Sheet2!$P$1</c:f>
              <c:strCache>
                <c:ptCount val="1"/>
                <c:pt idx="0">
                  <c:v>Seleção Top</c:v>
                </c:pt>
              </c:strCache>
            </c:strRef>
          </c:tx>
          <c:spPr>
            <a:ln w="25400" cap="rnd">
              <a:solidFill>
                <a:srgbClr val="C00000"/>
              </a:solidFill>
              <a:round/>
            </a:ln>
            <a:effectLst/>
          </c:spPr>
          <c:marker>
            <c:symbol val="none"/>
          </c:marker>
          <c:cat>
            <c:numRef>
              <c:f>Sheet2!$O$3:$O$2735</c:f>
              <c:numCache>
                <c:formatCode>m/d/yyyy</c:formatCode>
                <c:ptCount val="2733"/>
                <c:pt idx="0">
                  <c:v>43640</c:v>
                </c:pt>
                <c:pt idx="1">
                  <c:v>43639</c:v>
                </c:pt>
                <c:pt idx="2">
                  <c:v>43638</c:v>
                </c:pt>
                <c:pt idx="3">
                  <c:v>43637</c:v>
                </c:pt>
                <c:pt idx="4">
                  <c:v>43636</c:v>
                </c:pt>
                <c:pt idx="5">
                  <c:v>43635</c:v>
                </c:pt>
                <c:pt idx="6">
                  <c:v>43634</c:v>
                </c:pt>
                <c:pt idx="7">
                  <c:v>43633</c:v>
                </c:pt>
                <c:pt idx="8">
                  <c:v>43632</c:v>
                </c:pt>
                <c:pt idx="9">
                  <c:v>43631</c:v>
                </c:pt>
                <c:pt idx="10">
                  <c:v>43630</c:v>
                </c:pt>
                <c:pt idx="11">
                  <c:v>43629</c:v>
                </c:pt>
                <c:pt idx="12">
                  <c:v>43628</c:v>
                </c:pt>
                <c:pt idx="13">
                  <c:v>43627</c:v>
                </c:pt>
                <c:pt idx="14">
                  <c:v>43626</c:v>
                </c:pt>
                <c:pt idx="15">
                  <c:v>43625</c:v>
                </c:pt>
                <c:pt idx="16">
                  <c:v>43624</c:v>
                </c:pt>
                <c:pt idx="17">
                  <c:v>43623</c:v>
                </c:pt>
                <c:pt idx="18">
                  <c:v>43622</c:v>
                </c:pt>
                <c:pt idx="19">
                  <c:v>43621</c:v>
                </c:pt>
                <c:pt idx="20">
                  <c:v>43620</c:v>
                </c:pt>
                <c:pt idx="21">
                  <c:v>43619</c:v>
                </c:pt>
                <c:pt idx="22">
                  <c:v>43618</c:v>
                </c:pt>
                <c:pt idx="23">
                  <c:v>43617</c:v>
                </c:pt>
                <c:pt idx="24">
                  <c:v>43616</c:v>
                </c:pt>
                <c:pt idx="25">
                  <c:v>43615</c:v>
                </c:pt>
                <c:pt idx="26">
                  <c:v>43614</c:v>
                </c:pt>
                <c:pt idx="27">
                  <c:v>43613</c:v>
                </c:pt>
                <c:pt idx="28">
                  <c:v>43612</c:v>
                </c:pt>
                <c:pt idx="29">
                  <c:v>43611</c:v>
                </c:pt>
                <c:pt idx="30">
                  <c:v>43610</c:v>
                </c:pt>
                <c:pt idx="31">
                  <c:v>43609</c:v>
                </c:pt>
                <c:pt idx="32">
                  <c:v>43608</c:v>
                </c:pt>
                <c:pt idx="33">
                  <c:v>43607</c:v>
                </c:pt>
                <c:pt idx="34">
                  <c:v>43606</c:v>
                </c:pt>
                <c:pt idx="35">
                  <c:v>43605</c:v>
                </c:pt>
                <c:pt idx="36">
                  <c:v>43604</c:v>
                </c:pt>
                <c:pt idx="37">
                  <c:v>43603</c:v>
                </c:pt>
                <c:pt idx="38">
                  <c:v>43602</c:v>
                </c:pt>
                <c:pt idx="39">
                  <c:v>43601</c:v>
                </c:pt>
                <c:pt idx="40">
                  <c:v>43600</c:v>
                </c:pt>
                <c:pt idx="41">
                  <c:v>43599</c:v>
                </c:pt>
                <c:pt idx="42">
                  <c:v>43598</c:v>
                </c:pt>
                <c:pt idx="43">
                  <c:v>43597</c:v>
                </c:pt>
                <c:pt idx="44">
                  <c:v>43596</c:v>
                </c:pt>
                <c:pt idx="45">
                  <c:v>43595</c:v>
                </c:pt>
                <c:pt idx="46">
                  <c:v>43594</c:v>
                </c:pt>
                <c:pt idx="47">
                  <c:v>43593</c:v>
                </c:pt>
                <c:pt idx="48">
                  <c:v>43592</c:v>
                </c:pt>
                <c:pt idx="49">
                  <c:v>43591</c:v>
                </c:pt>
                <c:pt idx="50">
                  <c:v>43590</c:v>
                </c:pt>
                <c:pt idx="51">
                  <c:v>43589</c:v>
                </c:pt>
                <c:pt idx="52">
                  <c:v>43588</c:v>
                </c:pt>
                <c:pt idx="53">
                  <c:v>43587</c:v>
                </c:pt>
                <c:pt idx="54">
                  <c:v>43586</c:v>
                </c:pt>
                <c:pt idx="55">
                  <c:v>43585</c:v>
                </c:pt>
                <c:pt idx="56">
                  <c:v>43584</c:v>
                </c:pt>
                <c:pt idx="57">
                  <c:v>43583</c:v>
                </c:pt>
                <c:pt idx="58">
                  <c:v>43582</c:v>
                </c:pt>
                <c:pt idx="59">
                  <c:v>43581</c:v>
                </c:pt>
                <c:pt idx="60">
                  <c:v>43580</c:v>
                </c:pt>
                <c:pt idx="61">
                  <c:v>43579</c:v>
                </c:pt>
                <c:pt idx="62">
                  <c:v>43578</c:v>
                </c:pt>
                <c:pt idx="63">
                  <c:v>43577</c:v>
                </c:pt>
                <c:pt idx="64">
                  <c:v>43576</c:v>
                </c:pt>
                <c:pt idx="65">
                  <c:v>43575</c:v>
                </c:pt>
                <c:pt idx="66">
                  <c:v>43574</c:v>
                </c:pt>
                <c:pt idx="67">
                  <c:v>43573</c:v>
                </c:pt>
                <c:pt idx="68">
                  <c:v>43572</c:v>
                </c:pt>
                <c:pt idx="69">
                  <c:v>43571</c:v>
                </c:pt>
                <c:pt idx="70">
                  <c:v>43570</c:v>
                </c:pt>
                <c:pt idx="71">
                  <c:v>43569</c:v>
                </c:pt>
                <c:pt idx="72">
                  <c:v>43568</c:v>
                </c:pt>
                <c:pt idx="73">
                  <c:v>43567</c:v>
                </c:pt>
                <c:pt idx="74">
                  <c:v>43567</c:v>
                </c:pt>
                <c:pt idx="75">
                  <c:v>43566</c:v>
                </c:pt>
                <c:pt idx="76">
                  <c:v>43565</c:v>
                </c:pt>
                <c:pt idx="77">
                  <c:v>43564</c:v>
                </c:pt>
                <c:pt idx="78">
                  <c:v>43563</c:v>
                </c:pt>
                <c:pt idx="79">
                  <c:v>43562</c:v>
                </c:pt>
                <c:pt idx="80">
                  <c:v>43561</c:v>
                </c:pt>
                <c:pt idx="81">
                  <c:v>43560</c:v>
                </c:pt>
                <c:pt idx="82">
                  <c:v>43559</c:v>
                </c:pt>
                <c:pt idx="83">
                  <c:v>43558</c:v>
                </c:pt>
                <c:pt idx="84">
                  <c:v>43557</c:v>
                </c:pt>
                <c:pt idx="85">
                  <c:v>43556</c:v>
                </c:pt>
                <c:pt idx="86">
                  <c:v>43555</c:v>
                </c:pt>
                <c:pt idx="87">
                  <c:v>43554</c:v>
                </c:pt>
                <c:pt idx="88">
                  <c:v>43553</c:v>
                </c:pt>
                <c:pt idx="89">
                  <c:v>43552</c:v>
                </c:pt>
                <c:pt idx="90">
                  <c:v>43551</c:v>
                </c:pt>
                <c:pt idx="91">
                  <c:v>43550</c:v>
                </c:pt>
                <c:pt idx="92">
                  <c:v>43549</c:v>
                </c:pt>
                <c:pt idx="93">
                  <c:v>43548</c:v>
                </c:pt>
                <c:pt idx="94">
                  <c:v>43547</c:v>
                </c:pt>
                <c:pt idx="95">
                  <c:v>43546</c:v>
                </c:pt>
                <c:pt idx="96">
                  <c:v>43545</c:v>
                </c:pt>
                <c:pt idx="97">
                  <c:v>43544</c:v>
                </c:pt>
                <c:pt idx="98">
                  <c:v>43543</c:v>
                </c:pt>
                <c:pt idx="99">
                  <c:v>43542</c:v>
                </c:pt>
                <c:pt idx="100">
                  <c:v>43541</c:v>
                </c:pt>
                <c:pt idx="101">
                  <c:v>43540</c:v>
                </c:pt>
                <c:pt idx="102">
                  <c:v>43539</c:v>
                </c:pt>
                <c:pt idx="103">
                  <c:v>43538</c:v>
                </c:pt>
                <c:pt idx="104">
                  <c:v>43537</c:v>
                </c:pt>
                <c:pt idx="105">
                  <c:v>43536</c:v>
                </c:pt>
                <c:pt idx="106">
                  <c:v>43535</c:v>
                </c:pt>
                <c:pt idx="107">
                  <c:v>43534</c:v>
                </c:pt>
                <c:pt idx="108">
                  <c:v>43533</c:v>
                </c:pt>
                <c:pt idx="109">
                  <c:v>43532</c:v>
                </c:pt>
                <c:pt idx="110">
                  <c:v>43531</c:v>
                </c:pt>
                <c:pt idx="111">
                  <c:v>43530</c:v>
                </c:pt>
                <c:pt idx="112">
                  <c:v>43529</c:v>
                </c:pt>
                <c:pt idx="113">
                  <c:v>43528</c:v>
                </c:pt>
                <c:pt idx="114">
                  <c:v>43527</c:v>
                </c:pt>
                <c:pt idx="115">
                  <c:v>43526</c:v>
                </c:pt>
                <c:pt idx="116">
                  <c:v>43525</c:v>
                </c:pt>
                <c:pt idx="117">
                  <c:v>43524</c:v>
                </c:pt>
                <c:pt idx="118">
                  <c:v>43523</c:v>
                </c:pt>
                <c:pt idx="119">
                  <c:v>43522</c:v>
                </c:pt>
                <c:pt idx="120">
                  <c:v>43521</c:v>
                </c:pt>
                <c:pt idx="121">
                  <c:v>43520</c:v>
                </c:pt>
                <c:pt idx="122">
                  <c:v>43519</c:v>
                </c:pt>
                <c:pt idx="123">
                  <c:v>43518</c:v>
                </c:pt>
                <c:pt idx="124">
                  <c:v>43517</c:v>
                </c:pt>
                <c:pt idx="125">
                  <c:v>43516</c:v>
                </c:pt>
                <c:pt idx="126">
                  <c:v>43515</c:v>
                </c:pt>
                <c:pt idx="127">
                  <c:v>43514</c:v>
                </c:pt>
                <c:pt idx="128">
                  <c:v>43513</c:v>
                </c:pt>
                <c:pt idx="129">
                  <c:v>43512</c:v>
                </c:pt>
                <c:pt idx="130">
                  <c:v>43511</c:v>
                </c:pt>
                <c:pt idx="131">
                  <c:v>43510</c:v>
                </c:pt>
                <c:pt idx="132">
                  <c:v>43509</c:v>
                </c:pt>
                <c:pt idx="133">
                  <c:v>43508</c:v>
                </c:pt>
                <c:pt idx="134">
                  <c:v>43507</c:v>
                </c:pt>
                <c:pt idx="135">
                  <c:v>43506</c:v>
                </c:pt>
                <c:pt idx="136">
                  <c:v>43505</c:v>
                </c:pt>
                <c:pt idx="137">
                  <c:v>43504</c:v>
                </c:pt>
                <c:pt idx="138">
                  <c:v>43503</c:v>
                </c:pt>
                <c:pt idx="139">
                  <c:v>43502</c:v>
                </c:pt>
                <c:pt idx="140">
                  <c:v>43501</c:v>
                </c:pt>
                <c:pt idx="141">
                  <c:v>43500</c:v>
                </c:pt>
                <c:pt idx="142">
                  <c:v>43499</c:v>
                </c:pt>
                <c:pt idx="143">
                  <c:v>43498</c:v>
                </c:pt>
                <c:pt idx="144">
                  <c:v>43497</c:v>
                </c:pt>
                <c:pt idx="145">
                  <c:v>43496</c:v>
                </c:pt>
                <c:pt idx="146">
                  <c:v>43495</c:v>
                </c:pt>
                <c:pt idx="147">
                  <c:v>43494</c:v>
                </c:pt>
                <c:pt idx="148">
                  <c:v>43493</c:v>
                </c:pt>
                <c:pt idx="149">
                  <c:v>43492</c:v>
                </c:pt>
                <c:pt idx="150">
                  <c:v>43491</c:v>
                </c:pt>
                <c:pt idx="151">
                  <c:v>43490</c:v>
                </c:pt>
                <c:pt idx="152">
                  <c:v>43489</c:v>
                </c:pt>
                <c:pt idx="153">
                  <c:v>43488</c:v>
                </c:pt>
                <c:pt idx="154">
                  <c:v>43487</c:v>
                </c:pt>
                <c:pt idx="155">
                  <c:v>43486</c:v>
                </c:pt>
                <c:pt idx="156">
                  <c:v>43485</c:v>
                </c:pt>
                <c:pt idx="157">
                  <c:v>43484</c:v>
                </c:pt>
                <c:pt idx="158">
                  <c:v>43483</c:v>
                </c:pt>
                <c:pt idx="159">
                  <c:v>43482</c:v>
                </c:pt>
                <c:pt idx="160">
                  <c:v>43481</c:v>
                </c:pt>
                <c:pt idx="161">
                  <c:v>43480</c:v>
                </c:pt>
                <c:pt idx="162">
                  <c:v>43479</c:v>
                </c:pt>
                <c:pt idx="163">
                  <c:v>43478</c:v>
                </c:pt>
                <c:pt idx="164">
                  <c:v>43477</c:v>
                </c:pt>
                <c:pt idx="165">
                  <c:v>43476</c:v>
                </c:pt>
                <c:pt idx="166">
                  <c:v>43475</c:v>
                </c:pt>
                <c:pt idx="167">
                  <c:v>43474</c:v>
                </c:pt>
                <c:pt idx="168">
                  <c:v>43473</c:v>
                </c:pt>
                <c:pt idx="169">
                  <c:v>43472</c:v>
                </c:pt>
                <c:pt idx="170">
                  <c:v>43471</c:v>
                </c:pt>
                <c:pt idx="171">
                  <c:v>43470</c:v>
                </c:pt>
                <c:pt idx="172">
                  <c:v>43469</c:v>
                </c:pt>
                <c:pt idx="173">
                  <c:v>43468</c:v>
                </c:pt>
                <c:pt idx="174">
                  <c:v>43467</c:v>
                </c:pt>
                <c:pt idx="175">
                  <c:v>43466</c:v>
                </c:pt>
                <c:pt idx="176">
                  <c:v>43465</c:v>
                </c:pt>
                <c:pt idx="177">
                  <c:v>43464</c:v>
                </c:pt>
                <c:pt idx="178">
                  <c:v>43463</c:v>
                </c:pt>
                <c:pt idx="179">
                  <c:v>43462</c:v>
                </c:pt>
                <c:pt idx="180">
                  <c:v>43461</c:v>
                </c:pt>
                <c:pt idx="181">
                  <c:v>43460</c:v>
                </c:pt>
                <c:pt idx="182">
                  <c:v>43459</c:v>
                </c:pt>
                <c:pt idx="183">
                  <c:v>43458</c:v>
                </c:pt>
                <c:pt idx="184">
                  <c:v>43457</c:v>
                </c:pt>
                <c:pt idx="185">
                  <c:v>43456</c:v>
                </c:pt>
                <c:pt idx="186">
                  <c:v>43455</c:v>
                </c:pt>
                <c:pt idx="187">
                  <c:v>43454</c:v>
                </c:pt>
                <c:pt idx="188">
                  <c:v>43453</c:v>
                </c:pt>
                <c:pt idx="189">
                  <c:v>43452</c:v>
                </c:pt>
                <c:pt idx="190">
                  <c:v>43451</c:v>
                </c:pt>
                <c:pt idx="191">
                  <c:v>43450</c:v>
                </c:pt>
                <c:pt idx="192">
                  <c:v>43449</c:v>
                </c:pt>
                <c:pt idx="193">
                  <c:v>43448</c:v>
                </c:pt>
                <c:pt idx="194">
                  <c:v>43447</c:v>
                </c:pt>
                <c:pt idx="195">
                  <c:v>43446</c:v>
                </c:pt>
                <c:pt idx="196">
                  <c:v>43445</c:v>
                </c:pt>
                <c:pt idx="197">
                  <c:v>43444</c:v>
                </c:pt>
                <c:pt idx="198">
                  <c:v>43443</c:v>
                </c:pt>
                <c:pt idx="199">
                  <c:v>43442</c:v>
                </c:pt>
                <c:pt idx="200">
                  <c:v>43441</c:v>
                </c:pt>
                <c:pt idx="201">
                  <c:v>43440</c:v>
                </c:pt>
                <c:pt idx="202">
                  <c:v>43439</c:v>
                </c:pt>
                <c:pt idx="203">
                  <c:v>43438</c:v>
                </c:pt>
                <c:pt idx="204">
                  <c:v>43437</c:v>
                </c:pt>
                <c:pt idx="205">
                  <c:v>43436</c:v>
                </c:pt>
                <c:pt idx="206">
                  <c:v>43435</c:v>
                </c:pt>
                <c:pt idx="207">
                  <c:v>43434</c:v>
                </c:pt>
                <c:pt idx="208">
                  <c:v>43433</c:v>
                </c:pt>
                <c:pt idx="209">
                  <c:v>43432</c:v>
                </c:pt>
                <c:pt idx="210">
                  <c:v>43431</c:v>
                </c:pt>
                <c:pt idx="211">
                  <c:v>43430</c:v>
                </c:pt>
                <c:pt idx="212">
                  <c:v>43429</c:v>
                </c:pt>
                <c:pt idx="213">
                  <c:v>43428</c:v>
                </c:pt>
                <c:pt idx="214">
                  <c:v>43427</c:v>
                </c:pt>
                <c:pt idx="215">
                  <c:v>43426</c:v>
                </c:pt>
                <c:pt idx="216">
                  <c:v>43425</c:v>
                </c:pt>
                <c:pt idx="217">
                  <c:v>43424</c:v>
                </c:pt>
                <c:pt idx="218">
                  <c:v>43423</c:v>
                </c:pt>
                <c:pt idx="219">
                  <c:v>43422</c:v>
                </c:pt>
                <c:pt idx="220">
                  <c:v>43421</c:v>
                </c:pt>
                <c:pt idx="221">
                  <c:v>43420</c:v>
                </c:pt>
                <c:pt idx="222">
                  <c:v>43419</c:v>
                </c:pt>
                <c:pt idx="223">
                  <c:v>43418</c:v>
                </c:pt>
                <c:pt idx="224">
                  <c:v>43417</c:v>
                </c:pt>
                <c:pt idx="225">
                  <c:v>43416</c:v>
                </c:pt>
                <c:pt idx="226">
                  <c:v>43415</c:v>
                </c:pt>
                <c:pt idx="227">
                  <c:v>43414</c:v>
                </c:pt>
                <c:pt idx="228">
                  <c:v>43413</c:v>
                </c:pt>
                <c:pt idx="229">
                  <c:v>43412</c:v>
                </c:pt>
                <c:pt idx="230">
                  <c:v>43411</c:v>
                </c:pt>
                <c:pt idx="231">
                  <c:v>43410</c:v>
                </c:pt>
                <c:pt idx="232">
                  <c:v>43409</c:v>
                </c:pt>
                <c:pt idx="233">
                  <c:v>43408</c:v>
                </c:pt>
                <c:pt idx="234">
                  <c:v>43407</c:v>
                </c:pt>
                <c:pt idx="235">
                  <c:v>43406</c:v>
                </c:pt>
                <c:pt idx="236">
                  <c:v>43405</c:v>
                </c:pt>
                <c:pt idx="237">
                  <c:v>43404</c:v>
                </c:pt>
                <c:pt idx="238">
                  <c:v>43403</c:v>
                </c:pt>
                <c:pt idx="239">
                  <c:v>43402</c:v>
                </c:pt>
                <c:pt idx="240">
                  <c:v>43401</c:v>
                </c:pt>
                <c:pt idx="241">
                  <c:v>43400</c:v>
                </c:pt>
                <c:pt idx="242">
                  <c:v>43399</c:v>
                </c:pt>
                <c:pt idx="243">
                  <c:v>43398</c:v>
                </c:pt>
                <c:pt idx="244">
                  <c:v>43397</c:v>
                </c:pt>
                <c:pt idx="245">
                  <c:v>43396</c:v>
                </c:pt>
                <c:pt idx="246">
                  <c:v>43395</c:v>
                </c:pt>
                <c:pt idx="247">
                  <c:v>43394</c:v>
                </c:pt>
                <c:pt idx="248">
                  <c:v>43393</c:v>
                </c:pt>
                <c:pt idx="249">
                  <c:v>43392</c:v>
                </c:pt>
                <c:pt idx="250">
                  <c:v>43391</c:v>
                </c:pt>
                <c:pt idx="251">
                  <c:v>43390</c:v>
                </c:pt>
                <c:pt idx="252">
                  <c:v>43389</c:v>
                </c:pt>
                <c:pt idx="253">
                  <c:v>43388</c:v>
                </c:pt>
                <c:pt idx="254">
                  <c:v>43387</c:v>
                </c:pt>
                <c:pt idx="255">
                  <c:v>43386</c:v>
                </c:pt>
                <c:pt idx="256">
                  <c:v>43385</c:v>
                </c:pt>
                <c:pt idx="257">
                  <c:v>43384</c:v>
                </c:pt>
                <c:pt idx="258">
                  <c:v>43383</c:v>
                </c:pt>
                <c:pt idx="259">
                  <c:v>43382</c:v>
                </c:pt>
                <c:pt idx="260">
                  <c:v>43381</c:v>
                </c:pt>
                <c:pt idx="261">
                  <c:v>43380</c:v>
                </c:pt>
                <c:pt idx="262">
                  <c:v>43379</c:v>
                </c:pt>
                <c:pt idx="263">
                  <c:v>43378</c:v>
                </c:pt>
                <c:pt idx="264">
                  <c:v>43377</c:v>
                </c:pt>
                <c:pt idx="265">
                  <c:v>43376</c:v>
                </c:pt>
                <c:pt idx="266">
                  <c:v>43375</c:v>
                </c:pt>
                <c:pt idx="267">
                  <c:v>43374</c:v>
                </c:pt>
                <c:pt idx="268">
                  <c:v>43373</c:v>
                </c:pt>
                <c:pt idx="269">
                  <c:v>43372</c:v>
                </c:pt>
                <c:pt idx="270">
                  <c:v>43371</c:v>
                </c:pt>
                <c:pt idx="271">
                  <c:v>43370</c:v>
                </c:pt>
                <c:pt idx="272">
                  <c:v>43369</c:v>
                </c:pt>
                <c:pt idx="273">
                  <c:v>43368</c:v>
                </c:pt>
                <c:pt idx="274">
                  <c:v>43367</c:v>
                </c:pt>
                <c:pt idx="275">
                  <c:v>43366</c:v>
                </c:pt>
                <c:pt idx="276">
                  <c:v>43365</c:v>
                </c:pt>
                <c:pt idx="277">
                  <c:v>43364</c:v>
                </c:pt>
                <c:pt idx="278">
                  <c:v>43363</c:v>
                </c:pt>
                <c:pt idx="279">
                  <c:v>43362</c:v>
                </c:pt>
                <c:pt idx="280">
                  <c:v>43361</c:v>
                </c:pt>
                <c:pt idx="281">
                  <c:v>43360</c:v>
                </c:pt>
                <c:pt idx="282">
                  <c:v>43359</c:v>
                </c:pt>
                <c:pt idx="283">
                  <c:v>43358</c:v>
                </c:pt>
                <c:pt idx="284">
                  <c:v>43357</c:v>
                </c:pt>
                <c:pt idx="285">
                  <c:v>43356</c:v>
                </c:pt>
                <c:pt idx="286">
                  <c:v>43355</c:v>
                </c:pt>
                <c:pt idx="287">
                  <c:v>43354</c:v>
                </c:pt>
                <c:pt idx="288">
                  <c:v>43353</c:v>
                </c:pt>
                <c:pt idx="289">
                  <c:v>43352</c:v>
                </c:pt>
                <c:pt idx="290">
                  <c:v>43351</c:v>
                </c:pt>
                <c:pt idx="291">
                  <c:v>43350</c:v>
                </c:pt>
                <c:pt idx="292">
                  <c:v>43349</c:v>
                </c:pt>
                <c:pt idx="293">
                  <c:v>43348</c:v>
                </c:pt>
                <c:pt idx="294">
                  <c:v>43347</c:v>
                </c:pt>
                <c:pt idx="295">
                  <c:v>43346</c:v>
                </c:pt>
                <c:pt idx="296">
                  <c:v>43345</c:v>
                </c:pt>
                <c:pt idx="297">
                  <c:v>43344</c:v>
                </c:pt>
                <c:pt idx="298">
                  <c:v>43343</c:v>
                </c:pt>
                <c:pt idx="299">
                  <c:v>43342</c:v>
                </c:pt>
                <c:pt idx="300">
                  <c:v>43341</c:v>
                </c:pt>
                <c:pt idx="301">
                  <c:v>43340</c:v>
                </c:pt>
                <c:pt idx="302">
                  <c:v>43339</c:v>
                </c:pt>
                <c:pt idx="303">
                  <c:v>43338</c:v>
                </c:pt>
                <c:pt idx="304">
                  <c:v>43337</c:v>
                </c:pt>
                <c:pt idx="305">
                  <c:v>43336</c:v>
                </c:pt>
                <c:pt idx="306">
                  <c:v>43335</c:v>
                </c:pt>
                <c:pt idx="307">
                  <c:v>43334</c:v>
                </c:pt>
                <c:pt idx="308">
                  <c:v>43333</c:v>
                </c:pt>
                <c:pt idx="309">
                  <c:v>43332</c:v>
                </c:pt>
                <c:pt idx="310">
                  <c:v>43331</c:v>
                </c:pt>
                <c:pt idx="311">
                  <c:v>43330</c:v>
                </c:pt>
                <c:pt idx="312">
                  <c:v>43329</c:v>
                </c:pt>
                <c:pt idx="313">
                  <c:v>43328</c:v>
                </c:pt>
                <c:pt idx="314">
                  <c:v>43327</c:v>
                </c:pt>
                <c:pt idx="315">
                  <c:v>43326</c:v>
                </c:pt>
                <c:pt idx="316">
                  <c:v>43325</c:v>
                </c:pt>
                <c:pt idx="317">
                  <c:v>43324</c:v>
                </c:pt>
                <c:pt idx="318">
                  <c:v>43323</c:v>
                </c:pt>
                <c:pt idx="319">
                  <c:v>43322</c:v>
                </c:pt>
                <c:pt idx="320">
                  <c:v>43321</c:v>
                </c:pt>
                <c:pt idx="321">
                  <c:v>43320</c:v>
                </c:pt>
                <c:pt idx="322">
                  <c:v>43319</c:v>
                </c:pt>
                <c:pt idx="323">
                  <c:v>43318</c:v>
                </c:pt>
                <c:pt idx="324">
                  <c:v>43317</c:v>
                </c:pt>
                <c:pt idx="325">
                  <c:v>43316</c:v>
                </c:pt>
                <c:pt idx="326">
                  <c:v>43315</c:v>
                </c:pt>
                <c:pt idx="327">
                  <c:v>43314</c:v>
                </c:pt>
                <c:pt idx="328">
                  <c:v>43313</c:v>
                </c:pt>
                <c:pt idx="329">
                  <c:v>43312</c:v>
                </c:pt>
                <c:pt idx="330">
                  <c:v>43311</c:v>
                </c:pt>
                <c:pt idx="331">
                  <c:v>43310</c:v>
                </c:pt>
                <c:pt idx="332">
                  <c:v>43309</c:v>
                </c:pt>
                <c:pt idx="333">
                  <c:v>43308</c:v>
                </c:pt>
                <c:pt idx="334">
                  <c:v>43307</c:v>
                </c:pt>
                <c:pt idx="335">
                  <c:v>43306</c:v>
                </c:pt>
                <c:pt idx="336">
                  <c:v>43305</c:v>
                </c:pt>
                <c:pt idx="337">
                  <c:v>43304</c:v>
                </c:pt>
                <c:pt idx="338">
                  <c:v>43303</c:v>
                </c:pt>
                <c:pt idx="339">
                  <c:v>43302</c:v>
                </c:pt>
                <c:pt idx="340">
                  <c:v>43301</c:v>
                </c:pt>
                <c:pt idx="341">
                  <c:v>43300</c:v>
                </c:pt>
                <c:pt idx="342">
                  <c:v>43299</c:v>
                </c:pt>
                <c:pt idx="343">
                  <c:v>43298</c:v>
                </c:pt>
                <c:pt idx="344">
                  <c:v>43297</c:v>
                </c:pt>
                <c:pt idx="345">
                  <c:v>43296</c:v>
                </c:pt>
                <c:pt idx="346">
                  <c:v>43295</c:v>
                </c:pt>
                <c:pt idx="347">
                  <c:v>43294</c:v>
                </c:pt>
                <c:pt idx="348">
                  <c:v>43293</c:v>
                </c:pt>
                <c:pt idx="349">
                  <c:v>43292</c:v>
                </c:pt>
                <c:pt idx="350">
                  <c:v>43291</c:v>
                </c:pt>
                <c:pt idx="351">
                  <c:v>43290</c:v>
                </c:pt>
                <c:pt idx="352">
                  <c:v>43289</c:v>
                </c:pt>
                <c:pt idx="353">
                  <c:v>43288</c:v>
                </c:pt>
                <c:pt idx="354">
                  <c:v>43287</c:v>
                </c:pt>
                <c:pt idx="355">
                  <c:v>43286</c:v>
                </c:pt>
                <c:pt idx="356">
                  <c:v>43285</c:v>
                </c:pt>
                <c:pt idx="357">
                  <c:v>43284</c:v>
                </c:pt>
                <c:pt idx="358">
                  <c:v>43283</c:v>
                </c:pt>
                <c:pt idx="359">
                  <c:v>43282</c:v>
                </c:pt>
                <c:pt idx="360">
                  <c:v>43281</c:v>
                </c:pt>
                <c:pt idx="361">
                  <c:v>43280</c:v>
                </c:pt>
                <c:pt idx="362">
                  <c:v>43279</c:v>
                </c:pt>
                <c:pt idx="363">
                  <c:v>43278</c:v>
                </c:pt>
                <c:pt idx="364">
                  <c:v>43277</c:v>
                </c:pt>
                <c:pt idx="365">
                  <c:v>43276</c:v>
                </c:pt>
                <c:pt idx="366">
                  <c:v>43275</c:v>
                </c:pt>
                <c:pt idx="367">
                  <c:v>43274</c:v>
                </c:pt>
                <c:pt idx="368">
                  <c:v>43273</c:v>
                </c:pt>
                <c:pt idx="369">
                  <c:v>43272</c:v>
                </c:pt>
                <c:pt idx="370">
                  <c:v>43271</c:v>
                </c:pt>
                <c:pt idx="371">
                  <c:v>43270</c:v>
                </c:pt>
                <c:pt idx="372">
                  <c:v>43269</c:v>
                </c:pt>
                <c:pt idx="373">
                  <c:v>43268</c:v>
                </c:pt>
                <c:pt idx="374">
                  <c:v>43267</c:v>
                </c:pt>
                <c:pt idx="375">
                  <c:v>43266</c:v>
                </c:pt>
                <c:pt idx="376">
                  <c:v>43265</c:v>
                </c:pt>
                <c:pt idx="377">
                  <c:v>43264</c:v>
                </c:pt>
                <c:pt idx="378">
                  <c:v>43263</c:v>
                </c:pt>
                <c:pt idx="379">
                  <c:v>43262</c:v>
                </c:pt>
                <c:pt idx="380">
                  <c:v>43261</c:v>
                </c:pt>
                <c:pt idx="381">
                  <c:v>43260</c:v>
                </c:pt>
                <c:pt idx="382">
                  <c:v>43259</c:v>
                </c:pt>
                <c:pt idx="383">
                  <c:v>43258</c:v>
                </c:pt>
                <c:pt idx="384">
                  <c:v>43257</c:v>
                </c:pt>
                <c:pt idx="385">
                  <c:v>43256</c:v>
                </c:pt>
                <c:pt idx="386">
                  <c:v>43255</c:v>
                </c:pt>
                <c:pt idx="387">
                  <c:v>43254</c:v>
                </c:pt>
                <c:pt idx="388">
                  <c:v>43253</c:v>
                </c:pt>
                <c:pt idx="389">
                  <c:v>43252</c:v>
                </c:pt>
                <c:pt idx="390">
                  <c:v>43251</c:v>
                </c:pt>
                <c:pt idx="391">
                  <c:v>43250</c:v>
                </c:pt>
                <c:pt idx="392">
                  <c:v>43249</c:v>
                </c:pt>
                <c:pt idx="393">
                  <c:v>43248</c:v>
                </c:pt>
                <c:pt idx="394">
                  <c:v>43247</c:v>
                </c:pt>
                <c:pt idx="395">
                  <c:v>43246</c:v>
                </c:pt>
                <c:pt idx="396">
                  <c:v>43245</c:v>
                </c:pt>
                <c:pt idx="397">
                  <c:v>43244</c:v>
                </c:pt>
                <c:pt idx="398">
                  <c:v>43243</c:v>
                </c:pt>
                <c:pt idx="399">
                  <c:v>43242</c:v>
                </c:pt>
                <c:pt idx="400">
                  <c:v>43241</c:v>
                </c:pt>
                <c:pt idx="401">
                  <c:v>43240</c:v>
                </c:pt>
                <c:pt idx="402">
                  <c:v>43239</c:v>
                </c:pt>
                <c:pt idx="403">
                  <c:v>43238</c:v>
                </c:pt>
                <c:pt idx="404">
                  <c:v>43237</c:v>
                </c:pt>
                <c:pt idx="405">
                  <c:v>43236</c:v>
                </c:pt>
                <c:pt idx="406">
                  <c:v>43235</c:v>
                </c:pt>
                <c:pt idx="407">
                  <c:v>43234</c:v>
                </c:pt>
                <c:pt idx="408">
                  <c:v>43233</c:v>
                </c:pt>
                <c:pt idx="409">
                  <c:v>43232</c:v>
                </c:pt>
                <c:pt idx="410">
                  <c:v>43231</c:v>
                </c:pt>
                <c:pt idx="411">
                  <c:v>43230</c:v>
                </c:pt>
                <c:pt idx="412">
                  <c:v>43229</c:v>
                </c:pt>
                <c:pt idx="413">
                  <c:v>43228</c:v>
                </c:pt>
                <c:pt idx="414">
                  <c:v>43227</c:v>
                </c:pt>
                <c:pt idx="415">
                  <c:v>43226</c:v>
                </c:pt>
                <c:pt idx="416">
                  <c:v>43225</c:v>
                </c:pt>
                <c:pt idx="417">
                  <c:v>43224</c:v>
                </c:pt>
                <c:pt idx="418">
                  <c:v>43223</c:v>
                </c:pt>
                <c:pt idx="419">
                  <c:v>43222</c:v>
                </c:pt>
                <c:pt idx="420">
                  <c:v>43221</c:v>
                </c:pt>
                <c:pt idx="421">
                  <c:v>43220</c:v>
                </c:pt>
                <c:pt idx="422">
                  <c:v>43219</c:v>
                </c:pt>
                <c:pt idx="423">
                  <c:v>43218</c:v>
                </c:pt>
                <c:pt idx="424">
                  <c:v>43217</c:v>
                </c:pt>
                <c:pt idx="425">
                  <c:v>43216</c:v>
                </c:pt>
                <c:pt idx="426">
                  <c:v>43215</c:v>
                </c:pt>
                <c:pt idx="427">
                  <c:v>43214</c:v>
                </c:pt>
                <c:pt idx="428">
                  <c:v>43213</c:v>
                </c:pt>
                <c:pt idx="429">
                  <c:v>43212</c:v>
                </c:pt>
                <c:pt idx="430">
                  <c:v>43211</c:v>
                </c:pt>
                <c:pt idx="431">
                  <c:v>43210</c:v>
                </c:pt>
                <c:pt idx="432">
                  <c:v>43209</c:v>
                </c:pt>
                <c:pt idx="433">
                  <c:v>43208</c:v>
                </c:pt>
                <c:pt idx="434">
                  <c:v>43207</c:v>
                </c:pt>
                <c:pt idx="435">
                  <c:v>43206</c:v>
                </c:pt>
                <c:pt idx="436">
                  <c:v>43205</c:v>
                </c:pt>
                <c:pt idx="437">
                  <c:v>43204</c:v>
                </c:pt>
                <c:pt idx="438">
                  <c:v>43203</c:v>
                </c:pt>
                <c:pt idx="439">
                  <c:v>43202</c:v>
                </c:pt>
                <c:pt idx="440">
                  <c:v>43201</c:v>
                </c:pt>
                <c:pt idx="441">
                  <c:v>43200</c:v>
                </c:pt>
                <c:pt idx="442">
                  <c:v>43199</c:v>
                </c:pt>
                <c:pt idx="443">
                  <c:v>43198</c:v>
                </c:pt>
                <c:pt idx="444">
                  <c:v>43197</c:v>
                </c:pt>
                <c:pt idx="445">
                  <c:v>43196</c:v>
                </c:pt>
                <c:pt idx="446">
                  <c:v>43195</c:v>
                </c:pt>
                <c:pt idx="447">
                  <c:v>43194</c:v>
                </c:pt>
                <c:pt idx="448">
                  <c:v>43193</c:v>
                </c:pt>
                <c:pt idx="449">
                  <c:v>43192</c:v>
                </c:pt>
                <c:pt idx="450">
                  <c:v>43191</c:v>
                </c:pt>
                <c:pt idx="451">
                  <c:v>43190</c:v>
                </c:pt>
                <c:pt idx="452">
                  <c:v>43189</c:v>
                </c:pt>
                <c:pt idx="453">
                  <c:v>43188</c:v>
                </c:pt>
                <c:pt idx="454">
                  <c:v>43187</c:v>
                </c:pt>
                <c:pt idx="455">
                  <c:v>43186</c:v>
                </c:pt>
                <c:pt idx="456">
                  <c:v>43185</c:v>
                </c:pt>
                <c:pt idx="457">
                  <c:v>43184</c:v>
                </c:pt>
                <c:pt idx="458">
                  <c:v>43183</c:v>
                </c:pt>
                <c:pt idx="459">
                  <c:v>43182</c:v>
                </c:pt>
                <c:pt idx="460">
                  <c:v>43181</c:v>
                </c:pt>
                <c:pt idx="461">
                  <c:v>43180</c:v>
                </c:pt>
                <c:pt idx="462">
                  <c:v>43179</c:v>
                </c:pt>
                <c:pt idx="463">
                  <c:v>43178</c:v>
                </c:pt>
                <c:pt idx="464">
                  <c:v>43177</c:v>
                </c:pt>
                <c:pt idx="465">
                  <c:v>43176</c:v>
                </c:pt>
                <c:pt idx="466">
                  <c:v>43175</c:v>
                </c:pt>
                <c:pt idx="467">
                  <c:v>43174</c:v>
                </c:pt>
                <c:pt idx="468">
                  <c:v>43173</c:v>
                </c:pt>
                <c:pt idx="469">
                  <c:v>43172</c:v>
                </c:pt>
                <c:pt idx="470">
                  <c:v>43171</c:v>
                </c:pt>
                <c:pt idx="471">
                  <c:v>43170</c:v>
                </c:pt>
                <c:pt idx="472">
                  <c:v>43169</c:v>
                </c:pt>
                <c:pt idx="473">
                  <c:v>43168</c:v>
                </c:pt>
                <c:pt idx="474">
                  <c:v>43167</c:v>
                </c:pt>
                <c:pt idx="475">
                  <c:v>43166</c:v>
                </c:pt>
                <c:pt idx="476">
                  <c:v>43165</c:v>
                </c:pt>
                <c:pt idx="477">
                  <c:v>43164</c:v>
                </c:pt>
                <c:pt idx="478">
                  <c:v>43163</c:v>
                </c:pt>
                <c:pt idx="479">
                  <c:v>43162</c:v>
                </c:pt>
                <c:pt idx="480">
                  <c:v>43161</c:v>
                </c:pt>
                <c:pt idx="481">
                  <c:v>43160</c:v>
                </c:pt>
                <c:pt idx="482">
                  <c:v>43159</c:v>
                </c:pt>
                <c:pt idx="483">
                  <c:v>43158</c:v>
                </c:pt>
                <c:pt idx="484">
                  <c:v>43157</c:v>
                </c:pt>
                <c:pt idx="485">
                  <c:v>43156</c:v>
                </c:pt>
                <c:pt idx="486">
                  <c:v>43155</c:v>
                </c:pt>
                <c:pt idx="487">
                  <c:v>43154</c:v>
                </c:pt>
                <c:pt idx="488">
                  <c:v>43153</c:v>
                </c:pt>
                <c:pt idx="489">
                  <c:v>43152</c:v>
                </c:pt>
                <c:pt idx="490">
                  <c:v>43151</c:v>
                </c:pt>
                <c:pt idx="491">
                  <c:v>43150</c:v>
                </c:pt>
                <c:pt idx="492">
                  <c:v>43149</c:v>
                </c:pt>
                <c:pt idx="493">
                  <c:v>43148</c:v>
                </c:pt>
                <c:pt idx="494">
                  <c:v>43147</c:v>
                </c:pt>
                <c:pt idx="495">
                  <c:v>43146</c:v>
                </c:pt>
                <c:pt idx="496">
                  <c:v>43145</c:v>
                </c:pt>
                <c:pt idx="497">
                  <c:v>43144</c:v>
                </c:pt>
                <c:pt idx="498">
                  <c:v>43143</c:v>
                </c:pt>
                <c:pt idx="499">
                  <c:v>43142</c:v>
                </c:pt>
                <c:pt idx="500">
                  <c:v>43141</c:v>
                </c:pt>
                <c:pt idx="501">
                  <c:v>43140</c:v>
                </c:pt>
                <c:pt idx="502">
                  <c:v>43139</c:v>
                </c:pt>
                <c:pt idx="503">
                  <c:v>43138</c:v>
                </c:pt>
                <c:pt idx="504">
                  <c:v>43137</c:v>
                </c:pt>
                <c:pt idx="505">
                  <c:v>43136</c:v>
                </c:pt>
                <c:pt idx="506">
                  <c:v>43135</c:v>
                </c:pt>
                <c:pt idx="507">
                  <c:v>43134</c:v>
                </c:pt>
                <c:pt idx="508">
                  <c:v>43133</c:v>
                </c:pt>
                <c:pt idx="509">
                  <c:v>43132</c:v>
                </c:pt>
                <c:pt idx="510">
                  <c:v>43131</c:v>
                </c:pt>
                <c:pt idx="511">
                  <c:v>43130</c:v>
                </c:pt>
                <c:pt idx="512">
                  <c:v>43129</c:v>
                </c:pt>
                <c:pt idx="513">
                  <c:v>43128</c:v>
                </c:pt>
                <c:pt idx="514">
                  <c:v>43127</c:v>
                </c:pt>
                <c:pt idx="515">
                  <c:v>43126</c:v>
                </c:pt>
                <c:pt idx="516">
                  <c:v>43125</c:v>
                </c:pt>
                <c:pt idx="517">
                  <c:v>43124</c:v>
                </c:pt>
                <c:pt idx="518">
                  <c:v>43123</c:v>
                </c:pt>
                <c:pt idx="519">
                  <c:v>43122</c:v>
                </c:pt>
                <c:pt idx="520">
                  <c:v>43121</c:v>
                </c:pt>
                <c:pt idx="521">
                  <c:v>43120</c:v>
                </c:pt>
                <c:pt idx="522">
                  <c:v>43119</c:v>
                </c:pt>
                <c:pt idx="523">
                  <c:v>43118</c:v>
                </c:pt>
                <c:pt idx="524">
                  <c:v>43117</c:v>
                </c:pt>
                <c:pt idx="525">
                  <c:v>43116</c:v>
                </c:pt>
                <c:pt idx="526">
                  <c:v>43115</c:v>
                </c:pt>
                <c:pt idx="527">
                  <c:v>43114</c:v>
                </c:pt>
                <c:pt idx="528">
                  <c:v>43113</c:v>
                </c:pt>
                <c:pt idx="529">
                  <c:v>43112</c:v>
                </c:pt>
                <c:pt idx="530">
                  <c:v>43111</c:v>
                </c:pt>
                <c:pt idx="531">
                  <c:v>43110</c:v>
                </c:pt>
                <c:pt idx="532">
                  <c:v>43109</c:v>
                </c:pt>
                <c:pt idx="533">
                  <c:v>43108</c:v>
                </c:pt>
                <c:pt idx="534">
                  <c:v>43107</c:v>
                </c:pt>
                <c:pt idx="535">
                  <c:v>43106</c:v>
                </c:pt>
                <c:pt idx="536">
                  <c:v>43105</c:v>
                </c:pt>
                <c:pt idx="537">
                  <c:v>43104</c:v>
                </c:pt>
                <c:pt idx="538">
                  <c:v>43103</c:v>
                </c:pt>
                <c:pt idx="539">
                  <c:v>43102</c:v>
                </c:pt>
                <c:pt idx="540">
                  <c:v>43101</c:v>
                </c:pt>
                <c:pt idx="541">
                  <c:v>43100</c:v>
                </c:pt>
                <c:pt idx="542">
                  <c:v>43099</c:v>
                </c:pt>
                <c:pt idx="543">
                  <c:v>43098</c:v>
                </c:pt>
                <c:pt idx="544">
                  <c:v>43097</c:v>
                </c:pt>
                <c:pt idx="545">
                  <c:v>43096</c:v>
                </c:pt>
                <c:pt idx="546">
                  <c:v>43095</c:v>
                </c:pt>
                <c:pt idx="547">
                  <c:v>43094</c:v>
                </c:pt>
                <c:pt idx="548">
                  <c:v>43093</c:v>
                </c:pt>
                <c:pt idx="549">
                  <c:v>43092</c:v>
                </c:pt>
                <c:pt idx="550">
                  <c:v>43091</c:v>
                </c:pt>
                <c:pt idx="551">
                  <c:v>43090</c:v>
                </c:pt>
                <c:pt idx="552">
                  <c:v>43089</c:v>
                </c:pt>
                <c:pt idx="553">
                  <c:v>43088</c:v>
                </c:pt>
                <c:pt idx="554">
                  <c:v>43087</c:v>
                </c:pt>
                <c:pt idx="555">
                  <c:v>43086</c:v>
                </c:pt>
                <c:pt idx="556">
                  <c:v>43085</c:v>
                </c:pt>
                <c:pt idx="557">
                  <c:v>43084</c:v>
                </c:pt>
                <c:pt idx="558">
                  <c:v>43083</c:v>
                </c:pt>
                <c:pt idx="559">
                  <c:v>43082</c:v>
                </c:pt>
                <c:pt idx="560">
                  <c:v>43081</c:v>
                </c:pt>
                <c:pt idx="561">
                  <c:v>43080</c:v>
                </c:pt>
                <c:pt idx="562">
                  <c:v>43079</c:v>
                </c:pt>
                <c:pt idx="563">
                  <c:v>43078</c:v>
                </c:pt>
                <c:pt idx="564">
                  <c:v>43077</c:v>
                </c:pt>
                <c:pt idx="565">
                  <c:v>43076</c:v>
                </c:pt>
                <c:pt idx="566">
                  <c:v>43075</c:v>
                </c:pt>
                <c:pt idx="567">
                  <c:v>43074</c:v>
                </c:pt>
                <c:pt idx="568">
                  <c:v>43073</c:v>
                </c:pt>
                <c:pt idx="569">
                  <c:v>43072</c:v>
                </c:pt>
                <c:pt idx="570">
                  <c:v>43071</c:v>
                </c:pt>
                <c:pt idx="571">
                  <c:v>43070</c:v>
                </c:pt>
                <c:pt idx="572">
                  <c:v>43069</c:v>
                </c:pt>
                <c:pt idx="573">
                  <c:v>43068</c:v>
                </c:pt>
                <c:pt idx="574">
                  <c:v>43067</c:v>
                </c:pt>
                <c:pt idx="575">
                  <c:v>43066</c:v>
                </c:pt>
                <c:pt idx="576">
                  <c:v>43065</c:v>
                </c:pt>
                <c:pt idx="577">
                  <c:v>43064</c:v>
                </c:pt>
                <c:pt idx="578">
                  <c:v>43063</c:v>
                </c:pt>
                <c:pt idx="579">
                  <c:v>43062</c:v>
                </c:pt>
                <c:pt idx="580">
                  <c:v>43061</c:v>
                </c:pt>
                <c:pt idx="581">
                  <c:v>43060</c:v>
                </c:pt>
                <c:pt idx="582">
                  <c:v>43059</c:v>
                </c:pt>
                <c:pt idx="583">
                  <c:v>43058</c:v>
                </c:pt>
                <c:pt idx="584">
                  <c:v>43057</c:v>
                </c:pt>
                <c:pt idx="585">
                  <c:v>43056</c:v>
                </c:pt>
                <c:pt idx="586">
                  <c:v>43055</c:v>
                </c:pt>
                <c:pt idx="587">
                  <c:v>43054</c:v>
                </c:pt>
                <c:pt idx="588">
                  <c:v>43053</c:v>
                </c:pt>
                <c:pt idx="589">
                  <c:v>43052</c:v>
                </c:pt>
                <c:pt idx="590">
                  <c:v>43051</c:v>
                </c:pt>
                <c:pt idx="591">
                  <c:v>43050</c:v>
                </c:pt>
                <c:pt idx="592">
                  <c:v>43049</c:v>
                </c:pt>
                <c:pt idx="593">
                  <c:v>43048</c:v>
                </c:pt>
                <c:pt idx="594">
                  <c:v>43047</c:v>
                </c:pt>
                <c:pt idx="595">
                  <c:v>43046</c:v>
                </c:pt>
                <c:pt idx="596">
                  <c:v>43045</c:v>
                </c:pt>
                <c:pt idx="597">
                  <c:v>43044</c:v>
                </c:pt>
                <c:pt idx="598">
                  <c:v>43043</c:v>
                </c:pt>
                <c:pt idx="599">
                  <c:v>43042</c:v>
                </c:pt>
                <c:pt idx="600">
                  <c:v>43041</c:v>
                </c:pt>
                <c:pt idx="601">
                  <c:v>43040</c:v>
                </c:pt>
                <c:pt idx="602">
                  <c:v>43039</c:v>
                </c:pt>
                <c:pt idx="603">
                  <c:v>43038</c:v>
                </c:pt>
                <c:pt idx="604">
                  <c:v>43037</c:v>
                </c:pt>
                <c:pt idx="605">
                  <c:v>43036</c:v>
                </c:pt>
                <c:pt idx="606">
                  <c:v>43035</c:v>
                </c:pt>
                <c:pt idx="607">
                  <c:v>43034</c:v>
                </c:pt>
                <c:pt idx="608">
                  <c:v>43033</c:v>
                </c:pt>
                <c:pt idx="609">
                  <c:v>43032</c:v>
                </c:pt>
                <c:pt idx="610">
                  <c:v>43031</c:v>
                </c:pt>
                <c:pt idx="611">
                  <c:v>43030</c:v>
                </c:pt>
                <c:pt idx="612">
                  <c:v>43029</c:v>
                </c:pt>
                <c:pt idx="613">
                  <c:v>43028</c:v>
                </c:pt>
                <c:pt idx="614">
                  <c:v>43027</c:v>
                </c:pt>
                <c:pt idx="615">
                  <c:v>43026</c:v>
                </c:pt>
                <c:pt idx="616">
                  <c:v>43025</c:v>
                </c:pt>
                <c:pt idx="617">
                  <c:v>43024</c:v>
                </c:pt>
                <c:pt idx="618">
                  <c:v>43023</c:v>
                </c:pt>
                <c:pt idx="619">
                  <c:v>43022</c:v>
                </c:pt>
                <c:pt idx="620">
                  <c:v>43021</c:v>
                </c:pt>
                <c:pt idx="621">
                  <c:v>43020</c:v>
                </c:pt>
                <c:pt idx="622">
                  <c:v>43019</c:v>
                </c:pt>
                <c:pt idx="623">
                  <c:v>43018</c:v>
                </c:pt>
                <c:pt idx="624">
                  <c:v>43017</c:v>
                </c:pt>
                <c:pt idx="625">
                  <c:v>43016</c:v>
                </c:pt>
                <c:pt idx="626">
                  <c:v>43015</c:v>
                </c:pt>
                <c:pt idx="627">
                  <c:v>43014</c:v>
                </c:pt>
                <c:pt idx="628">
                  <c:v>43013</c:v>
                </c:pt>
                <c:pt idx="629">
                  <c:v>43012</c:v>
                </c:pt>
                <c:pt idx="630">
                  <c:v>43011</c:v>
                </c:pt>
                <c:pt idx="631">
                  <c:v>43010</c:v>
                </c:pt>
                <c:pt idx="632">
                  <c:v>43009</c:v>
                </c:pt>
                <c:pt idx="633">
                  <c:v>43008</c:v>
                </c:pt>
                <c:pt idx="634">
                  <c:v>43007</c:v>
                </c:pt>
                <c:pt idx="635">
                  <c:v>43006</c:v>
                </c:pt>
                <c:pt idx="636">
                  <c:v>43005</c:v>
                </c:pt>
                <c:pt idx="637">
                  <c:v>43004</c:v>
                </c:pt>
                <c:pt idx="638">
                  <c:v>43003</c:v>
                </c:pt>
                <c:pt idx="639">
                  <c:v>43002</c:v>
                </c:pt>
                <c:pt idx="640">
                  <c:v>43001</c:v>
                </c:pt>
                <c:pt idx="641">
                  <c:v>43000</c:v>
                </c:pt>
                <c:pt idx="642">
                  <c:v>42999</c:v>
                </c:pt>
                <c:pt idx="643">
                  <c:v>42998</c:v>
                </c:pt>
                <c:pt idx="644">
                  <c:v>42997</c:v>
                </c:pt>
                <c:pt idx="645">
                  <c:v>42996</c:v>
                </c:pt>
                <c:pt idx="646">
                  <c:v>42995</c:v>
                </c:pt>
                <c:pt idx="647">
                  <c:v>42994</c:v>
                </c:pt>
                <c:pt idx="648">
                  <c:v>42993</c:v>
                </c:pt>
                <c:pt idx="649">
                  <c:v>42992</c:v>
                </c:pt>
                <c:pt idx="650">
                  <c:v>42991</c:v>
                </c:pt>
                <c:pt idx="651">
                  <c:v>42990</c:v>
                </c:pt>
                <c:pt idx="652">
                  <c:v>42989</c:v>
                </c:pt>
                <c:pt idx="653">
                  <c:v>42988</c:v>
                </c:pt>
                <c:pt idx="654">
                  <c:v>42987</c:v>
                </c:pt>
                <c:pt idx="655">
                  <c:v>42986</c:v>
                </c:pt>
                <c:pt idx="656">
                  <c:v>42985</c:v>
                </c:pt>
                <c:pt idx="657">
                  <c:v>42984</c:v>
                </c:pt>
                <c:pt idx="658">
                  <c:v>42983</c:v>
                </c:pt>
                <c:pt idx="659">
                  <c:v>42982</c:v>
                </c:pt>
                <c:pt idx="660">
                  <c:v>42981</c:v>
                </c:pt>
                <c:pt idx="661">
                  <c:v>42980</c:v>
                </c:pt>
                <c:pt idx="662">
                  <c:v>42979</c:v>
                </c:pt>
                <c:pt idx="663">
                  <c:v>42978</c:v>
                </c:pt>
                <c:pt idx="664">
                  <c:v>42977</c:v>
                </c:pt>
                <c:pt idx="665">
                  <c:v>42976</c:v>
                </c:pt>
                <c:pt idx="666">
                  <c:v>42975</c:v>
                </c:pt>
                <c:pt idx="667">
                  <c:v>42974</c:v>
                </c:pt>
                <c:pt idx="668">
                  <c:v>42973</c:v>
                </c:pt>
                <c:pt idx="669">
                  <c:v>42972</c:v>
                </c:pt>
                <c:pt idx="670">
                  <c:v>42971</c:v>
                </c:pt>
                <c:pt idx="671">
                  <c:v>42970</c:v>
                </c:pt>
                <c:pt idx="672">
                  <c:v>42969</c:v>
                </c:pt>
                <c:pt idx="673">
                  <c:v>42968</c:v>
                </c:pt>
                <c:pt idx="674">
                  <c:v>42967</c:v>
                </c:pt>
                <c:pt idx="675">
                  <c:v>42966</c:v>
                </c:pt>
                <c:pt idx="676">
                  <c:v>42965</c:v>
                </c:pt>
                <c:pt idx="677">
                  <c:v>42964</c:v>
                </c:pt>
                <c:pt idx="678">
                  <c:v>42963</c:v>
                </c:pt>
                <c:pt idx="679">
                  <c:v>42962</c:v>
                </c:pt>
                <c:pt idx="680">
                  <c:v>42961</c:v>
                </c:pt>
                <c:pt idx="681">
                  <c:v>42960</c:v>
                </c:pt>
                <c:pt idx="682">
                  <c:v>42959</c:v>
                </c:pt>
                <c:pt idx="683">
                  <c:v>42958</c:v>
                </c:pt>
                <c:pt idx="684">
                  <c:v>42957</c:v>
                </c:pt>
                <c:pt idx="685">
                  <c:v>42956</c:v>
                </c:pt>
                <c:pt idx="686">
                  <c:v>42955</c:v>
                </c:pt>
                <c:pt idx="687">
                  <c:v>42954</c:v>
                </c:pt>
                <c:pt idx="688">
                  <c:v>42953</c:v>
                </c:pt>
                <c:pt idx="689">
                  <c:v>42952</c:v>
                </c:pt>
                <c:pt idx="690">
                  <c:v>42951</c:v>
                </c:pt>
                <c:pt idx="691">
                  <c:v>42950</c:v>
                </c:pt>
                <c:pt idx="692">
                  <c:v>42949</c:v>
                </c:pt>
                <c:pt idx="693">
                  <c:v>42948</c:v>
                </c:pt>
                <c:pt idx="694">
                  <c:v>42947</c:v>
                </c:pt>
                <c:pt idx="695">
                  <c:v>42946</c:v>
                </c:pt>
                <c:pt idx="696">
                  <c:v>42945</c:v>
                </c:pt>
                <c:pt idx="697">
                  <c:v>42944</c:v>
                </c:pt>
                <c:pt idx="698">
                  <c:v>42943</c:v>
                </c:pt>
                <c:pt idx="699">
                  <c:v>42942</c:v>
                </c:pt>
                <c:pt idx="700">
                  <c:v>42941</c:v>
                </c:pt>
                <c:pt idx="701">
                  <c:v>42940</c:v>
                </c:pt>
                <c:pt idx="702">
                  <c:v>42939</c:v>
                </c:pt>
                <c:pt idx="703">
                  <c:v>42938</c:v>
                </c:pt>
                <c:pt idx="704">
                  <c:v>42937</c:v>
                </c:pt>
                <c:pt idx="705">
                  <c:v>42936</c:v>
                </c:pt>
                <c:pt idx="706">
                  <c:v>42935</c:v>
                </c:pt>
                <c:pt idx="707">
                  <c:v>42934</c:v>
                </c:pt>
                <c:pt idx="708">
                  <c:v>42933</c:v>
                </c:pt>
                <c:pt idx="709">
                  <c:v>42932</c:v>
                </c:pt>
                <c:pt idx="710">
                  <c:v>42931</c:v>
                </c:pt>
                <c:pt idx="711">
                  <c:v>42930</c:v>
                </c:pt>
                <c:pt idx="712">
                  <c:v>42929</c:v>
                </c:pt>
                <c:pt idx="713">
                  <c:v>42928</c:v>
                </c:pt>
                <c:pt idx="714">
                  <c:v>42927</c:v>
                </c:pt>
                <c:pt idx="715">
                  <c:v>42926</c:v>
                </c:pt>
                <c:pt idx="716">
                  <c:v>42925</c:v>
                </c:pt>
                <c:pt idx="717">
                  <c:v>42924</c:v>
                </c:pt>
                <c:pt idx="718">
                  <c:v>42923</c:v>
                </c:pt>
                <c:pt idx="719">
                  <c:v>42922</c:v>
                </c:pt>
                <c:pt idx="720">
                  <c:v>42921</c:v>
                </c:pt>
                <c:pt idx="721">
                  <c:v>42920</c:v>
                </c:pt>
                <c:pt idx="722">
                  <c:v>42919</c:v>
                </c:pt>
                <c:pt idx="723">
                  <c:v>42918</c:v>
                </c:pt>
                <c:pt idx="724">
                  <c:v>42917</c:v>
                </c:pt>
                <c:pt idx="725">
                  <c:v>42916</c:v>
                </c:pt>
                <c:pt idx="726">
                  <c:v>42915</c:v>
                </c:pt>
                <c:pt idx="727">
                  <c:v>42914</c:v>
                </c:pt>
                <c:pt idx="728">
                  <c:v>42913</c:v>
                </c:pt>
                <c:pt idx="729">
                  <c:v>42912</c:v>
                </c:pt>
                <c:pt idx="730">
                  <c:v>42911</c:v>
                </c:pt>
                <c:pt idx="731">
                  <c:v>42910</c:v>
                </c:pt>
                <c:pt idx="732">
                  <c:v>42909</c:v>
                </c:pt>
                <c:pt idx="733">
                  <c:v>42908</c:v>
                </c:pt>
                <c:pt idx="734">
                  <c:v>42907</c:v>
                </c:pt>
                <c:pt idx="735">
                  <c:v>42906</c:v>
                </c:pt>
                <c:pt idx="736">
                  <c:v>42905</c:v>
                </c:pt>
                <c:pt idx="737">
                  <c:v>42904</c:v>
                </c:pt>
                <c:pt idx="738">
                  <c:v>42903</c:v>
                </c:pt>
                <c:pt idx="739">
                  <c:v>42902</c:v>
                </c:pt>
                <c:pt idx="740">
                  <c:v>42901</c:v>
                </c:pt>
                <c:pt idx="741">
                  <c:v>42900</c:v>
                </c:pt>
                <c:pt idx="742">
                  <c:v>42899</c:v>
                </c:pt>
                <c:pt idx="743">
                  <c:v>42898</c:v>
                </c:pt>
                <c:pt idx="744">
                  <c:v>42897</c:v>
                </c:pt>
                <c:pt idx="745">
                  <c:v>42896</c:v>
                </c:pt>
                <c:pt idx="746">
                  <c:v>42895</c:v>
                </c:pt>
                <c:pt idx="747">
                  <c:v>42894</c:v>
                </c:pt>
                <c:pt idx="748">
                  <c:v>42893</c:v>
                </c:pt>
                <c:pt idx="749">
                  <c:v>42892</c:v>
                </c:pt>
                <c:pt idx="750">
                  <c:v>42891</c:v>
                </c:pt>
                <c:pt idx="751">
                  <c:v>42890</c:v>
                </c:pt>
                <c:pt idx="752">
                  <c:v>42889</c:v>
                </c:pt>
                <c:pt idx="753">
                  <c:v>42888</c:v>
                </c:pt>
                <c:pt idx="754">
                  <c:v>42887</c:v>
                </c:pt>
                <c:pt idx="755">
                  <c:v>42886</c:v>
                </c:pt>
                <c:pt idx="756">
                  <c:v>42885</c:v>
                </c:pt>
                <c:pt idx="757">
                  <c:v>42884</c:v>
                </c:pt>
                <c:pt idx="758">
                  <c:v>42883</c:v>
                </c:pt>
                <c:pt idx="759">
                  <c:v>42882</c:v>
                </c:pt>
                <c:pt idx="760">
                  <c:v>42881</c:v>
                </c:pt>
                <c:pt idx="761">
                  <c:v>42880</c:v>
                </c:pt>
                <c:pt idx="762">
                  <c:v>42879</c:v>
                </c:pt>
                <c:pt idx="763">
                  <c:v>42878</c:v>
                </c:pt>
                <c:pt idx="764">
                  <c:v>42877</c:v>
                </c:pt>
                <c:pt idx="765">
                  <c:v>42876</c:v>
                </c:pt>
                <c:pt idx="766">
                  <c:v>42875</c:v>
                </c:pt>
                <c:pt idx="767">
                  <c:v>42874</c:v>
                </c:pt>
                <c:pt idx="768">
                  <c:v>42873</c:v>
                </c:pt>
                <c:pt idx="769">
                  <c:v>42872</c:v>
                </c:pt>
                <c:pt idx="770">
                  <c:v>42871</c:v>
                </c:pt>
                <c:pt idx="771">
                  <c:v>42870</c:v>
                </c:pt>
                <c:pt idx="772">
                  <c:v>42869</c:v>
                </c:pt>
                <c:pt idx="773">
                  <c:v>42868</c:v>
                </c:pt>
                <c:pt idx="774">
                  <c:v>42867</c:v>
                </c:pt>
                <c:pt idx="775">
                  <c:v>42866</c:v>
                </c:pt>
                <c:pt idx="776">
                  <c:v>42865</c:v>
                </c:pt>
                <c:pt idx="777">
                  <c:v>42864</c:v>
                </c:pt>
                <c:pt idx="778">
                  <c:v>42863</c:v>
                </c:pt>
                <c:pt idx="779">
                  <c:v>42862</c:v>
                </c:pt>
                <c:pt idx="780">
                  <c:v>42861</c:v>
                </c:pt>
                <c:pt idx="781">
                  <c:v>42860</c:v>
                </c:pt>
                <c:pt idx="782">
                  <c:v>42859</c:v>
                </c:pt>
                <c:pt idx="783">
                  <c:v>42858</c:v>
                </c:pt>
                <c:pt idx="784">
                  <c:v>42857</c:v>
                </c:pt>
                <c:pt idx="785">
                  <c:v>42856</c:v>
                </c:pt>
                <c:pt idx="786">
                  <c:v>42855</c:v>
                </c:pt>
                <c:pt idx="787">
                  <c:v>42854</c:v>
                </c:pt>
                <c:pt idx="788">
                  <c:v>42853</c:v>
                </c:pt>
                <c:pt idx="789">
                  <c:v>42852</c:v>
                </c:pt>
                <c:pt idx="790">
                  <c:v>42851</c:v>
                </c:pt>
                <c:pt idx="791">
                  <c:v>42850</c:v>
                </c:pt>
                <c:pt idx="792">
                  <c:v>42849</c:v>
                </c:pt>
                <c:pt idx="793">
                  <c:v>42848</c:v>
                </c:pt>
                <c:pt idx="794">
                  <c:v>42847</c:v>
                </c:pt>
                <c:pt idx="795">
                  <c:v>42846</c:v>
                </c:pt>
                <c:pt idx="796">
                  <c:v>42845</c:v>
                </c:pt>
                <c:pt idx="797">
                  <c:v>42844</c:v>
                </c:pt>
                <c:pt idx="798">
                  <c:v>42843</c:v>
                </c:pt>
                <c:pt idx="799">
                  <c:v>42842</c:v>
                </c:pt>
                <c:pt idx="800">
                  <c:v>42841</c:v>
                </c:pt>
                <c:pt idx="801">
                  <c:v>42840</c:v>
                </c:pt>
                <c:pt idx="802">
                  <c:v>42839</c:v>
                </c:pt>
                <c:pt idx="803">
                  <c:v>42838</c:v>
                </c:pt>
                <c:pt idx="804">
                  <c:v>42837</c:v>
                </c:pt>
                <c:pt idx="805">
                  <c:v>42836</c:v>
                </c:pt>
                <c:pt idx="806">
                  <c:v>42835</c:v>
                </c:pt>
                <c:pt idx="807">
                  <c:v>42834</c:v>
                </c:pt>
                <c:pt idx="808">
                  <c:v>42833</c:v>
                </c:pt>
                <c:pt idx="809">
                  <c:v>42832</c:v>
                </c:pt>
                <c:pt idx="810">
                  <c:v>42831</c:v>
                </c:pt>
                <c:pt idx="811">
                  <c:v>42830</c:v>
                </c:pt>
                <c:pt idx="812">
                  <c:v>42829</c:v>
                </c:pt>
                <c:pt idx="813">
                  <c:v>42828</c:v>
                </c:pt>
                <c:pt idx="814">
                  <c:v>42827</c:v>
                </c:pt>
                <c:pt idx="815">
                  <c:v>42826</c:v>
                </c:pt>
                <c:pt idx="816">
                  <c:v>42825</c:v>
                </c:pt>
                <c:pt idx="817">
                  <c:v>42824</c:v>
                </c:pt>
                <c:pt idx="818">
                  <c:v>42823</c:v>
                </c:pt>
                <c:pt idx="819">
                  <c:v>42822</c:v>
                </c:pt>
                <c:pt idx="820">
                  <c:v>42821</c:v>
                </c:pt>
                <c:pt idx="821">
                  <c:v>42820</c:v>
                </c:pt>
                <c:pt idx="822">
                  <c:v>42819</c:v>
                </c:pt>
                <c:pt idx="823">
                  <c:v>42818</c:v>
                </c:pt>
                <c:pt idx="824">
                  <c:v>42817</c:v>
                </c:pt>
                <c:pt idx="825">
                  <c:v>42816</c:v>
                </c:pt>
                <c:pt idx="826">
                  <c:v>42815</c:v>
                </c:pt>
                <c:pt idx="827">
                  <c:v>42814</c:v>
                </c:pt>
                <c:pt idx="828">
                  <c:v>42813</c:v>
                </c:pt>
                <c:pt idx="829">
                  <c:v>42812</c:v>
                </c:pt>
                <c:pt idx="830">
                  <c:v>42811</c:v>
                </c:pt>
                <c:pt idx="831">
                  <c:v>42810</c:v>
                </c:pt>
                <c:pt idx="832">
                  <c:v>42809</c:v>
                </c:pt>
                <c:pt idx="833">
                  <c:v>42808</c:v>
                </c:pt>
                <c:pt idx="834">
                  <c:v>42807</c:v>
                </c:pt>
                <c:pt idx="835">
                  <c:v>42806</c:v>
                </c:pt>
                <c:pt idx="836">
                  <c:v>42805</c:v>
                </c:pt>
                <c:pt idx="837">
                  <c:v>42804</c:v>
                </c:pt>
                <c:pt idx="838">
                  <c:v>42803</c:v>
                </c:pt>
                <c:pt idx="839">
                  <c:v>42802</c:v>
                </c:pt>
                <c:pt idx="840">
                  <c:v>42801</c:v>
                </c:pt>
                <c:pt idx="841">
                  <c:v>42800</c:v>
                </c:pt>
                <c:pt idx="842">
                  <c:v>42799</c:v>
                </c:pt>
                <c:pt idx="843">
                  <c:v>42798</c:v>
                </c:pt>
                <c:pt idx="844">
                  <c:v>42797</c:v>
                </c:pt>
                <c:pt idx="845">
                  <c:v>42796</c:v>
                </c:pt>
                <c:pt idx="846">
                  <c:v>42795</c:v>
                </c:pt>
                <c:pt idx="847">
                  <c:v>42794</c:v>
                </c:pt>
                <c:pt idx="848">
                  <c:v>42793</c:v>
                </c:pt>
                <c:pt idx="849">
                  <c:v>42792</c:v>
                </c:pt>
                <c:pt idx="850">
                  <c:v>42791</c:v>
                </c:pt>
                <c:pt idx="851">
                  <c:v>42790</c:v>
                </c:pt>
                <c:pt idx="852">
                  <c:v>42789</c:v>
                </c:pt>
                <c:pt idx="853">
                  <c:v>42788</c:v>
                </c:pt>
                <c:pt idx="854">
                  <c:v>42787</c:v>
                </c:pt>
                <c:pt idx="855">
                  <c:v>42786</c:v>
                </c:pt>
                <c:pt idx="856">
                  <c:v>42785</c:v>
                </c:pt>
                <c:pt idx="857">
                  <c:v>42784</c:v>
                </c:pt>
                <c:pt idx="858">
                  <c:v>42783</c:v>
                </c:pt>
                <c:pt idx="859">
                  <c:v>42782</c:v>
                </c:pt>
                <c:pt idx="860">
                  <c:v>42781</c:v>
                </c:pt>
                <c:pt idx="861">
                  <c:v>42780</c:v>
                </c:pt>
                <c:pt idx="862">
                  <c:v>42779</c:v>
                </c:pt>
                <c:pt idx="863">
                  <c:v>42778</c:v>
                </c:pt>
                <c:pt idx="864">
                  <c:v>42777</c:v>
                </c:pt>
                <c:pt idx="865">
                  <c:v>42776</c:v>
                </c:pt>
                <c:pt idx="866">
                  <c:v>42775</c:v>
                </c:pt>
                <c:pt idx="867">
                  <c:v>42774</c:v>
                </c:pt>
                <c:pt idx="868">
                  <c:v>42773</c:v>
                </c:pt>
                <c:pt idx="869">
                  <c:v>42772</c:v>
                </c:pt>
                <c:pt idx="870">
                  <c:v>42771</c:v>
                </c:pt>
                <c:pt idx="871">
                  <c:v>42770</c:v>
                </c:pt>
                <c:pt idx="872">
                  <c:v>42769</c:v>
                </c:pt>
                <c:pt idx="873">
                  <c:v>42768</c:v>
                </c:pt>
                <c:pt idx="874">
                  <c:v>42767</c:v>
                </c:pt>
                <c:pt idx="875">
                  <c:v>42766</c:v>
                </c:pt>
                <c:pt idx="876">
                  <c:v>42765</c:v>
                </c:pt>
                <c:pt idx="877">
                  <c:v>42764</c:v>
                </c:pt>
                <c:pt idx="878">
                  <c:v>42763</c:v>
                </c:pt>
                <c:pt idx="879">
                  <c:v>42762</c:v>
                </c:pt>
                <c:pt idx="880">
                  <c:v>42761</c:v>
                </c:pt>
                <c:pt idx="881">
                  <c:v>42760</c:v>
                </c:pt>
                <c:pt idx="882">
                  <c:v>42759</c:v>
                </c:pt>
                <c:pt idx="883">
                  <c:v>42758</c:v>
                </c:pt>
                <c:pt idx="884">
                  <c:v>42757</c:v>
                </c:pt>
                <c:pt idx="885">
                  <c:v>42756</c:v>
                </c:pt>
                <c:pt idx="886">
                  <c:v>42755</c:v>
                </c:pt>
                <c:pt idx="887">
                  <c:v>42754</c:v>
                </c:pt>
                <c:pt idx="888">
                  <c:v>42753</c:v>
                </c:pt>
                <c:pt idx="889">
                  <c:v>42752</c:v>
                </c:pt>
                <c:pt idx="890">
                  <c:v>42751</c:v>
                </c:pt>
                <c:pt idx="891">
                  <c:v>42750</c:v>
                </c:pt>
                <c:pt idx="892">
                  <c:v>42749</c:v>
                </c:pt>
                <c:pt idx="893">
                  <c:v>42748</c:v>
                </c:pt>
                <c:pt idx="894">
                  <c:v>42747</c:v>
                </c:pt>
                <c:pt idx="895">
                  <c:v>42746</c:v>
                </c:pt>
                <c:pt idx="896">
                  <c:v>42745</c:v>
                </c:pt>
                <c:pt idx="897">
                  <c:v>42744</c:v>
                </c:pt>
                <c:pt idx="898">
                  <c:v>42743</c:v>
                </c:pt>
                <c:pt idx="899">
                  <c:v>42742</c:v>
                </c:pt>
                <c:pt idx="900">
                  <c:v>42741</c:v>
                </c:pt>
                <c:pt idx="901">
                  <c:v>42740</c:v>
                </c:pt>
                <c:pt idx="902">
                  <c:v>42739</c:v>
                </c:pt>
                <c:pt idx="903">
                  <c:v>42738</c:v>
                </c:pt>
                <c:pt idx="904">
                  <c:v>42737</c:v>
                </c:pt>
                <c:pt idx="905">
                  <c:v>42736</c:v>
                </c:pt>
                <c:pt idx="906">
                  <c:v>42735</c:v>
                </c:pt>
                <c:pt idx="907">
                  <c:v>42734</c:v>
                </c:pt>
                <c:pt idx="908">
                  <c:v>42733</c:v>
                </c:pt>
                <c:pt idx="909">
                  <c:v>42732</c:v>
                </c:pt>
                <c:pt idx="910">
                  <c:v>42731</c:v>
                </c:pt>
                <c:pt idx="911">
                  <c:v>42730</c:v>
                </c:pt>
                <c:pt idx="912">
                  <c:v>42729</c:v>
                </c:pt>
                <c:pt idx="913">
                  <c:v>42728</c:v>
                </c:pt>
                <c:pt idx="914">
                  <c:v>42727</c:v>
                </c:pt>
                <c:pt idx="915">
                  <c:v>42726</c:v>
                </c:pt>
                <c:pt idx="916">
                  <c:v>42725</c:v>
                </c:pt>
                <c:pt idx="917">
                  <c:v>42724</c:v>
                </c:pt>
                <c:pt idx="918">
                  <c:v>42723</c:v>
                </c:pt>
                <c:pt idx="919">
                  <c:v>42722</c:v>
                </c:pt>
                <c:pt idx="920">
                  <c:v>42721</c:v>
                </c:pt>
                <c:pt idx="921">
                  <c:v>42720</c:v>
                </c:pt>
                <c:pt idx="922">
                  <c:v>42719</c:v>
                </c:pt>
                <c:pt idx="923">
                  <c:v>42718</c:v>
                </c:pt>
                <c:pt idx="924">
                  <c:v>42717</c:v>
                </c:pt>
                <c:pt idx="925">
                  <c:v>42716</c:v>
                </c:pt>
                <c:pt idx="926">
                  <c:v>42715</c:v>
                </c:pt>
                <c:pt idx="927">
                  <c:v>42714</c:v>
                </c:pt>
                <c:pt idx="928">
                  <c:v>42713</c:v>
                </c:pt>
                <c:pt idx="929">
                  <c:v>42712</c:v>
                </c:pt>
                <c:pt idx="930">
                  <c:v>42711</c:v>
                </c:pt>
                <c:pt idx="931">
                  <c:v>42710</c:v>
                </c:pt>
                <c:pt idx="932">
                  <c:v>42709</c:v>
                </c:pt>
                <c:pt idx="933">
                  <c:v>42708</c:v>
                </c:pt>
                <c:pt idx="934">
                  <c:v>42707</c:v>
                </c:pt>
                <c:pt idx="935">
                  <c:v>42706</c:v>
                </c:pt>
                <c:pt idx="936">
                  <c:v>42705</c:v>
                </c:pt>
                <c:pt idx="937">
                  <c:v>42704</c:v>
                </c:pt>
                <c:pt idx="938">
                  <c:v>42703</c:v>
                </c:pt>
                <c:pt idx="939">
                  <c:v>42702</c:v>
                </c:pt>
                <c:pt idx="940">
                  <c:v>42701</c:v>
                </c:pt>
                <c:pt idx="941">
                  <c:v>42700</c:v>
                </c:pt>
                <c:pt idx="942">
                  <c:v>42699</c:v>
                </c:pt>
                <c:pt idx="943">
                  <c:v>42698</c:v>
                </c:pt>
                <c:pt idx="944">
                  <c:v>42697</c:v>
                </c:pt>
                <c:pt idx="945">
                  <c:v>42696</c:v>
                </c:pt>
                <c:pt idx="946">
                  <c:v>42695</c:v>
                </c:pt>
                <c:pt idx="947">
                  <c:v>42694</c:v>
                </c:pt>
                <c:pt idx="948">
                  <c:v>42693</c:v>
                </c:pt>
                <c:pt idx="949">
                  <c:v>42692</c:v>
                </c:pt>
                <c:pt idx="950">
                  <c:v>42691</c:v>
                </c:pt>
                <c:pt idx="951">
                  <c:v>42690</c:v>
                </c:pt>
                <c:pt idx="952">
                  <c:v>42689</c:v>
                </c:pt>
                <c:pt idx="953">
                  <c:v>42688</c:v>
                </c:pt>
                <c:pt idx="954">
                  <c:v>42687</c:v>
                </c:pt>
                <c:pt idx="955">
                  <c:v>42686</c:v>
                </c:pt>
                <c:pt idx="956">
                  <c:v>42685</c:v>
                </c:pt>
                <c:pt idx="957">
                  <c:v>42684</c:v>
                </c:pt>
                <c:pt idx="958">
                  <c:v>42683</c:v>
                </c:pt>
                <c:pt idx="959">
                  <c:v>42682</c:v>
                </c:pt>
                <c:pt idx="960">
                  <c:v>42681</c:v>
                </c:pt>
                <c:pt idx="961">
                  <c:v>42680</c:v>
                </c:pt>
                <c:pt idx="962">
                  <c:v>42679</c:v>
                </c:pt>
                <c:pt idx="963">
                  <c:v>42678</c:v>
                </c:pt>
                <c:pt idx="964">
                  <c:v>42677</c:v>
                </c:pt>
                <c:pt idx="965">
                  <c:v>42676</c:v>
                </c:pt>
                <c:pt idx="966">
                  <c:v>42675</c:v>
                </c:pt>
                <c:pt idx="967">
                  <c:v>42674</c:v>
                </c:pt>
                <c:pt idx="968">
                  <c:v>42673</c:v>
                </c:pt>
                <c:pt idx="969">
                  <c:v>42672</c:v>
                </c:pt>
                <c:pt idx="970">
                  <c:v>42671</c:v>
                </c:pt>
                <c:pt idx="971">
                  <c:v>42670</c:v>
                </c:pt>
                <c:pt idx="972">
                  <c:v>42669</c:v>
                </c:pt>
                <c:pt idx="973">
                  <c:v>42668</c:v>
                </c:pt>
                <c:pt idx="974">
                  <c:v>42667</c:v>
                </c:pt>
                <c:pt idx="975">
                  <c:v>42666</c:v>
                </c:pt>
                <c:pt idx="976">
                  <c:v>42665</c:v>
                </c:pt>
                <c:pt idx="977">
                  <c:v>42664</c:v>
                </c:pt>
                <c:pt idx="978">
                  <c:v>42663</c:v>
                </c:pt>
                <c:pt idx="979">
                  <c:v>42662</c:v>
                </c:pt>
                <c:pt idx="980">
                  <c:v>42661</c:v>
                </c:pt>
                <c:pt idx="981">
                  <c:v>42660</c:v>
                </c:pt>
                <c:pt idx="982">
                  <c:v>42659</c:v>
                </c:pt>
                <c:pt idx="983">
                  <c:v>42658</c:v>
                </c:pt>
                <c:pt idx="984">
                  <c:v>42657</c:v>
                </c:pt>
                <c:pt idx="985">
                  <c:v>42656</c:v>
                </c:pt>
                <c:pt idx="986">
                  <c:v>42655</c:v>
                </c:pt>
                <c:pt idx="987">
                  <c:v>42654</c:v>
                </c:pt>
                <c:pt idx="988">
                  <c:v>42653</c:v>
                </c:pt>
                <c:pt idx="989">
                  <c:v>42652</c:v>
                </c:pt>
                <c:pt idx="990">
                  <c:v>42651</c:v>
                </c:pt>
                <c:pt idx="991">
                  <c:v>42650</c:v>
                </c:pt>
                <c:pt idx="992">
                  <c:v>42649</c:v>
                </c:pt>
                <c:pt idx="993">
                  <c:v>42648</c:v>
                </c:pt>
                <c:pt idx="994">
                  <c:v>42647</c:v>
                </c:pt>
                <c:pt idx="995">
                  <c:v>42646</c:v>
                </c:pt>
                <c:pt idx="996">
                  <c:v>42645</c:v>
                </c:pt>
                <c:pt idx="997">
                  <c:v>42644</c:v>
                </c:pt>
                <c:pt idx="998">
                  <c:v>42643</c:v>
                </c:pt>
                <c:pt idx="999">
                  <c:v>42642</c:v>
                </c:pt>
                <c:pt idx="1000">
                  <c:v>42641</c:v>
                </c:pt>
                <c:pt idx="1001">
                  <c:v>42640</c:v>
                </c:pt>
                <c:pt idx="1002">
                  <c:v>42639</c:v>
                </c:pt>
                <c:pt idx="1003">
                  <c:v>42638</c:v>
                </c:pt>
                <c:pt idx="1004">
                  <c:v>42637</c:v>
                </c:pt>
                <c:pt idx="1005">
                  <c:v>42636</c:v>
                </c:pt>
                <c:pt idx="1006">
                  <c:v>42635</c:v>
                </c:pt>
                <c:pt idx="1007">
                  <c:v>42634</c:v>
                </c:pt>
                <c:pt idx="1008">
                  <c:v>42633</c:v>
                </c:pt>
                <c:pt idx="1009">
                  <c:v>42632</c:v>
                </c:pt>
                <c:pt idx="1010">
                  <c:v>42631</c:v>
                </c:pt>
                <c:pt idx="1011">
                  <c:v>42630</c:v>
                </c:pt>
                <c:pt idx="1012">
                  <c:v>42629</c:v>
                </c:pt>
                <c:pt idx="1013">
                  <c:v>42628</c:v>
                </c:pt>
                <c:pt idx="1014">
                  <c:v>42627</c:v>
                </c:pt>
                <c:pt idx="1015">
                  <c:v>42626</c:v>
                </c:pt>
                <c:pt idx="1016">
                  <c:v>42625</c:v>
                </c:pt>
                <c:pt idx="1017">
                  <c:v>42624</c:v>
                </c:pt>
                <c:pt idx="1018">
                  <c:v>42623</c:v>
                </c:pt>
                <c:pt idx="1019">
                  <c:v>42622</c:v>
                </c:pt>
                <c:pt idx="1020">
                  <c:v>42621</c:v>
                </c:pt>
                <c:pt idx="1021">
                  <c:v>42620</c:v>
                </c:pt>
                <c:pt idx="1022">
                  <c:v>42619</c:v>
                </c:pt>
                <c:pt idx="1023">
                  <c:v>42618</c:v>
                </c:pt>
                <c:pt idx="1024">
                  <c:v>42617</c:v>
                </c:pt>
                <c:pt idx="1025">
                  <c:v>42616</c:v>
                </c:pt>
                <c:pt idx="1026">
                  <c:v>42615</c:v>
                </c:pt>
                <c:pt idx="1027">
                  <c:v>42614</c:v>
                </c:pt>
                <c:pt idx="1028">
                  <c:v>42613</c:v>
                </c:pt>
                <c:pt idx="1029">
                  <c:v>42612</c:v>
                </c:pt>
                <c:pt idx="1030">
                  <c:v>42611</c:v>
                </c:pt>
                <c:pt idx="1031">
                  <c:v>42610</c:v>
                </c:pt>
                <c:pt idx="1032">
                  <c:v>42609</c:v>
                </c:pt>
                <c:pt idx="1033">
                  <c:v>42608</c:v>
                </c:pt>
                <c:pt idx="1034">
                  <c:v>42607</c:v>
                </c:pt>
                <c:pt idx="1035">
                  <c:v>42606</c:v>
                </c:pt>
                <c:pt idx="1036">
                  <c:v>42605</c:v>
                </c:pt>
                <c:pt idx="1037">
                  <c:v>42604</c:v>
                </c:pt>
                <c:pt idx="1038">
                  <c:v>42603</c:v>
                </c:pt>
                <c:pt idx="1039">
                  <c:v>42602</c:v>
                </c:pt>
                <c:pt idx="1040">
                  <c:v>42601</c:v>
                </c:pt>
                <c:pt idx="1041">
                  <c:v>42600</c:v>
                </c:pt>
                <c:pt idx="1042">
                  <c:v>42599</c:v>
                </c:pt>
                <c:pt idx="1043">
                  <c:v>42598</c:v>
                </c:pt>
                <c:pt idx="1044">
                  <c:v>42597</c:v>
                </c:pt>
                <c:pt idx="1045">
                  <c:v>42596</c:v>
                </c:pt>
                <c:pt idx="1046">
                  <c:v>42595</c:v>
                </c:pt>
                <c:pt idx="1047">
                  <c:v>42594</c:v>
                </c:pt>
                <c:pt idx="1048">
                  <c:v>42593</c:v>
                </c:pt>
                <c:pt idx="1049">
                  <c:v>42592</c:v>
                </c:pt>
                <c:pt idx="1050">
                  <c:v>42591</c:v>
                </c:pt>
                <c:pt idx="1051">
                  <c:v>42590</c:v>
                </c:pt>
                <c:pt idx="1052">
                  <c:v>42589</c:v>
                </c:pt>
                <c:pt idx="1053">
                  <c:v>42588</c:v>
                </c:pt>
                <c:pt idx="1054">
                  <c:v>42587</c:v>
                </c:pt>
                <c:pt idx="1055">
                  <c:v>42586</c:v>
                </c:pt>
                <c:pt idx="1056">
                  <c:v>42585</c:v>
                </c:pt>
                <c:pt idx="1057">
                  <c:v>42584</c:v>
                </c:pt>
                <c:pt idx="1058">
                  <c:v>42583</c:v>
                </c:pt>
                <c:pt idx="1059">
                  <c:v>42582</c:v>
                </c:pt>
                <c:pt idx="1060">
                  <c:v>42581</c:v>
                </c:pt>
                <c:pt idx="1061">
                  <c:v>42580</c:v>
                </c:pt>
                <c:pt idx="1062">
                  <c:v>42579</c:v>
                </c:pt>
                <c:pt idx="1063">
                  <c:v>42578</c:v>
                </c:pt>
                <c:pt idx="1064">
                  <c:v>42577</c:v>
                </c:pt>
                <c:pt idx="1065">
                  <c:v>42576</c:v>
                </c:pt>
                <c:pt idx="1066">
                  <c:v>42575</c:v>
                </c:pt>
                <c:pt idx="1067">
                  <c:v>42574</c:v>
                </c:pt>
                <c:pt idx="1068">
                  <c:v>42573</c:v>
                </c:pt>
                <c:pt idx="1069">
                  <c:v>42572</c:v>
                </c:pt>
                <c:pt idx="1070">
                  <c:v>42571</c:v>
                </c:pt>
                <c:pt idx="1071">
                  <c:v>42570</c:v>
                </c:pt>
                <c:pt idx="1072">
                  <c:v>42569</c:v>
                </c:pt>
                <c:pt idx="1073">
                  <c:v>42568</c:v>
                </c:pt>
                <c:pt idx="1074">
                  <c:v>42567</c:v>
                </c:pt>
                <c:pt idx="1075">
                  <c:v>42566</c:v>
                </c:pt>
                <c:pt idx="1076">
                  <c:v>42565</c:v>
                </c:pt>
                <c:pt idx="1077">
                  <c:v>42564</c:v>
                </c:pt>
                <c:pt idx="1078">
                  <c:v>42563</c:v>
                </c:pt>
                <c:pt idx="1079">
                  <c:v>42562</c:v>
                </c:pt>
                <c:pt idx="1080">
                  <c:v>42561</c:v>
                </c:pt>
                <c:pt idx="1081">
                  <c:v>42560</c:v>
                </c:pt>
                <c:pt idx="1082">
                  <c:v>42559</c:v>
                </c:pt>
                <c:pt idx="1083">
                  <c:v>42558</c:v>
                </c:pt>
                <c:pt idx="1084">
                  <c:v>42557</c:v>
                </c:pt>
                <c:pt idx="1085">
                  <c:v>42556</c:v>
                </c:pt>
                <c:pt idx="1086">
                  <c:v>42555</c:v>
                </c:pt>
                <c:pt idx="1087">
                  <c:v>42554</c:v>
                </c:pt>
                <c:pt idx="1088">
                  <c:v>42553</c:v>
                </c:pt>
                <c:pt idx="1089">
                  <c:v>42552</c:v>
                </c:pt>
                <c:pt idx="1090">
                  <c:v>42551</c:v>
                </c:pt>
                <c:pt idx="1091">
                  <c:v>42550</c:v>
                </c:pt>
                <c:pt idx="1092">
                  <c:v>42549</c:v>
                </c:pt>
                <c:pt idx="1093">
                  <c:v>42548</c:v>
                </c:pt>
                <c:pt idx="1094">
                  <c:v>42547</c:v>
                </c:pt>
                <c:pt idx="1095">
                  <c:v>42546</c:v>
                </c:pt>
                <c:pt idx="1096">
                  <c:v>42545</c:v>
                </c:pt>
                <c:pt idx="1097">
                  <c:v>42544</c:v>
                </c:pt>
                <c:pt idx="1098">
                  <c:v>42543</c:v>
                </c:pt>
                <c:pt idx="1099">
                  <c:v>42542</c:v>
                </c:pt>
                <c:pt idx="1100">
                  <c:v>42541</c:v>
                </c:pt>
                <c:pt idx="1101">
                  <c:v>42540</c:v>
                </c:pt>
                <c:pt idx="1102">
                  <c:v>42539</c:v>
                </c:pt>
                <c:pt idx="1103">
                  <c:v>42538</c:v>
                </c:pt>
                <c:pt idx="1104">
                  <c:v>42537</c:v>
                </c:pt>
                <c:pt idx="1105">
                  <c:v>42536</c:v>
                </c:pt>
                <c:pt idx="1106">
                  <c:v>42535</c:v>
                </c:pt>
                <c:pt idx="1107">
                  <c:v>42534</c:v>
                </c:pt>
                <c:pt idx="1108">
                  <c:v>42533</c:v>
                </c:pt>
                <c:pt idx="1109">
                  <c:v>42532</c:v>
                </c:pt>
                <c:pt idx="1110">
                  <c:v>42531</c:v>
                </c:pt>
                <c:pt idx="1111">
                  <c:v>42530</c:v>
                </c:pt>
                <c:pt idx="1112">
                  <c:v>42529</c:v>
                </c:pt>
                <c:pt idx="1113">
                  <c:v>42528</c:v>
                </c:pt>
                <c:pt idx="1114">
                  <c:v>42527</c:v>
                </c:pt>
                <c:pt idx="1115">
                  <c:v>42526</c:v>
                </c:pt>
                <c:pt idx="1116">
                  <c:v>42525</c:v>
                </c:pt>
                <c:pt idx="1117">
                  <c:v>42524</c:v>
                </c:pt>
                <c:pt idx="1118">
                  <c:v>42523</c:v>
                </c:pt>
                <c:pt idx="1119">
                  <c:v>42522</c:v>
                </c:pt>
                <c:pt idx="1120">
                  <c:v>42521</c:v>
                </c:pt>
                <c:pt idx="1121">
                  <c:v>42520</c:v>
                </c:pt>
                <c:pt idx="1122">
                  <c:v>42519</c:v>
                </c:pt>
                <c:pt idx="1123">
                  <c:v>42518</c:v>
                </c:pt>
                <c:pt idx="1124">
                  <c:v>42517</c:v>
                </c:pt>
                <c:pt idx="1125">
                  <c:v>42516</c:v>
                </c:pt>
                <c:pt idx="1126">
                  <c:v>42515</c:v>
                </c:pt>
                <c:pt idx="1127">
                  <c:v>42514</c:v>
                </c:pt>
                <c:pt idx="1128">
                  <c:v>42513</c:v>
                </c:pt>
                <c:pt idx="1129">
                  <c:v>42512</c:v>
                </c:pt>
                <c:pt idx="1130">
                  <c:v>42511</c:v>
                </c:pt>
                <c:pt idx="1131">
                  <c:v>42510</c:v>
                </c:pt>
                <c:pt idx="1132">
                  <c:v>42509</c:v>
                </c:pt>
                <c:pt idx="1133">
                  <c:v>42508</c:v>
                </c:pt>
                <c:pt idx="1134">
                  <c:v>42507</c:v>
                </c:pt>
                <c:pt idx="1135">
                  <c:v>42506</c:v>
                </c:pt>
                <c:pt idx="1136">
                  <c:v>42505</c:v>
                </c:pt>
                <c:pt idx="1137">
                  <c:v>42504</c:v>
                </c:pt>
                <c:pt idx="1138">
                  <c:v>42503</c:v>
                </c:pt>
                <c:pt idx="1139">
                  <c:v>42502</c:v>
                </c:pt>
                <c:pt idx="1140">
                  <c:v>42501</c:v>
                </c:pt>
                <c:pt idx="1141">
                  <c:v>42500</c:v>
                </c:pt>
                <c:pt idx="1142">
                  <c:v>42499</c:v>
                </c:pt>
                <c:pt idx="1143">
                  <c:v>42498</c:v>
                </c:pt>
                <c:pt idx="1144">
                  <c:v>42497</c:v>
                </c:pt>
                <c:pt idx="1145">
                  <c:v>42496</c:v>
                </c:pt>
                <c:pt idx="1146">
                  <c:v>42495</c:v>
                </c:pt>
                <c:pt idx="1147">
                  <c:v>42494</c:v>
                </c:pt>
                <c:pt idx="1148">
                  <c:v>42493</c:v>
                </c:pt>
                <c:pt idx="1149">
                  <c:v>42492</c:v>
                </c:pt>
                <c:pt idx="1150">
                  <c:v>42491</c:v>
                </c:pt>
                <c:pt idx="1151">
                  <c:v>42490</c:v>
                </c:pt>
                <c:pt idx="1152">
                  <c:v>42489</c:v>
                </c:pt>
                <c:pt idx="1153">
                  <c:v>42488</c:v>
                </c:pt>
                <c:pt idx="1154">
                  <c:v>42487</c:v>
                </c:pt>
                <c:pt idx="1155">
                  <c:v>42486</c:v>
                </c:pt>
                <c:pt idx="1156">
                  <c:v>42485</c:v>
                </c:pt>
                <c:pt idx="1157">
                  <c:v>42484</c:v>
                </c:pt>
                <c:pt idx="1158">
                  <c:v>42483</c:v>
                </c:pt>
                <c:pt idx="1159">
                  <c:v>42482</c:v>
                </c:pt>
                <c:pt idx="1160">
                  <c:v>42481</c:v>
                </c:pt>
                <c:pt idx="1161">
                  <c:v>42480</c:v>
                </c:pt>
                <c:pt idx="1162">
                  <c:v>42479</c:v>
                </c:pt>
                <c:pt idx="1163">
                  <c:v>42478</c:v>
                </c:pt>
                <c:pt idx="1164">
                  <c:v>42477</c:v>
                </c:pt>
                <c:pt idx="1165">
                  <c:v>42476</c:v>
                </c:pt>
                <c:pt idx="1166">
                  <c:v>42475</c:v>
                </c:pt>
                <c:pt idx="1167">
                  <c:v>42474</c:v>
                </c:pt>
                <c:pt idx="1168">
                  <c:v>42473</c:v>
                </c:pt>
                <c:pt idx="1169">
                  <c:v>42472</c:v>
                </c:pt>
                <c:pt idx="1170">
                  <c:v>42471</c:v>
                </c:pt>
                <c:pt idx="1171">
                  <c:v>42470</c:v>
                </c:pt>
                <c:pt idx="1172">
                  <c:v>42469</c:v>
                </c:pt>
                <c:pt idx="1173">
                  <c:v>42468</c:v>
                </c:pt>
                <c:pt idx="1174">
                  <c:v>42467</c:v>
                </c:pt>
                <c:pt idx="1175">
                  <c:v>42466</c:v>
                </c:pt>
                <c:pt idx="1176">
                  <c:v>42465</c:v>
                </c:pt>
                <c:pt idx="1177">
                  <c:v>42464</c:v>
                </c:pt>
                <c:pt idx="1178">
                  <c:v>42463</c:v>
                </c:pt>
                <c:pt idx="1179">
                  <c:v>42462</c:v>
                </c:pt>
                <c:pt idx="1180">
                  <c:v>42461</c:v>
                </c:pt>
                <c:pt idx="1181">
                  <c:v>42460</c:v>
                </c:pt>
                <c:pt idx="1182">
                  <c:v>42459</c:v>
                </c:pt>
                <c:pt idx="1183">
                  <c:v>42458</c:v>
                </c:pt>
                <c:pt idx="1184">
                  <c:v>42457</c:v>
                </c:pt>
                <c:pt idx="1185">
                  <c:v>42456</c:v>
                </c:pt>
                <c:pt idx="1186">
                  <c:v>42455</c:v>
                </c:pt>
                <c:pt idx="1187">
                  <c:v>42454</c:v>
                </c:pt>
                <c:pt idx="1188">
                  <c:v>42453</c:v>
                </c:pt>
                <c:pt idx="1189">
                  <c:v>42452</c:v>
                </c:pt>
                <c:pt idx="1190">
                  <c:v>42451</c:v>
                </c:pt>
                <c:pt idx="1191">
                  <c:v>42450</c:v>
                </c:pt>
                <c:pt idx="1192">
                  <c:v>42449</c:v>
                </c:pt>
                <c:pt idx="1193">
                  <c:v>42448</c:v>
                </c:pt>
                <c:pt idx="1194">
                  <c:v>42447</c:v>
                </c:pt>
                <c:pt idx="1195">
                  <c:v>42446</c:v>
                </c:pt>
                <c:pt idx="1196">
                  <c:v>42445</c:v>
                </c:pt>
                <c:pt idx="1197">
                  <c:v>42444</c:v>
                </c:pt>
                <c:pt idx="1198">
                  <c:v>42443</c:v>
                </c:pt>
                <c:pt idx="1199">
                  <c:v>42442</c:v>
                </c:pt>
                <c:pt idx="1200">
                  <c:v>42441</c:v>
                </c:pt>
                <c:pt idx="1201">
                  <c:v>42440</c:v>
                </c:pt>
                <c:pt idx="1202">
                  <c:v>42439</c:v>
                </c:pt>
                <c:pt idx="1203">
                  <c:v>42438</c:v>
                </c:pt>
                <c:pt idx="1204">
                  <c:v>42437</c:v>
                </c:pt>
                <c:pt idx="1205">
                  <c:v>42436</c:v>
                </c:pt>
                <c:pt idx="1206">
                  <c:v>42435</c:v>
                </c:pt>
                <c:pt idx="1207">
                  <c:v>42434</c:v>
                </c:pt>
                <c:pt idx="1208">
                  <c:v>42433</c:v>
                </c:pt>
                <c:pt idx="1209">
                  <c:v>42432</c:v>
                </c:pt>
                <c:pt idx="1210">
                  <c:v>42431</c:v>
                </c:pt>
                <c:pt idx="1211">
                  <c:v>42430</c:v>
                </c:pt>
                <c:pt idx="1212">
                  <c:v>42429</c:v>
                </c:pt>
                <c:pt idx="1213">
                  <c:v>42428</c:v>
                </c:pt>
                <c:pt idx="1214">
                  <c:v>42427</c:v>
                </c:pt>
                <c:pt idx="1215">
                  <c:v>42426</c:v>
                </c:pt>
                <c:pt idx="1216">
                  <c:v>42425</c:v>
                </c:pt>
                <c:pt idx="1217">
                  <c:v>42424</c:v>
                </c:pt>
                <c:pt idx="1218">
                  <c:v>42423</c:v>
                </c:pt>
                <c:pt idx="1219">
                  <c:v>42422</c:v>
                </c:pt>
                <c:pt idx="1220">
                  <c:v>42421</c:v>
                </c:pt>
                <c:pt idx="1221">
                  <c:v>42420</c:v>
                </c:pt>
                <c:pt idx="1222">
                  <c:v>42419</c:v>
                </c:pt>
                <c:pt idx="1223">
                  <c:v>42418</c:v>
                </c:pt>
                <c:pt idx="1224">
                  <c:v>42417</c:v>
                </c:pt>
                <c:pt idx="1225">
                  <c:v>42416</c:v>
                </c:pt>
                <c:pt idx="1226">
                  <c:v>42415</c:v>
                </c:pt>
                <c:pt idx="1227">
                  <c:v>42414</c:v>
                </c:pt>
                <c:pt idx="1228">
                  <c:v>42413</c:v>
                </c:pt>
                <c:pt idx="1229">
                  <c:v>42412</c:v>
                </c:pt>
                <c:pt idx="1230">
                  <c:v>42411</c:v>
                </c:pt>
                <c:pt idx="1231">
                  <c:v>42410</c:v>
                </c:pt>
                <c:pt idx="1232">
                  <c:v>42409</c:v>
                </c:pt>
                <c:pt idx="1233">
                  <c:v>42408</c:v>
                </c:pt>
                <c:pt idx="1234">
                  <c:v>42407</c:v>
                </c:pt>
                <c:pt idx="1235">
                  <c:v>42406</c:v>
                </c:pt>
                <c:pt idx="1236">
                  <c:v>42405</c:v>
                </c:pt>
                <c:pt idx="1237">
                  <c:v>42404</c:v>
                </c:pt>
                <c:pt idx="1238">
                  <c:v>42403</c:v>
                </c:pt>
                <c:pt idx="1239">
                  <c:v>42402</c:v>
                </c:pt>
                <c:pt idx="1240">
                  <c:v>42401</c:v>
                </c:pt>
                <c:pt idx="1241">
                  <c:v>42400</c:v>
                </c:pt>
                <c:pt idx="1242">
                  <c:v>42399</c:v>
                </c:pt>
                <c:pt idx="1243">
                  <c:v>42398</c:v>
                </c:pt>
                <c:pt idx="1244">
                  <c:v>42397</c:v>
                </c:pt>
                <c:pt idx="1245">
                  <c:v>42396</c:v>
                </c:pt>
                <c:pt idx="1246">
                  <c:v>42395</c:v>
                </c:pt>
                <c:pt idx="1247">
                  <c:v>42394</c:v>
                </c:pt>
                <c:pt idx="1248">
                  <c:v>42393</c:v>
                </c:pt>
                <c:pt idx="1249">
                  <c:v>42392</c:v>
                </c:pt>
                <c:pt idx="1250">
                  <c:v>42391</c:v>
                </c:pt>
                <c:pt idx="1251">
                  <c:v>42390</c:v>
                </c:pt>
                <c:pt idx="1252">
                  <c:v>42389</c:v>
                </c:pt>
                <c:pt idx="1253">
                  <c:v>42388</c:v>
                </c:pt>
                <c:pt idx="1254">
                  <c:v>42387</c:v>
                </c:pt>
                <c:pt idx="1255">
                  <c:v>42386</c:v>
                </c:pt>
                <c:pt idx="1256">
                  <c:v>42385</c:v>
                </c:pt>
                <c:pt idx="1257">
                  <c:v>42384</c:v>
                </c:pt>
                <c:pt idx="1258">
                  <c:v>42383</c:v>
                </c:pt>
                <c:pt idx="1259">
                  <c:v>42382</c:v>
                </c:pt>
                <c:pt idx="1260">
                  <c:v>42381</c:v>
                </c:pt>
                <c:pt idx="1261">
                  <c:v>42380</c:v>
                </c:pt>
                <c:pt idx="1262">
                  <c:v>42379</c:v>
                </c:pt>
                <c:pt idx="1263">
                  <c:v>42378</c:v>
                </c:pt>
                <c:pt idx="1264">
                  <c:v>42377</c:v>
                </c:pt>
                <c:pt idx="1265">
                  <c:v>42376</c:v>
                </c:pt>
                <c:pt idx="1266">
                  <c:v>42375</c:v>
                </c:pt>
                <c:pt idx="1267">
                  <c:v>42374</c:v>
                </c:pt>
                <c:pt idx="1268">
                  <c:v>42373</c:v>
                </c:pt>
                <c:pt idx="1269">
                  <c:v>42372</c:v>
                </c:pt>
                <c:pt idx="1270">
                  <c:v>42371</c:v>
                </c:pt>
                <c:pt idx="1271">
                  <c:v>42370</c:v>
                </c:pt>
                <c:pt idx="1272">
                  <c:v>42369</c:v>
                </c:pt>
                <c:pt idx="1273">
                  <c:v>42368</c:v>
                </c:pt>
                <c:pt idx="1274">
                  <c:v>42367</c:v>
                </c:pt>
                <c:pt idx="1275">
                  <c:v>42366</c:v>
                </c:pt>
                <c:pt idx="1276">
                  <c:v>42365</c:v>
                </c:pt>
                <c:pt idx="1277">
                  <c:v>42364</c:v>
                </c:pt>
                <c:pt idx="1278">
                  <c:v>42363</c:v>
                </c:pt>
                <c:pt idx="1279">
                  <c:v>42362</c:v>
                </c:pt>
                <c:pt idx="1280">
                  <c:v>42361</c:v>
                </c:pt>
                <c:pt idx="1281">
                  <c:v>42360</c:v>
                </c:pt>
                <c:pt idx="1282">
                  <c:v>42359</c:v>
                </c:pt>
                <c:pt idx="1283">
                  <c:v>42358</c:v>
                </c:pt>
                <c:pt idx="1284">
                  <c:v>42357</c:v>
                </c:pt>
                <c:pt idx="1285">
                  <c:v>42356</c:v>
                </c:pt>
                <c:pt idx="1286">
                  <c:v>42355</c:v>
                </c:pt>
                <c:pt idx="1287">
                  <c:v>42354</c:v>
                </c:pt>
                <c:pt idx="1288">
                  <c:v>42353</c:v>
                </c:pt>
                <c:pt idx="1289">
                  <c:v>42352</c:v>
                </c:pt>
                <c:pt idx="1290">
                  <c:v>42351</c:v>
                </c:pt>
                <c:pt idx="1291">
                  <c:v>42350</c:v>
                </c:pt>
                <c:pt idx="1292">
                  <c:v>42349</c:v>
                </c:pt>
                <c:pt idx="1293">
                  <c:v>42348</c:v>
                </c:pt>
                <c:pt idx="1294">
                  <c:v>42347</c:v>
                </c:pt>
                <c:pt idx="1295">
                  <c:v>42346</c:v>
                </c:pt>
                <c:pt idx="1296">
                  <c:v>42345</c:v>
                </c:pt>
                <c:pt idx="1297">
                  <c:v>42344</c:v>
                </c:pt>
                <c:pt idx="1298">
                  <c:v>42343</c:v>
                </c:pt>
                <c:pt idx="1299">
                  <c:v>42342</c:v>
                </c:pt>
                <c:pt idx="1300">
                  <c:v>42341</c:v>
                </c:pt>
                <c:pt idx="1301">
                  <c:v>42340</c:v>
                </c:pt>
                <c:pt idx="1302">
                  <c:v>42339</c:v>
                </c:pt>
                <c:pt idx="1303">
                  <c:v>42338</c:v>
                </c:pt>
                <c:pt idx="1304">
                  <c:v>42337</c:v>
                </c:pt>
                <c:pt idx="1305">
                  <c:v>42336</c:v>
                </c:pt>
                <c:pt idx="1306">
                  <c:v>42335</c:v>
                </c:pt>
                <c:pt idx="1307">
                  <c:v>42334</c:v>
                </c:pt>
                <c:pt idx="1308">
                  <c:v>42333</c:v>
                </c:pt>
                <c:pt idx="1309">
                  <c:v>42332</c:v>
                </c:pt>
                <c:pt idx="1310">
                  <c:v>42331</c:v>
                </c:pt>
                <c:pt idx="1311">
                  <c:v>42330</c:v>
                </c:pt>
                <c:pt idx="1312">
                  <c:v>42329</c:v>
                </c:pt>
                <c:pt idx="1313">
                  <c:v>42328</c:v>
                </c:pt>
                <c:pt idx="1314">
                  <c:v>42327</c:v>
                </c:pt>
                <c:pt idx="1315">
                  <c:v>42326</c:v>
                </c:pt>
                <c:pt idx="1316">
                  <c:v>42325</c:v>
                </c:pt>
                <c:pt idx="1317">
                  <c:v>42324</c:v>
                </c:pt>
                <c:pt idx="1318">
                  <c:v>42323</c:v>
                </c:pt>
                <c:pt idx="1319">
                  <c:v>42322</c:v>
                </c:pt>
                <c:pt idx="1320">
                  <c:v>42321</c:v>
                </c:pt>
                <c:pt idx="1321">
                  <c:v>42320</c:v>
                </c:pt>
                <c:pt idx="1322">
                  <c:v>42319</c:v>
                </c:pt>
                <c:pt idx="1323">
                  <c:v>42318</c:v>
                </c:pt>
                <c:pt idx="1324">
                  <c:v>42317</c:v>
                </c:pt>
                <c:pt idx="1325">
                  <c:v>42316</c:v>
                </c:pt>
                <c:pt idx="1326">
                  <c:v>42315</c:v>
                </c:pt>
                <c:pt idx="1327">
                  <c:v>42314</c:v>
                </c:pt>
                <c:pt idx="1328">
                  <c:v>42313</c:v>
                </c:pt>
                <c:pt idx="1329">
                  <c:v>42312</c:v>
                </c:pt>
                <c:pt idx="1330">
                  <c:v>42311</c:v>
                </c:pt>
                <c:pt idx="1331">
                  <c:v>42310</c:v>
                </c:pt>
                <c:pt idx="1332">
                  <c:v>42309</c:v>
                </c:pt>
                <c:pt idx="1333">
                  <c:v>42308</c:v>
                </c:pt>
                <c:pt idx="1334">
                  <c:v>42307</c:v>
                </c:pt>
                <c:pt idx="1335">
                  <c:v>42306</c:v>
                </c:pt>
                <c:pt idx="1336">
                  <c:v>42305</c:v>
                </c:pt>
                <c:pt idx="1337">
                  <c:v>42304</c:v>
                </c:pt>
                <c:pt idx="1338">
                  <c:v>42303</c:v>
                </c:pt>
                <c:pt idx="1339">
                  <c:v>42302</c:v>
                </c:pt>
                <c:pt idx="1340">
                  <c:v>42301</c:v>
                </c:pt>
                <c:pt idx="1341">
                  <c:v>42300</c:v>
                </c:pt>
                <c:pt idx="1342">
                  <c:v>42299</c:v>
                </c:pt>
                <c:pt idx="1343">
                  <c:v>42298</c:v>
                </c:pt>
                <c:pt idx="1344">
                  <c:v>42297</c:v>
                </c:pt>
                <c:pt idx="1345">
                  <c:v>42296</c:v>
                </c:pt>
                <c:pt idx="1346">
                  <c:v>42295</c:v>
                </c:pt>
                <c:pt idx="1347">
                  <c:v>42294</c:v>
                </c:pt>
                <c:pt idx="1348">
                  <c:v>42293</c:v>
                </c:pt>
                <c:pt idx="1349">
                  <c:v>42292</c:v>
                </c:pt>
                <c:pt idx="1350">
                  <c:v>42291</c:v>
                </c:pt>
                <c:pt idx="1351">
                  <c:v>42290</c:v>
                </c:pt>
                <c:pt idx="1352">
                  <c:v>42289</c:v>
                </c:pt>
                <c:pt idx="1353">
                  <c:v>42288</c:v>
                </c:pt>
                <c:pt idx="1354">
                  <c:v>42287</c:v>
                </c:pt>
                <c:pt idx="1355">
                  <c:v>42286</c:v>
                </c:pt>
                <c:pt idx="1356">
                  <c:v>42285</c:v>
                </c:pt>
                <c:pt idx="1357">
                  <c:v>42284</c:v>
                </c:pt>
                <c:pt idx="1358">
                  <c:v>42283</c:v>
                </c:pt>
                <c:pt idx="1359">
                  <c:v>42282</c:v>
                </c:pt>
                <c:pt idx="1360">
                  <c:v>42281</c:v>
                </c:pt>
                <c:pt idx="1361">
                  <c:v>42280</c:v>
                </c:pt>
                <c:pt idx="1362">
                  <c:v>42279</c:v>
                </c:pt>
                <c:pt idx="1363">
                  <c:v>42278</c:v>
                </c:pt>
                <c:pt idx="1364">
                  <c:v>42277</c:v>
                </c:pt>
                <c:pt idx="1365">
                  <c:v>42276</c:v>
                </c:pt>
                <c:pt idx="1366">
                  <c:v>42275</c:v>
                </c:pt>
                <c:pt idx="1367">
                  <c:v>42274</c:v>
                </c:pt>
                <c:pt idx="1368">
                  <c:v>42273</c:v>
                </c:pt>
                <c:pt idx="1369">
                  <c:v>42272</c:v>
                </c:pt>
                <c:pt idx="1370">
                  <c:v>42271</c:v>
                </c:pt>
                <c:pt idx="1371">
                  <c:v>42270</c:v>
                </c:pt>
                <c:pt idx="1372">
                  <c:v>42269</c:v>
                </c:pt>
                <c:pt idx="1373">
                  <c:v>42268</c:v>
                </c:pt>
                <c:pt idx="1374">
                  <c:v>42267</c:v>
                </c:pt>
                <c:pt idx="1375">
                  <c:v>42266</c:v>
                </c:pt>
                <c:pt idx="1376">
                  <c:v>42265</c:v>
                </c:pt>
                <c:pt idx="1377">
                  <c:v>42264</c:v>
                </c:pt>
                <c:pt idx="1378">
                  <c:v>42263</c:v>
                </c:pt>
                <c:pt idx="1379">
                  <c:v>42262</c:v>
                </c:pt>
                <c:pt idx="1380">
                  <c:v>42261</c:v>
                </c:pt>
                <c:pt idx="1381">
                  <c:v>42260</c:v>
                </c:pt>
                <c:pt idx="1382">
                  <c:v>42259</c:v>
                </c:pt>
                <c:pt idx="1383">
                  <c:v>42258</c:v>
                </c:pt>
                <c:pt idx="1384">
                  <c:v>42257</c:v>
                </c:pt>
                <c:pt idx="1385">
                  <c:v>42256</c:v>
                </c:pt>
                <c:pt idx="1386">
                  <c:v>42255</c:v>
                </c:pt>
                <c:pt idx="1387">
                  <c:v>42254</c:v>
                </c:pt>
                <c:pt idx="1388">
                  <c:v>42253</c:v>
                </c:pt>
                <c:pt idx="1389">
                  <c:v>42252</c:v>
                </c:pt>
                <c:pt idx="1390">
                  <c:v>42251</c:v>
                </c:pt>
                <c:pt idx="1391">
                  <c:v>42250</c:v>
                </c:pt>
                <c:pt idx="1392">
                  <c:v>42249</c:v>
                </c:pt>
                <c:pt idx="1393">
                  <c:v>42248</c:v>
                </c:pt>
                <c:pt idx="1394">
                  <c:v>42247</c:v>
                </c:pt>
                <c:pt idx="1395">
                  <c:v>42246</c:v>
                </c:pt>
                <c:pt idx="1396">
                  <c:v>42245</c:v>
                </c:pt>
                <c:pt idx="1397">
                  <c:v>42244</c:v>
                </c:pt>
                <c:pt idx="1398">
                  <c:v>42243</c:v>
                </c:pt>
                <c:pt idx="1399">
                  <c:v>42242</c:v>
                </c:pt>
                <c:pt idx="1400">
                  <c:v>42241</c:v>
                </c:pt>
                <c:pt idx="1401">
                  <c:v>42240</c:v>
                </c:pt>
                <c:pt idx="1402">
                  <c:v>42239</c:v>
                </c:pt>
                <c:pt idx="1403">
                  <c:v>42238</c:v>
                </c:pt>
                <c:pt idx="1404">
                  <c:v>42237</c:v>
                </c:pt>
                <c:pt idx="1405">
                  <c:v>42236</c:v>
                </c:pt>
                <c:pt idx="1406">
                  <c:v>42235</c:v>
                </c:pt>
                <c:pt idx="1407">
                  <c:v>42234</c:v>
                </c:pt>
                <c:pt idx="1408">
                  <c:v>42233</c:v>
                </c:pt>
                <c:pt idx="1409">
                  <c:v>42232</c:v>
                </c:pt>
                <c:pt idx="1410">
                  <c:v>42231</c:v>
                </c:pt>
                <c:pt idx="1411">
                  <c:v>42230</c:v>
                </c:pt>
                <c:pt idx="1412">
                  <c:v>42229</c:v>
                </c:pt>
                <c:pt idx="1413">
                  <c:v>42228</c:v>
                </c:pt>
                <c:pt idx="1414">
                  <c:v>42227</c:v>
                </c:pt>
                <c:pt idx="1415">
                  <c:v>42226</c:v>
                </c:pt>
                <c:pt idx="1416">
                  <c:v>42225</c:v>
                </c:pt>
                <c:pt idx="1417">
                  <c:v>42224</c:v>
                </c:pt>
                <c:pt idx="1418">
                  <c:v>42223</c:v>
                </c:pt>
                <c:pt idx="1419">
                  <c:v>42222</c:v>
                </c:pt>
                <c:pt idx="1420">
                  <c:v>42221</c:v>
                </c:pt>
                <c:pt idx="1421">
                  <c:v>42220</c:v>
                </c:pt>
                <c:pt idx="1422">
                  <c:v>42219</c:v>
                </c:pt>
                <c:pt idx="1423">
                  <c:v>42218</c:v>
                </c:pt>
                <c:pt idx="1424">
                  <c:v>42217</c:v>
                </c:pt>
                <c:pt idx="1425">
                  <c:v>42216</c:v>
                </c:pt>
                <c:pt idx="1426">
                  <c:v>42215</c:v>
                </c:pt>
                <c:pt idx="1427">
                  <c:v>42214</c:v>
                </c:pt>
                <c:pt idx="1428">
                  <c:v>42213</c:v>
                </c:pt>
                <c:pt idx="1429">
                  <c:v>42212</c:v>
                </c:pt>
                <c:pt idx="1430">
                  <c:v>42211</c:v>
                </c:pt>
                <c:pt idx="1431">
                  <c:v>42210</c:v>
                </c:pt>
                <c:pt idx="1432">
                  <c:v>42209</c:v>
                </c:pt>
                <c:pt idx="1433">
                  <c:v>42208</c:v>
                </c:pt>
                <c:pt idx="1434">
                  <c:v>42207</c:v>
                </c:pt>
                <c:pt idx="1435">
                  <c:v>42206</c:v>
                </c:pt>
                <c:pt idx="1436">
                  <c:v>42205</c:v>
                </c:pt>
                <c:pt idx="1437">
                  <c:v>42204</c:v>
                </c:pt>
                <c:pt idx="1438">
                  <c:v>42203</c:v>
                </c:pt>
                <c:pt idx="1439">
                  <c:v>42202</c:v>
                </c:pt>
                <c:pt idx="1440">
                  <c:v>42201</c:v>
                </c:pt>
                <c:pt idx="1441">
                  <c:v>42200</c:v>
                </c:pt>
                <c:pt idx="1442">
                  <c:v>42199</c:v>
                </c:pt>
                <c:pt idx="1443">
                  <c:v>42198</c:v>
                </c:pt>
                <c:pt idx="1444">
                  <c:v>42197</c:v>
                </c:pt>
                <c:pt idx="1445">
                  <c:v>42196</c:v>
                </c:pt>
                <c:pt idx="1446">
                  <c:v>42195</c:v>
                </c:pt>
                <c:pt idx="1447">
                  <c:v>42194</c:v>
                </c:pt>
                <c:pt idx="1448">
                  <c:v>42193</c:v>
                </c:pt>
                <c:pt idx="1449">
                  <c:v>42192</c:v>
                </c:pt>
                <c:pt idx="1450">
                  <c:v>42191</c:v>
                </c:pt>
                <c:pt idx="1451">
                  <c:v>42190</c:v>
                </c:pt>
                <c:pt idx="1452">
                  <c:v>42189</c:v>
                </c:pt>
                <c:pt idx="1453">
                  <c:v>42188</c:v>
                </c:pt>
                <c:pt idx="1454">
                  <c:v>42187</c:v>
                </c:pt>
                <c:pt idx="1455">
                  <c:v>42186</c:v>
                </c:pt>
                <c:pt idx="1456">
                  <c:v>42185</c:v>
                </c:pt>
                <c:pt idx="1457">
                  <c:v>42184</c:v>
                </c:pt>
                <c:pt idx="1458">
                  <c:v>42183</c:v>
                </c:pt>
                <c:pt idx="1459">
                  <c:v>42182</c:v>
                </c:pt>
                <c:pt idx="1460">
                  <c:v>42181</c:v>
                </c:pt>
                <c:pt idx="1461">
                  <c:v>42180</c:v>
                </c:pt>
                <c:pt idx="1462">
                  <c:v>42179</c:v>
                </c:pt>
                <c:pt idx="1463">
                  <c:v>42178</c:v>
                </c:pt>
                <c:pt idx="1464">
                  <c:v>42177</c:v>
                </c:pt>
                <c:pt idx="1465">
                  <c:v>42176</c:v>
                </c:pt>
                <c:pt idx="1466">
                  <c:v>42175</c:v>
                </c:pt>
                <c:pt idx="1467">
                  <c:v>42174</c:v>
                </c:pt>
                <c:pt idx="1468">
                  <c:v>42173</c:v>
                </c:pt>
                <c:pt idx="1469">
                  <c:v>42172</c:v>
                </c:pt>
                <c:pt idx="1470">
                  <c:v>42171</c:v>
                </c:pt>
                <c:pt idx="1471">
                  <c:v>42170</c:v>
                </c:pt>
                <c:pt idx="1472">
                  <c:v>42169</c:v>
                </c:pt>
                <c:pt idx="1473">
                  <c:v>42168</c:v>
                </c:pt>
                <c:pt idx="1474">
                  <c:v>42167</c:v>
                </c:pt>
                <c:pt idx="1475">
                  <c:v>42166</c:v>
                </c:pt>
                <c:pt idx="1476">
                  <c:v>42165</c:v>
                </c:pt>
                <c:pt idx="1477">
                  <c:v>42164</c:v>
                </c:pt>
                <c:pt idx="1478">
                  <c:v>42163</c:v>
                </c:pt>
                <c:pt idx="1479">
                  <c:v>42162</c:v>
                </c:pt>
                <c:pt idx="1480">
                  <c:v>42161</c:v>
                </c:pt>
                <c:pt idx="1481">
                  <c:v>42160</c:v>
                </c:pt>
                <c:pt idx="1482">
                  <c:v>42159</c:v>
                </c:pt>
                <c:pt idx="1483">
                  <c:v>42158</c:v>
                </c:pt>
                <c:pt idx="1484">
                  <c:v>42157</c:v>
                </c:pt>
                <c:pt idx="1485">
                  <c:v>42156</c:v>
                </c:pt>
                <c:pt idx="1486">
                  <c:v>42155</c:v>
                </c:pt>
                <c:pt idx="1487">
                  <c:v>42154</c:v>
                </c:pt>
                <c:pt idx="1488">
                  <c:v>42153</c:v>
                </c:pt>
                <c:pt idx="1489">
                  <c:v>42152</c:v>
                </c:pt>
                <c:pt idx="1490">
                  <c:v>42151</c:v>
                </c:pt>
                <c:pt idx="1491">
                  <c:v>42150</c:v>
                </c:pt>
                <c:pt idx="1492">
                  <c:v>42149</c:v>
                </c:pt>
                <c:pt idx="1493">
                  <c:v>42148</c:v>
                </c:pt>
                <c:pt idx="1494">
                  <c:v>42147</c:v>
                </c:pt>
                <c:pt idx="1495">
                  <c:v>42146</c:v>
                </c:pt>
                <c:pt idx="1496">
                  <c:v>42145</c:v>
                </c:pt>
                <c:pt idx="1497">
                  <c:v>42144</c:v>
                </c:pt>
                <c:pt idx="1498">
                  <c:v>42143</c:v>
                </c:pt>
                <c:pt idx="1499">
                  <c:v>42142</c:v>
                </c:pt>
                <c:pt idx="1500">
                  <c:v>42141</c:v>
                </c:pt>
                <c:pt idx="1501">
                  <c:v>42140</c:v>
                </c:pt>
                <c:pt idx="1502">
                  <c:v>42139</c:v>
                </c:pt>
                <c:pt idx="1503">
                  <c:v>42138</c:v>
                </c:pt>
                <c:pt idx="1504">
                  <c:v>42137</c:v>
                </c:pt>
                <c:pt idx="1505">
                  <c:v>42136</c:v>
                </c:pt>
                <c:pt idx="1506">
                  <c:v>42135</c:v>
                </c:pt>
                <c:pt idx="1507">
                  <c:v>42134</c:v>
                </c:pt>
                <c:pt idx="1508">
                  <c:v>42133</c:v>
                </c:pt>
                <c:pt idx="1509">
                  <c:v>42132</c:v>
                </c:pt>
                <c:pt idx="1510">
                  <c:v>42131</c:v>
                </c:pt>
                <c:pt idx="1511">
                  <c:v>42130</c:v>
                </c:pt>
                <c:pt idx="1512">
                  <c:v>42129</c:v>
                </c:pt>
                <c:pt idx="1513">
                  <c:v>42128</c:v>
                </c:pt>
                <c:pt idx="1514">
                  <c:v>42127</c:v>
                </c:pt>
                <c:pt idx="1515">
                  <c:v>42126</c:v>
                </c:pt>
                <c:pt idx="1516">
                  <c:v>42125</c:v>
                </c:pt>
                <c:pt idx="1517">
                  <c:v>42124</c:v>
                </c:pt>
                <c:pt idx="1518">
                  <c:v>42123</c:v>
                </c:pt>
                <c:pt idx="1519">
                  <c:v>42122</c:v>
                </c:pt>
                <c:pt idx="1520">
                  <c:v>42121</c:v>
                </c:pt>
                <c:pt idx="1521">
                  <c:v>42120</c:v>
                </c:pt>
                <c:pt idx="1522">
                  <c:v>42119</c:v>
                </c:pt>
                <c:pt idx="1523">
                  <c:v>42118</c:v>
                </c:pt>
                <c:pt idx="1524">
                  <c:v>42117</c:v>
                </c:pt>
                <c:pt idx="1525">
                  <c:v>42116</c:v>
                </c:pt>
                <c:pt idx="1526">
                  <c:v>42115</c:v>
                </c:pt>
                <c:pt idx="1527">
                  <c:v>42114</c:v>
                </c:pt>
                <c:pt idx="1528">
                  <c:v>42113</c:v>
                </c:pt>
                <c:pt idx="1529">
                  <c:v>42112</c:v>
                </c:pt>
                <c:pt idx="1530">
                  <c:v>42111</c:v>
                </c:pt>
                <c:pt idx="1531">
                  <c:v>42110</c:v>
                </c:pt>
                <c:pt idx="1532">
                  <c:v>42109</c:v>
                </c:pt>
                <c:pt idx="1533">
                  <c:v>42108</c:v>
                </c:pt>
                <c:pt idx="1534">
                  <c:v>42107</c:v>
                </c:pt>
                <c:pt idx="1535">
                  <c:v>42106</c:v>
                </c:pt>
                <c:pt idx="1536">
                  <c:v>42105</c:v>
                </c:pt>
                <c:pt idx="1537">
                  <c:v>42104</c:v>
                </c:pt>
                <c:pt idx="1538">
                  <c:v>42103</c:v>
                </c:pt>
                <c:pt idx="1539">
                  <c:v>42102</c:v>
                </c:pt>
                <c:pt idx="1540">
                  <c:v>42101</c:v>
                </c:pt>
                <c:pt idx="1541">
                  <c:v>42100</c:v>
                </c:pt>
                <c:pt idx="1542">
                  <c:v>42099</c:v>
                </c:pt>
                <c:pt idx="1543">
                  <c:v>42098</c:v>
                </c:pt>
                <c:pt idx="1544">
                  <c:v>42097</c:v>
                </c:pt>
                <c:pt idx="1545">
                  <c:v>42096</c:v>
                </c:pt>
                <c:pt idx="1546">
                  <c:v>42095</c:v>
                </c:pt>
                <c:pt idx="1547">
                  <c:v>42094</c:v>
                </c:pt>
                <c:pt idx="1548">
                  <c:v>42093</c:v>
                </c:pt>
                <c:pt idx="1549">
                  <c:v>42092</c:v>
                </c:pt>
                <c:pt idx="1550">
                  <c:v>42091</c:v>
                </c:pt>
                <c:pt idx="1551">
                  <c:v>42090</c:v>
                </c:pt>
                <c:pt idx="1552">
                  <c:v>42089</c:v>
                </c:pt>
                <c:pt idx="1553">
                  <c:v>42088</c:v>
                </c:pt>
                <c:pt idx="1554">
                  <c:v>42087</c:v>
                </c:pt>
                <c:pt idx="1555">
                  <c:v>42086</c:v>
                </c:pt>
                <c:pt idx="1556">
                  <c:v>42085</c:v>
                </c:pt>
                <c:pt idx="1557">
                  <c:v>42084</c:v>
                </c:pt>
                <c:pt idx="1558">
                  <c:v>42083</c:v>
                </c:pt>
                <c:pt idx="1559">
                  <c:v>42082</c:v>
                </c:pt>
                <c:pt idx="1560">
                  <c:v>42081</c:v>
                </c:pt>
                <c:pt idx="1561">
                  <c:v>42080</c:v>
                </c:pt>
                <c:pt idx="1562">
                  <c:v>42079</c:v>
                </c:pt>
                <c:pt idx="1563">
                  <c:v>42078</c:v>
                </c:pt>
                <c:pt idx="1564">
                  <c:v>42077</c:v>
                </c:pt>
                <c:pt idx="1565">
                  <c:v>42076</c:v>
                </c:pt>
                <c:pt idx="1566">
                  <c:v>42075</c:v>
                </c:pt>
                <c:pt idx="1567">
                  <c:v>42074</c:v>
                </c:pt>
                <c:pt idx="1568">
                  <c:v>42073</c:v>
                </c:pt>
                <c:pt idx="1569">
                  <c:v>42072</c:v>
                </c:pt>
                <c:pt idx="1570">
                  <c:v>42071</c:v>
                </c:pt>
                <c:pt idx="1571">
                  <c:v>42070</c:v>
                </c:pt>
                <c:pt idx="1572">
                  <c:v>42069</c:v>
                </c:pt>
                <c:pt idx="1573">
                  <c:v>42068</c:v>
                </c:pt>
                <c:pt idx="1574">
                  <c:v>42067</c:v>
                </c:pt>
                <c:pt idx="1575">
                  <c:v>42066</c:v>
                </c:pt>
                <c:pt idx="1576">
                  <c:v>42065</c:v>
                </c:pt>
                <c:pt idx="1577">
                  <c:v>42064</c:v>
                </c:pt>
                <c:pt idx="1578">
                  <c:v>42063</c:v>
                </c:pt>
                <c:pt idx="1579">
                  <c:v>42062</c:v>
                </c:pt>
                <c:pt idx="1580">
                  <c:v>42061</c:v>
                </c:pt>
                <c:pt idx="1581">
                  <c:v>42060</c:v>
                </c:pt>
                <c:pt idx="1582">
                  <c:v>42059</c:v>
                </c:pt>
                <c:pt idx="1583">
                  <c:v>42058</c:v>
                </c:pt>
                <c:pt idx="1584">
                  <c:v>42057</c:v>
                </c:pt>
                <c:pt idx="1585">
                  <c:v>42056</c:v>
                </c:pt>
                <c:pt idx="1586">
                  <c:v>42055</c:v>
                </c:pt>
                <c:pt idx="1587">
                  <c:v>42054</c:v>
                </c:pt>
                <c:pt idx="1588">
                  <c:v>42053</c:v>
                </c:pt>
                <c:pt idx="1589">
                  <c:v>42052</c:v>
                </c:pt>
                <c:pt idx="1590">
                  <c:v>42051</c:v>
                </c:pt>
                <c:pt idx="1591">
                  <c:v>42050</c:v>
                </c:pt>
                <c:pt idx="1592">
                  <c:v>42049</c:v>
                </c:pt>
                <c:pt idx="1593">
                  <c:v>42048</c:v>
                </c:pt>
                <c:pt idx="1594">
                  <c:v>42047</c:v>
                </c:pt>
                <c:pt idx="1595">
                  <c:v>42046</c:v>
                </c:pt>
                <c:pt idx="1596">
                  <c:v>42045</c:v>
                </c:pt>
                <c:pt idx="1597">
                  <c:v>42044</c:v>
                </c:pt>
                <c:pt idx="1598">
                  <c:v>42043</c:v>
                </c:pt>
                <c:pt idx="1599">
                  <c:v>42042</c:v>
                </c:pt>
                <c:pt idx="1600">
                  <c:v>42041</c:v>
                </c:pt>
                <c:pt idx="1601">
                  <c:v>42040</c:v>
                </c:pt>
                <c:pt idx="1602">
                  <c:v>42039</c:v>
                </c:pt>
                <c:pt idx="1603">
                  <c:v>42038</c:v>
                </c:pt>
                <c:pt idx="1604">
                  <c:v>42037</c:v>
                </c:pt>
                <c:pt idx="1605">
                  <c:v>42036</c:v>
                </c:pt>
                <c:pt idx="1606">
                  <c:v>42035</c:v>
                </c:pt>
                <c:pt idx="1607">
                  <c:v>42034</c:v>
                </c:pt>
                <c:pt idx="1608">
                  <c:v>42033</c:v>
                </c:pt>
                <c:pt idx="1609">
                  <c:v>42032</c:v>
                </c:pt>
                <c:pt idx="1610">
                  <c:v>42031</c:v>
                </c:pt>
                <c:pt idx="1611">
                  <c:v>42030</c:v>
                </c:pt>
                <c:pt idx="1612">
                  <c:v>42029</c:v>
                </c:pt>
                <c:pt idx="1613">
                  <c:v>42028</c:v>
                </c:pt>
                <c:pt idx="1614">
                  <c:v>42027</c:v>
                </c:pt>
                <c:pt idx="1615">
                  <c:v>42026</c:v>
                </c:pt>
                <c:pt idx="1616">
                  <c:v>42025</c:v>
                </c:pt>
                <c:pt idx="1617">
                  <c:v>42024</c:v>
                </c:pt>
                <c:pt idx="1618">
                  <c:v>42023</c:v>
                </c:pt>
                <c:pt idx="1619">
                  <c:v>42022</c:v>
                </c:pt>
                <c:pt idx="1620">
                  <c:v>42021</c:v>
                </c:pt>
                <c:pt idx="1621">
                  <c:v>42020</c:v>
                </c:pt>
                <c:pt idx="1622">
                  <c:v>42019</c:v>
                </c:pt>
                <c:pt idx="1623">
                  <c:v>42018</c:v>
                </c:pt>
                <c:pt idx="1624">
                  <c:v>42017</c:v>
                </c:pt>
                <c:pt idx="1625">
                  <c:v>42016</c:v>
                </c:pt>
                <c:pt idx="1626">
                  <c:v>42015</c:v>
                </c:pt>
                <c:pt idx="1627">
                  <c:v>42014</c:v>
                </c:pt>
                <c:pt idx="1628">
                  <c:v>42013</c:v>
                </c:pt>
                <c:pt idx="1629">
                  <c:v>42012</c:v>
                </c:pt>
                <c:pt idx="1630">
                  <c:v>42011</c:v>
                </c:pt>
                <c:pt idx="1631">
                  <c:v>42010</c:v>
                </c:pt>
                <c:pt idx="1632">
                  <c:v>42009</c:v>
                </c:pt>
                <c:pt idx="1633">
                  <c:v>42008</c:v>
                </c:pt>
                <c:pt idx="1634">
                  <c:v>42007</c:v>
                </c:pt>
                <c:pt idx="1635">
                  <c:v>42006</c:v>
                </c:pt>
                <c:pt idx="1636">
                  <c:v>42005</c:v>
                </c:pt>
                <c:pt idx="1637">
                  <c:v>42004</c:v>
                </c:pt>
                <c:pt idx="1638">
                  <c:v>42003</c:v>
                </c:pt>
                <c:pt idx="1639">
                  <c:v>42002</c:v>
                </c:pt>
                <c:pt idx="1640">
                  <c:v>42001</c:v>
                </c:pt>
                <c:pt idx="1641">
                  <c:v>42000</c:v>
                </c:pt>
                <c:pt idx="1642">
                  <c:v>41999</c:v>
                </c:pt>
                <c:pt idx="1643">
                  <c:v>41998</c:v>
                </c:pt>
                <c:pt idx="1644">
                  <c:v>41997</c:v>
                </c:pt>
                <c:pt idx="1645">
                  <c:v>41996</c:v>
                </c:pt>
                <c:pt idx="1646">
                  <c:v>41995</c:v>
                </c:pt>
                <c:pt idx="1647">
                  <c:v>41994</c:v>
                </c:pt>
                <c:pt idx="1648">
                  <c:v>41993</c:v>
                </c:pt>
                <c:pt idx="1649">
                  <c:v>41992</c:v>
                </c:pt>
                <c:pt idx="1650">
                  <c:v>41991</c:v>
                </c:pt>
                <c:pt idx="1651">
                  <c:v>41990</c:v>
                </c:pt>
                <c:pt idx="1652">
                  <c:v>41989</c:v>
                </c:pt>
                <c:pt idx="1653">
                  <c:v>41988</c:v>
                </c:pt>
                <c:pt idx="1654">
                  <c:v>41987</c:v>
                </c:pt>
                <c:pt idx="1655">
                  <c:v>41986</c:v>
                </c:pt>
                <c:pt idx="1656">
                  <c:v>41985</c:v>
                </c:pt>
                <c:pt idx="1657">
                  <c:v>41984</c:v>
                </c:pt>
                <c:pt idx="1658">
                  <c:v>41983</c:v>
                </c:pt>
                <c:pt idx="1659">
                  <c:v>41982</c:v>
                </c:pt>
                <c:pt idx="1660">
                  <c:v>41981</c:v>
                </c:pt>
                <c:pt idx="1661">
                  <c:v>41980</c:v>
                </c:pt>
                <c:pt idx="1662">
                  <c:v>41979</c:v>
                </c:pt>
                <c:pt idx="1663">
                  <c:v>41978</c:v>
                </c:pt>
                <c:pt idx="1664">
                  <c:v>41977</c:v>
                </c:pt>
                <c:pt idx="1665">
                  <c:v>41976</c:v>
                </c:pt>
                <c:pt idx="1666">
                  <c:v>41975</c:v>
                </c:pt>
                <c:pt idx="1667">
                  <c:v>41974</c:v>
                </c:pt>
                <c:pt idx="1668">
                  <c:v>41973</c:v>
                </c:pt>
                <c:pt idx="1669">
                  <c:v>41972</c:v>
                </c:pt>
                <c:pt idx="1670">
                  <c:v>41971</c:v>
                </c:pt>
                <c:pt idx="1671">
                  <c:v>41970</c:v>
                </c:pt>
                <c:pt idx="1672">
                  <c:v>41969</c:v>
                </c:pt>
                <c:pt idx="1673">
                  <c:v>41968</c:v>
                </c:pt>
                <c:pt idx="1674">
                  <c:v>41967</c:v>
                </c:pt>
                <c:pt idx="1675">
                  <c:v>41966</c:v>
                </c:pt>
                <c:pt idx="1676">
                  <c:v>41965</c:v>
                </c:pt>
                <c:pt idx="1677">
                  <c:v>41964</c:v>
                </c:pt>
                <c:pt idx="1678">
                  <c:v>41963</c:v>
                </c:pt>
                <c:pt idx="1679">
                  <c:v>41962</c:v>
                </c:pt>
                <c:pt idx="1680">
                  <c:v>41961</c:v>
                </c:pt>
                <c:pt idx="1681">
                  <c:v>41960</c:v>
                </c:pt>
                <c:pt idx="1682">
                  <c:v>41959</c:v>
                </c:pt>
                <c:pt idx="1683">
                  <c:v>41958</c:v>
                </c:pt>
                <c:pt idx="1684">
                  <c:v>41957</c:v>
                </c:pt>
                <c:pt idx="1685">
                  <c:v>41956</c:v>
                </c:pt>
                <c:pt idx="1686">
                  <c:v>41955</c:v>
                </c:pt>
                <c:pt idx="1687">
                  <c:v>41954</c:v>
                </c:pt>
                <c:pt idx="1688">
                  <c:v>41953</c:v>
                </c:pt>
                <c:pt idx="1689">
                  <c:v>41952</c:v>
                </c:pt>
                <c:pt idx="1690">
                  <c:v>41951</c:v>
                </c:pt>
                <c:pt idx="1691">
                  <c:v>41950</c:v>
                </c:pt>
                <c:pt idx="1692">
                  <c:v>41949</c:v>
                </c:pt>
                <c:pt idx="1693">
                  <c:v>41948</c:v>
                </c:pt>
                <c:pt idx="1694">
                  <c:v>41947</c:v>
                </c:pt>
                <c:pt idx="1695">
                  <c:v>41946</c:v>
                </c:pt>
                <c:pt idx="1696">
                  <c:v>41945</c:v>
                </c:pt>
                <c:pt idx="1697">
                  <c:v>41944</c:v>
                </c:pt>
                <c:pt idx="1698">
                  <c:v>41943</c:v>
                </c:pt>
                <c:pt idx="1699">
                  <c:v>41942</c:v>
                </c:pt>
                <c:pt idx="1700">
                  <c:v>41941</c:v>
                </c:pt>
                <c:pt idx="1701">
                  <c:v>41940</c:v>
                </c:pt>
                <c:pt idx="1702">
                  <c:v>41939</c:v>
                </c:pt>
                <c:pt idx="1703">
                  <c:v>41938</c:v>
                </c:pt>
                <c:pt idx="1704">
                  <c:v>41937</c:v>
                </c:pt>
                <c:pt idx="1705">
                  <c:v>41936</c:v>
                </c:pt>
                <c:pt idx="1706">
                  <c:v>41935</c:v>
                </c:pt>
                <c:pt idx="1707">
                  <c:v>41934</c:v>
                </c:pt>
                <c:pt idx="1708">
                  <c:v>41933</c:v>
                </c:pt>
                <c:pt idx="1709">
                  <c:v>41932</c:v>
                </c:pt>
                <c:pt idx="1710">
                  <c:v>41931</c:v>
                </c:pt>
                <c:pt idx="1711">
                  <c:v>41930</c:v>
                </c:pt>
                <c:pt idx="1712">
                  <c:v>41929</c:v>
                </c:pt>
                <c:pt idx="1713">
                  <c:v>41928</c:v>
                </c:pt>
                <c:pt idx="1714">
                  <c:v>41927</c:v>
                </c:pt>
                <c:pt idx="1715">
                  <c:v>41926</c:v>
                </c:pt>
                <c:pt idx="1716">
                  <c:v>41925</c:v>
                </c:pt>
                <c:pt idx="1717">
                  <c:v>41924</c:v>
                </c:pt>
                <c:pt idx="1718">
                  <c:v>41923</c:v>
                </c:pt>
                <c:pt idx="1719">
                  <c:v>41922</c:v>
                </c:pt>
                <c:pt idx="1720">
                  <c:v>41921</c:v>
                </c:pt>
                <c:pt idx="1721">
                  <c:v>41920</c:v>
                </c:pt>
                <c:pt idx="1722">
                  <c:v>41919</c:v>
                </c:pt>
                <c:pt idx="1723">
                  <c:v>41918</c:v>
                </c:pt>
                <c:pt idx="1724">
                  <c:v>41917</c:v>
                </c:pt>
                <c:pt idx="1725">
                  <c:v>41916</c:v>
                </c:pt>
                <c:pt idx="1726">
                  <c:v>41915</c:v>
                </c:pt>
                <c:pt idx="1727">
                  <c:v>41914</c:v>
                </c:pt>
                <c:pt idx="1728">
                  <c:v>41913</c:v>
                </c:pt>
                <c:pt idx="1729">
                  <c:v>41912</c:v>
                </c:pt>
                <c:pt idx="1730">
                  <c:v>41911</c:v>
                </c:pt>
                <c:pt idx="1731">
                  <c:v>41910</c:v>
                </c:pt>
                <c:pt idx="1732">
                  <c:v>41909</c:v>
                </c:pt>
                <c:pt idx="1733">
                  <c:v>41908</c:v>
                </c:pt>
                <c:pt idx="1734">
                  <c:v>41907</c:v>
                </c:pt>
                <c:pt idx="1735">
                  <c:v>41906</c:v>
                </c:pt>
                <c:pt idx="1736">
                  <c:v>41905</c:v>
                </c:pt>
                <c:pt idx="1737">
                  <c:v>41904</c:v>
                </c:pt>
                <c:pt idx="1738">
                  <c:v>41903</c:v>
                </c:pt>
                <c:pt idx="1739">
                  <c:v>41902</c:v>
                </c:pt>
                <c:pt idx="1740">
                  <c:v>41901</c:v>
                </c:pt>
                <c:pt idx="1741">
                  <c:v>41900</c:v>
                </c:pt>
                <c:pt idx="1742">
                  <c:v>41899</c:v>
                </c:pt>
                <c:pt idx="1743">
                  <c:v>41898</c:v>
                </c:pt>
                <c:pt idx="1744">
                  <c:v>41897</c:v>
                </c:pt>
                <c:pt idx="1745">
                  <c:v>41896</c:v>
                </c:pt>
                <c:pt idx="1746">
                  <c:v>41895</c:v>
                </c:pt>
                <c:pt idx="1747">
                  <c:v>41894</c:v>
                </c:pt>
                <c:pt idx="1748">
                  <c:v>41893</c:v>
                </c:pt>
                <c:pt idx="1749">
                  <c:v>41892</c:v>
                </c:pt>
                <c:pt idx="1750">
                  <c:v>41891</c:v>
                </c:pt>
                <c:pt idx="1751">
                  <c:v>41890</c:v>
                </c:pt>
                <c:pt idx="1752">
                  <c:v>41889</c:v>
                </c:pt>
                <c:pt idx="1753">
                  <c:v>41888</c:v>
                </c:pt>
                <c:pt idx="1754">
                  <c:v>41887</c:v>
                </c:pt>
                <c:pt idx="1755">
                  <c:v>41886</c:v>
                </c:pt>
                <c:pt idx="1756">
                  <c:v>41885</c:v>
                </c:pt>
                <c:pt idx="1757">
                  <c:v>41884</c:v>
                </c:pt>
                <c:pt idx="1758">
                  <c:v>41883</c:v>
                </c:pt>
                <c:pt idx="1759">
                  <c:v>41882</c:v>
                </c:pt>
                <c:pt idx="1760">
                  <c:v>41881</c:v>
                </c:pt>
                <c:pt idx="1761">
                  <c:v>41880</c:v>
                </c:pt>
                <c:pt idx="1762">
                  <c:v>41879</c:v>
                </c:pt>
                <c:pt idx="1763">
                  <c:v>41878</c:v>
                </c:pt>
                <c:pt idx="1764">
                  <c:v>41877</c:v>
                </c:pt>
                <c:pt idx="1765">
                  <c:v>41876</c:v>
                </c:pt>
                <c:pt idx="1766">
                  <c:v>41875</c:v>
                </c:pt>
                <c:pt idx="1767">
                  <c:v>41874</c:v>
                </c:pt>
                <c:pt idx="1768">
                  <c:v>41873</c:v>
                </c:pt>
                <c:pt idx="1769">
                  <c:v>41872</c:v>
                </c:pt>
                <c:pt idx="1770">
                  <c:v>41871</c:v>
                </c:pt>
                <c:pt idx="1771">
                  <c:v>41870</c:v>
                </c:pt>
                <c:pt idx="1772">
                  <c:v>41869</c:v>
                </c:pt>
                <c:pt idx="1773">
                  <c:v>41868</c:v>
                </c:pt>
                <c:pt idx="1774">
                  <c:v>41867</c:v>
                </c:pt>
                <c:pt idx="1775">
                  <c:v>41866</c:v>
                </c:pt>
                <c:pt idx="1776">
                  <c:v>41865</c:v>
                </c:pt>
                <c:pt idx="1777">
                  <c:v>41864</c:v>
                </c:pt>
                <c:pt idx="1778">
                  <c:v>41863</c:v>
                </c:pt>
                <c:pt idx="1779">
                  <c:v>41862</c:v>
                </c:pt>
                <c:pt idx="1780">
                  <c:v>41861</c:v>
                </c:pt>
                <c:pt idx="1781">
                  <c:v>41860</c:v>
                </c:pt>
                <c:pt idx="1782">
                  <c:v>41859</c:v>
                </c:pt>
                <c:pt idx="1783">
                  <c:v>41858</c:v>
                </c:pt>
                <c:pt idx="1784">
                  <c:v>41857</c:v>
                </c:pt>
                <c:pt idx="1785">
                  <c:v>41856</c:v>
                </c:pt>
                <c:pt idx="1786">
                  <c:v>41855</c:v>
                </c:pt>
                <c:pt idx="1787">
                  <c:v>41854</c:v>
                </c:pt>
                <c:pt idx="1788">
                  <c:v>41853</c:v>
                </c:pt>
                <c:pt idx="1789">
                  <c:v>41852</c:v>
                </c:pt>
                <c:pt idx="1790">
                  <c:v>41851</c:v>
                </c:pt>
                <c:pt idx="1791">
                  <c:v>41850</c:v>
                </c:pt>
                <c:pt idx="1792">
                  <c:v>41849</c:v>
                </c:pt>
                <c:pt idx="1793">
                  <c:v>41848</c:v>
                </c:pt>
                <c:pt idx="1794">
                  <c:v>41847</c:v>
                </c:pt>
                <c:pt idx="1795">
                  <c:v>41846</c:v>
                </c:pt>
                <c:pt idx="1796">
                  <c:v>41845</c:v>
                </c:pt>
                <c:pt idx="1797">
                  <c:v>41844</c:v>
                </c:pt>
                <c:pt idx="1798">
                  <c:v>41843</c:v>
                </c:pt>
                <c:pt idx="1799">
                  <c:v>41842</c:v>
                </c:pt>
                <c:pt idx="1800">
                  <c:v>41841</c:v>
                </c:pt>
                <c:pt idx="1801">
                  <c:v>41840</c:v>
                </c:pt>
                <c:pt idx="1802">
                  <c:v>41839</c:v>
                </c:pt>
                <c:pt idx="1803">
                  <c:v>41838</c:v>
                </c:pt>
                <c:pt idx="1804">
                  <c:v>41837</c:v>
                </c:pt>
                <c:pt idx="1805">
                  <c:v>41836</c:v>
                </c:pt>
                <c:pt idx="1806">
                  <c:v>41835</c:v>
                </c:pt>
                <c:pt idx="1807">
                  <c:v>41834</c:v>
                </c:pt>
                <c:pt idx="1808">
                  <c:v>41833</c:v>
                </c:pt>
                <c:pt idx="1809">
                  <c:v>41832</c:v>
                </c:pt>
                <c:pt idx="1810">
                  <c:v>41831</c:v>
                </c:pt>
                <c:pt idx="1811">
                  <c:v>41830</c:v>
                </c:pt>
                <c:pt idx="1812">
                  <c:v>41829</c:v>
                </c:pt>
                <c:pt idx="1813">
                  <c:v>41828</c:v>
                </c:pt>
                <c:pt idx="1814">
                  <c:v>41827</c:v>
                </c:pt>
                <c:pt idx="1815">
                  <c:v>41826</c:v>
                </c:pt>
                <c:pt idx="1816">
                  <c:v>41825</c:v>
                </c:pt>
                <c:pt idx="1817">
                  <c:v>41824</c:v>
                </c:pt>
                <c:pt idx="1818">
                  <c:v>41823</c:v>
                </c:pt>
                <c:pt idx="1819">
                  <c:v>41822</c:v>
                </c:pt>
                <c:pt idx="1820">
                  <c:v>41821</c:v>
                </c:pt>
                <c:pt idx="1821">
                  <c:v>41820</c:v>
                </c:pt>
                <c:pt idx="1822">
                  <c:v>41819</c:v>
                </c:pt>
                <c:pt idx="1823">
                  <c:v>41818</c:v>
                </c:pt>
                <c:pt idx="1824">
                  <c:v>41817</c:v>
                </c:pt>
                <c:pt idx="1825">
                  <c:v>41816</c:v>
                </c:pt>
                <c:pt idx="1826">
                  <c:v>41815</c:v>
                </c:pt>
                <c:pt idx="1827">
                  <c:v>41814</c:v>
                </c:pt>
                <c:pt idx="1828">
                  <c:v>41813</c:v>
                </c:pt>
                <c:pt idx="1829">
                  <c:v>41812</c:v>
                </c:pt>
                <c:pt idx="1830">
                  <c:v>41811</c:v>
                </c:pt>
                <c:pt idx="1831">
                  <c:v>41810</c:v>
                </c:pt>
                <c:pt idx="1832">
                  <c:v>41809</c:v>
                </c:pt>
                <c:pt idx="1833">
                  <c:v>41808</c:v>
                </c:pt>
                <c:pt idx="1834">
                  <c:v>41807</c:v>
                </c:pt>
                <c:pt idx="1835">
                  <c:v>41806</c:v>
                </c:pt>
                <c:pt idx="1836">
                  <c:v>41805</c:v>
                </c:pt>
                <c:pt idx="1837">
                  <c:v>41804</c:v>
                </c:pt>
                <c:pt idx="1838">
                  <c:v>41803</c:v>
                </c:pt>
                <c:pt idx="1839">
                  <c:v>41802</c:v>
                </c:pt>
                <c:pt idx="1840">
                  <c:v>41801</c:v>
                </c:pt>
                <c:pt idx="1841">
                  <c:v>41800</c:v>
                </c:pt>
                <c:pt idx="1842">
                  <c:v>41799</c:v>
                </c:pt>
                <c:pt idx="1843">
                  <c:v>41798</c:v>
                </c:pt>
                <c:pt idx="1844">
                  <c:v>41797</c:v>
                </c:pt>
                <c:pt idx="1845">
                  <c:v>41796</c:v>
                </c:pt>
                <c:pt idx="1846">
                  <c:v>41795</c:v>
                </c:pt>
                <c:pt idx="1847">
                  <c:v>41794</c:v>
                </c:pt>
                <c:pt idx="1848">
                  <c:v>41793</c:v>
                </c:pt>
                <c:pt idx="1849">
                  <c:v>41792</c:v>
                </c:pt>
                <c:pt idx="1850">
                  <c:v>41791</c:v>
                </c:pt>
                <c:pt idx="1851">
                  <c:v>41790</c:v>
                </c:pt>
                <c:pt idx="1852">
                  <c:v>41789</c:v>
                </c:pt>
                <c:pt idx="1853">
                  <c:v>41788</c:v>
                </c:pt>
                <c:pt idx="1854">
                  <c:v>41787</c:v>
                </c:pt>
                <c:pt idx="1855">
                  <c:v>41786</c:v>
                </c:pt>
                <c:pt idx="1856">
                  <c:v>41785</c:v>
                </c:pt>
                <c:pt idx="1857">
                  <c:v>41784</c:v>
                </c:pt>
                <c:pt idx="1858">
                  <c:v>41783</c:v>
                </c:pt>
                <c:pt idx="1859">
                  <c:v>41782</c:v>
                </c:pt>
                <c:pt idx="1860">
                  <c:v>41781</c:v>
                </c:pt>
                <c:pt idx="1861">
                  <c:v>41780</c:v>
                </c:pt>
                <c:pt idx="1862">
                  <c:v>41779</c:v>
                </c:pt>
                <c:pt idx="1863">
                  <c:v>41778</c:v>
                </c:pt>
                <c:pt idx="1864">
                  <c:v>41777</c:v>
                </c:pt>
                <c:pt idx="1865">
                  <c:v>41776</c:v>
                </c:pt>
                <c:pt idx="1866">
                  <c:v>41775</c:v>
                </c:pt>
                <c:pt idx="1867">
                  <c:v>41774</c:v>
                </c:pt>
                <c:pt idx="1868">
                  <c:v>41773</c:v>
                </c:pt>
                <c:pt idx="1869">
                  <c:v>41772</c:v>
                </c:pt>
                <c:pt idx="1870">
                  <c:v>41771</c:v>
                </c:pt>
                <c:pt idx="1871">
                  <c:v>41770</c:v>
                </c:pt>
                <c:pt idx="1872">
                  <c:v>41769</c:v>
                </c:pt>
                <c:pt idx="1873">
                  <c:v>41768</c:v>
                </c:pt>
                <c:pt idx="1874">
                  <c:v>41767</c:v>
                </c:pt>
                <c:pt idx="1875">
                  <c:v>41766</c:v>
                </c:pt>
                <c:pt idx="1876">
                  <c:v>41765</c:v>
                </c:pt>
                <c:pt idx="1877">
                  <c:v>41764</c:v>
                </c:pt>
                <c:pt idx="1878">
                  <c:v>41763</c:v>
                </c:pt>
                <c:pt idx="1879">
                  <c:v>41762</c:v>
                </c:pt>
                <c:pt idx="1880">
                  <c:v>41761</c:v>
                </c:pt>
                <c:pt idx="1881">
                  <c:v>41760</c:v>
                </c:pt>
                <c:pt idx="1882">
                  <c:v>41759</c:v>
                </c:pt>
                <c:pt idx="1883">
                  <c:v>41758</c:v>
                </c:pt>
                <c:pt idx="1884">
                  <c:v>41757</c:v>
                </c:pt>
                <c:pt idx="1885">
                  <c:v>41756</c:v>
                </c:pt>
                <c:pt idx="1886">
                  <c:v>41755</c:v>
                </c:pt>
                <c:pt idx="1887">
                  <c:v>41754</c:v>
                </c:pt>
                <c:pt idx="1888">
                  <c:v>41753</c:v>
                </c:pt>
                <c:pt idx="1889">
                  <c:v>41752</c:v>
                </c:pt>
                <c:pt idx="1890">
                  <c:v>41751</c:v>
                </c:pt>
                <c:pt idx="1891">
                  <c:v>41750</c:v>
                </c:pt>
                <c:pt idx="1892">
                  <c:v>41749</c:v>
                </c:pt>
                <c:pt idx="1893">
                  <c:v>41748</c:v>
                </c:pt>
                <c:pt idx="1894">
                  <c:v>41747</c:v>
                </c:pt>
                <c:pt idx="1895">
                  <c:v>41746</c:v>
                </c:pt>
                <c:pt idx="1896">
                  <c:v>41745</c:v>
                </c:pt>
                <c:pt idx="1897">
                  <c:v>41744</c:v>
                </c:pt>
                <c:pt idx="1898">
                  <c:v>41743</c:v>
                </c:pt>
                <c:pt idx="1899">
                  <c:v>41742</c:v>
                </c:pt>
                <c:pt idx="1900">
                  <c:v>41741</c:v>
                </c:pt>
                <c:pt idx="1901">
                  <c:v>41740</c:v>
                </c:pt>
                <c:pt idx="1902">
                  <c:v>41739</c:v>
                </c:pt>
                <c:pt idx="1903">
                  <c:v>41738</c:v>
                </c:pt>
                <c:pt idx="1904">
                  <c:v>41737</c:v>
                </c:pt>
                <c:pt idx="1905">
                  <c:v>41736</c:v>
                </c:pt>
                <c:pt idx="1906">
                  <c:v>41735</c:v>
                </c:pt>
                <c:pt idx="1907">
                  <c:v>41734</c:v>
                </c:pt>
                <c:pt idx="1908">
                  <c:v>41733</c:v>
                </c:pt>
                <c:pt idx="1909">
                  <c:v>41732</c:v>
                </c:pt>
                <c:pt idx="1910">
                  <c:v>41731</c:v>
                </c:pt>
                <c:pt idx="1911">
                  <c:v>41730</c:v>
                </c:pt>
                <c:pt idx="1912">
                  <c:v>41729</c:v>
                </c:pt>
                <c:pt idx="1913">
                  <c:v>41728</c:v>
                </c:pt>
                <c:pt idx="1914">
                  <c:v>41727</c:v>
                </c:pt>
                <c:pt idx="1915">
                  <c:v>41726</c:v>
                </c:pt>
                <c:pt idx="1916">
                  <c:v>41725</c:v>
                </c:pt>
                <c:pt idx="1917">
                  <c:v>41724</c:v>
                </c:pt>
                <c:pt idx="1918">
                  <c:v>41723</c:v>
                </c:pt>
                <c:pt idx="1919">
                  <c:v>41722</c:v>
                </c:pt>
                <c:pt idx="1920">
                  <c:v>41721</c:v>
                </c:pt>
                <c:pt idx="1921">
                  <c:v>41720</c:v>
                </c:pt>
                <c:pt idx="1922">
                  <c:v>41719</c:v>
                </c:pt>
                <c:pt idx="1923">
                  <c:v>41718</c:v>
                </c:pt>
                <c:pt idx="1924">
                  <c:v>41717</c:v>
                </c:pt>
                <c:pt idx="1925">
                  <c:v>41716</c:v>
                </c:pt>
                <c:pt idx="1926">
                  <c:v>41715</c:v>
                </c:pt>
                <c:pt idx="1927">
                  <c:v>41714</c:v>
                </c:pt>
                <c:pt idx="1928">
                  <c:v>41713</c:v>
                </c:pt>
                <c:pt idx="1929">
                  <c:v>41712</c:v>
                </c:pt>
                <c:pt idx="1930">
                  <c:v>41711</c:v>
                </c:pt>
                <c:pt idx="1931">
                  <c:v>41710</c:v>
                </c:pt>
                <c:pt idx="1932">
                  <c:v>41709</c:v>
                </c:pt>
                <c:pt idx="1933">
                  <c:v>41708</c:v>
                </c:pt>
                <c:pt idx="1934">
                  <c:v>41707</c:v>
                </c:pt>
                <c:pt idx="1935">
                  <c:v>41706</c:v>
                </c:pt>
                <c:pt idx="1936">
                  <c:v>41705</c:v>
                </c:pt>
                <c:pt idx="1937">
                  <c:v>41704</c:v>
                </c:pt>
                <c:pt idx="1938">
                  <c:v>41703</c:v>
                </c:pt>
                <c:pt idx="1939">
                  <c:v>41702</c:v>
                </c:pt>
                <c:pt idx="1940">
                  <c:v>41701</c:v>
                </c:pt>
                <c:pt idx="1941">
                  <c:v>41700</c:v>
                </c:pt>
                <c:pt idx="1942">
                  <c:v>41699</c:v>
                </c:pt>
                <c:pt idx="1943">
                  <c:v>41698</c:v>
                </c:pt>
                <c:pt idx="1944">
                  <c:v>41697</c:v>
                </c:pt>
                <c:pt idx="1945">
                  <c:v>41696</c:v>
                </c:pt>
                <c:pt idx="1946">
                  <c:v>41695</c:v>
                </c:pt>
                <c:pt idx="1947">
                  <c:v>41694</c:v>
                </c:pt>
                <c:pt idx="1948">
                  <c:v>41693</c:v>
                </c:pt>
                <c:pt idx="1949">
                  <c:v>41692</c:v>
                </c:pt>
                <c:pt idx="1950">
                  <c:v>41691</c:v>
                </c:pt>
                <c:pt idx="1951">
                  <c:v>41690</c:v>
                </c:pt>
                <c:pt idx="1952">
                  <c:v>41689</c:v>
                </c:pt>
                <c:pt idx="1953">
                  <c:v>41688</c:v>
                </c:pt>
                <c:pt idx="1954">
                  <c:v>41687</c:v>
                </c:pt>
                <c:pt idx="1955">
                  <c:v>41686</c:v>
                </c:pt>
                <c:pt idx="1956">
                  <c:v>41685</c:v>
                </c:pt>
                <c:pt idx="1957">
                  <c:v>41684</c:v>
                </c:pt>
                <c:pt idx="1958">
                  <c:v>41683</c:v>
                </c:pt>
                <c:pt idx="1959">
                  <c:v>41682</c:v>
                </c:pt>
                <c:pt idx="1960">
                  <c:v>41681</c:v>
                </c:pt>
                <c:pt idx="1961">
                  <c:v>41680</c:v>
                </c:pt>
                <c:pt idx="1962">
                  <c:v>41679</c:v>
                </c:pt>
                <c:pt idx="1963">
                  <c:v>41678</c:v>
                </c:pt>
                <c:pt idx="1964">
                  <c:v>41677</c:v>
                </c:pt>
                <c:pt idx="1965">
                  <c:v>41676</c:v>
                </c:pt>
                <c:pt idx="1966">
                  <c:v>41675</c:v>
                </c:pt>
                <c:pt idx="1967">
                  <c:v>41674</c:v>
                </c:pt>
                <c:pt idx="1968">
                  <c:v>41673</c:v>
                </c:pt>
                <c:pt idx="1969">
                  <c:v>41672</c:v>
                </c:pt>
                <c:pt idx="1970">
                  <c:v>41671</c:v>
                </c:pt>
                <c:pt idx="1971">
                  <c:v>41670</c:v>
                </c:pt>
                <c:pt idx="1972">
                  <c:v>41669</c:v>
                </c:pt>
                <c:pt idx="1973">
                  <c:v>41668</c:v>
                </c:pt>
                <c:pt idx="1974">
                  <c:v>41667</c:v>
                </c:pt>
                <c:pt idx="1975">
                  <c:v>41666</c:v>
                </c:pt>
                <c:pt idx="1976">
                  <c:v>41665</c:v>
                </c:pt>
                <c:pt idx="1977">
                  <c:v>41664</c:v>
                </c:pt>
                <c:pt idx="1978">
                  <c:v>41663</c:v>
                </c:pt>
                <c:pt idx="1979">
                  <c:v>41662</c:v>
                </c:pt>
                <c:pt idx="1980">
                  <c:v>41661</c:v>
                </c:pt>
                <c:pt idx="1981">
                  <c:v>41660</c:v>
                </c:pt>
                <c:pt idx="1982">
                  <c:v>41659</c:v>
                </c:pt>
                <c:pt idx="1983">
                  <c:v>41658</c:v>
                </c:pt>
                <c:pt idx="1984">
                  <c:v>41657</c:v>
                </c:pt>
                <c:pt idx="1985">
                  <c:v>41656</c:v>
                </c:pt>
                <c:pt idx="1986">
                  <c:v>41655</c:v>
                </c:pt>
                <c:pt idx="1987">
                  <c:v>41654</c:v>
                </c:pt>
                <c:pt idx="1988">
                  <c:v>41653</c:v>
                </c:pt>
                <c:pt idx="1989">
                  <c:v>41652</c:v>
                </c:pt>
                <c:pt idx="1990">
                  <c:v>41651</c:v>
                </c:pt>
                <c:pt idx="1991">
                  <c:v>41650</c:v>
                </c:pt>
                <c:pt idx="1992">
                  <c:v>41649</c:v>
                </c:pt>
                <c:pt idx="1993">
                  <c:v>41648</c:v>
                </c:pt>
                <c:pt idx="1994">
                  <c:v>41647</c:v>
                </c:pt>
                <c:pt idx="1995">
                  <c:v>41646</c:v>
                </c:pt>
                <c:pt idx="1996">
                  <c:v>41645</c:v>
                </c:pt>
                <c:pt idx="1997">
                  <c:v>41644</c:v>
                </c:pt>
                <c:pt idx="1998">
                  <c:v>41643</c:v>
                </c:pt>
                <c:pt idx="1999">
                  <c:v>41642</c:v>
                </c:pt>
                <c:pt idx="2000">
                  <c:v>41641</c:v>
                </c:pt>
                <c:pt idx="2001">
                  <c:v>41640</c:v>
                </c:pt>
                <c:pt idx="2002">
                  <c:v>41639</c:v>
                </c:pt>
                <c:pt idx="2003">
                  <c:v>41638</c:v>
                </c:pt>
                <c:pt idx="2004">
                  <c:v>41637</c:v>
                </c:pt>
                <c:pt idx="2005">
                  <c:v>41636</c:v>
                </c:pt>
                <c:pt idx="2006">
                  <c:v>41635</c:v>
                </c:pt>
                <c:pt idx="2007">
                  <c:v>41634</c:v>
                </c:pt>
                <c:pt idx="2008">
                  <c:v>41633</c:v>
                </c:pt>
                <c:pt idx="2009">
                  <c:v>41632</c:v>
                </c:pt>
                <c:pt idx="2010">
                  <c:v>41631</c:v>
                </c:pt>
                <c:pt idx="2011">
                  <c:v>41630</c:v>
                </c:pt>
                <c:pt idx="2012">
                  <c:v>41629</c:v>
                </c:pt>
                <c:pt idx="2013">
                  <c:v>41628</c:v>
                </c:pt>
                <c:pt idx="2014">
                  <c:v>41627</c:v>
                </c:pt>
                <c:pt idx="2015">
                  <c:v>41626</c:v>
                </c:pt>
                <c:pt idx="2016">
                  <c:v>41625</c:v>
                </c:pt>
                <c:pt idx="2017">
                  <c:v>41624</c:v>
                </c:pt>
                <c:pt idx="2018">
                  <c:v>41623</c:v>
                </c:pt>
                <c:pt idx="2019">
                  <c:v>41622</c:v>
                </c:pt>
                <c:pt idx="2020">
                  <c:v>41621</c:v>
                </c:pt>
                <c:pt idx="2021">
                  <c:v>41620</c:v>
                </c:pt>
                <c:pt idx="2022">
                  <c:v>41619</c:v>
                </c:pt>
                <c:pt idx="2023">
                  <c:v>41618</c:v>
                </c:pt>
                <c:pt idx="2024">
                  <c:v>41617</c:v>
                </c:pt>
                <c:pt idx="2025">
                  <c:v>41616</c:v>
                </c:pt>
                <c:pt idx="2026">
                  <c:v>41615</c:v>
                </c:pt>
                <c:pt idx="2027">
                  <c:v>41614</c:v>
                </c:pt>
                <c:pt idx="2028">
                  <c:v>41613</c:v>
                </c:pt>
                <c:pt idx="2029">
                  <c:v>41612</c:v>
                </c:pt>
                <c:pt idx="2030">
                  <c:v>41611</c:v>
                </c:pt>
                <c:pt idx="2031">
                  <c:v>41610</c:v>
                </c:pt>
                <c:pt idx="2032">
                  <c:v>41609</c:v>
                </c:pt>
                <c:pt idx="2033">
                  <c:v>41608</c:v>
                </c:pt>
                <c:pt idx="2034">
                  <c:v>41607</c:v>
                </c:pt>
                <c:pt idx="2035">
                  <c:v>41606</c:v>
                </c:pt>
                <c:pt idx="2036">
                  <c:v>41605</c:v>
                </c:pt>
                <c:pt idx="2037">
                  <c:v>41604</c:v>
                </c:pt>
                <c:pt idx="2038">
                  <c:v>41603</c:v>
                </c:pt>
                <c:pt idx="2039">
                  <c:v>41602</c:v>
                </c:pt>
                <c:pt idx="2040">
                  <c:v>41601</c:v>
                </c:pt>
                <c:pt idx="2041">
                  <c:v>41600</c:v>
                </c:pt>
                <c:pt idx="2042">
                  <c:v>41599</c:v>
                </c:pt>
                <c:pt idx="2043">
                  <c:v>41598</c:v>
                </c:pt>
                <c:pt idx="2044">
                  <c:v>41597</c:v>
                </c:pt>
                <c:pt idx="2045">
                  <c:v>41596</c:v>
                </c:pt>
                <c:pt idx="2046">
                  <c:v>41595</c:v>
                </c:pt>
                <c:pt idx="2047">
                  <c:v>41594</c:v>
                </c:pt>
                <c:pt idx="2048">
                  <c:v>41593</c:v>
                </c:pt>
                <c:pt idx="2049">
                  <c:v>41592</c:v>
                </c:pt>
                <c:pt idx="2050">
                  <c:v>41591</c:v>
                </c:pt>
                <c:pt idx="2051">
                  <c:v>41590</c:v>
                </c:pt>
                <c:pt idx="2052">
                  <c:v>41589</c:v>
                </c:pt>
                <c:pt idx="2053">
                  <c:v>41588</c:v>
                </c:pt>
                <c:pt idx="2054">
                  <c:v>41587</c:v>
                </c:pt>
                <c:pt idx="2055">
                  <c:v>41586</c:v>
                </c:pt>
                <c:pt idx="2056">
                  <c:v>41585</c:v>
                </c:pt>
                <c:pt idx="2057">
                  <c:v>41584</c:v>
                </c:pt>
                <c:pt idx="2058">
                  <c:v>41583</c:v>
                </c:pt>
                <c:pt idx="2059">
                  <c:v>41582</c:v>
                </c:pt>
                <c:pt idx="2060">
                  <c:v>41581</c:v>
                </c:pt>
                <c:pt idx="2061">
                  <c:v>41580</c:v>
                </c:pt>
                <c:pt idx="2062">
                  <c:v>41579</c:v>
                </c:pt>
                <c:pt idx="2063">
                  <c:v>41578</c:v>
                </c:pt>
                <c:pt idx="2064">
                  <c:v>41577</c:v>
                </c:pt>
                <c:pt idx="2065">
                  <c:v>41576</c:v>
                </c:pt>
                <c:pt idx="2066">
                  <c:v>41575</c:v>
                </c:pt>
                <c:pt idx="2067">
                  <c:v>41574</c:v>
                </c:pt>
                <c:pt idx="2068">
                  <c:v>41573</c:v>
                </c:pt>
                <c:pt idx="2069">
                  <c:v>41572</c:v>
                </c:pt>
                <c:pt idx="2070">
                  <c:v>41571</c:v>
                </c:pt>
                <c:pt idx="2071">
                  <c:v>41570</c:v>
                </c:pt>
                <c:pt idx="2072">
                  <c:v>41569</c:v>
                </c:pt>
                <c:pt idx="2073">
                  <c:v>41568</c:v>
                </c:pt>
                <c:pt idx="2074">
                  <c:v>41567</c:v>
                </c:pt>
                <c:pt idx="2075">
                  <c:v>41566</c:v>
                </c:pt>
                <c:pt idx="2076">
                  <c:v>41565</c:v>
                </c:pt>
                <c:pt idx="2077">
                  <c:v>41564</c:v>
                </c:pt>
                <c:pt idx="2078">
                  <c:v>41563</c:v>
                </c:pt>
                <c:pt idx="2079">
                  <c:v>41562</c:v>
                </c:pt>
                <c:pt idx="2080">
                  <c:v>41561</c:v>
                </c:pt>
                <c:pt idx="2081">
                  <c:v>41560</c:v>
                </c:pt>
                <c:pt idx="2082">
                  <c:v>41559</c:v>
                </c:pt>
                <c:pt idx="2083">
                  <c:v>41558</c:v>
                </c:pt>
                <c:pt idx="2084">
                  <c:v>41557</c:v>
                </c:pt>
                <c:pt idx="2085">
                  <c:v>41556</c:v>
                </c:pt>
                <c:pt idx="2086">
                  <c:v>41555</c:v>
                </c:pt>
                <c:pt idx="2087">
                  <c:v>41554</c:v>
                </c:pt>
                <c:pt idx="2088">
                  <c:v>41553</c:v>
                </c:pt>
                <c:pt idx="2089">
                  <c:v>41552</c:v>
                </c:pt>
                <c:pt idx="2090">
                  <c:v>41551</c:v>
                </c:pt>
                <c:pt idx="2091">
                  <c:v>41550</c:v>
                </c:pt>
                <c:pt idx="2092">
                  <c:v>41549</c:v>
                </c:pt>
                <c:pt idx="2093">
                  <c:v>41548</c:v>
                </c:pt>
                <c:pt idx="2094">
                  <c:v>41547</c:v>
                </c:pt>
                <c:pt idx="2095">
                  <c:v>41546</c:v>
                </c:pt>
                <c:pt idx="2096">
                  <c:v>41545</c:v>
                </c:pt>
                <c:pt idx="2097">
                  <c:v>41544</c:v>
                </c:pt>
                <c:pt idx="2098">
                  <c:v>41543</c:v>
                </c:pt>
                <c:pt idx="2099">
                  <c:v>41542</c:v>
                </c:pt>
                <c:pt idx="2100">
                  <c:v>41541</c:v>
                </c:pt>
                <c:pt idx="2101">
                  <c:v>41540</c:v>
                </c:pt>
                <c:pt idx="2102">
                  <c:v>41539</c:v>
                </c:pt>
                <c:pt idx="2103">
                  <c:v>41538</c:v>
                </c:pt>
                <c:pt idx="2104">
                  <c:v>41537</c:v>
                </c:pt>
                <c:pt idx="2105">
                  <c:v>41536</c:v>
                </c:pt>
                <c:pt idx="2106">
                  <c:v>41535</c:v>
                </c:pt>
                <c:pt idx="2107">
                  <c:v>41534</c:v>
                </c:pt>
                <c:pt idx="2108">
                  <c:v>41533</c:v>
                </c:pt>
                <c:pt idx="2109">
                  <c:v>41532</c:v>
                </c:pt>
                <c:pt idx="2110">
                  <c:v>41531</c:v>
                </c:pt>
                <c:pt idx="2111">
                  <c:v>41530</c:v>
                </c:pt>
                <c:pt idx="2112">
                  <c:v>41529</c:v>
                </c:pt>
                <c:pt idx="2113">
                  <c:v>41528</c:v>
                </c:pt>
                <c:pt idx="2114">
                  <c:v>41527</c:v>
                </c:pt>
                <c:pt idx="2115">
                  <c:v>41526</c:v>
                </c:pt>
                <c:pt idx="2116">
                  <c:v>41525</c:v>
                </c:pt>
                <c:pt idx="2117">
                  <c:v>41524</c:v>
                </c:pt>
                <c:pt idx="2118">
                  <c:v>41523</c:v>
                </c:pt>
                <c:pt idx="2119">
                  <c:v>41522</c:v>
                </c:pt>
                <c:pt idx="2120">
                  <c:v>41521</c:v>
                </c:pt>
                <c:pt idx="2121">
                  <c:v>41520</c:v>
                </c:pt>
                <c:pt idx="2122">
                  <c:v>41519</c:v>
                </c:pt>
                <c:pt idx="2123">
                  <c:v>41518</c:v>
                </c:pt>
                <c:pt idx="2124">
                  <c:v>41517</c:v>
                </c:pt>
                <c:pt idx="2125">
                  <c:v>41516</c:v>
                </c:pt>
                <c:pt idx="2126">
                  <c:v>41515</c:v>
                </c:pt>
                <c:pt idx="2127">
                  <c:v>41514</c:v>
                </c:pt>
                <c:pt idx="2128">
                  <c:v>41513</c:v>
                </c:pt>
                <c:pt idx="2129">
                  <c:v>41512</c:v>
                </c:pt>
                <c:pt idx="2130">
                  <c:v>41511</c:v>
                </c:pt>
                <c:pt idx="2131">
                  <c:v>41510</c:v>
                </c:pt>
                <c:pt idx="2132">
                  <c:v>41509</c:v>
                </c:pt>
                <c:pt idx="2133">
                  <c:v>41508</c:v>
                </c:pt>
                <c:pt idx="2134">
                  <c:v>41507</c:v>
                </c:pt>
                <c:pt idx="2135">
                  <c:v>41506</c:v>
                </c:pt>
                <c:pt idx="2136">
                  <c:v>41505</c:v>
                </c:pt>
                <c:pt idx="2137">
                  <c:v>41504</c:v>
                </c:pt>
                <c:pt idx="2138">
                  <c:v>41503</c:v>
                </c:pt>
                <c:pt idx="2139">
                  <c:v>41502</c:v>
                </c:pt>
                <c:pt idx="2140">
                  <c:v>41501</c:v>
                </c:pt>
                <c:pt idx="2141">
                  <c:v>41500</c:v>
                </c:pt>
                <c:pt idx="2142">
                  <c:v>41499</c:v>
                </c:pt>
                <c:pt idx="2143">
                  <c:v>41498</c:v>
                </c:pt>
                <c:pt idx="2144">
                  <c:v>41497</c:v>
                </c:pt>
                <c:pt idx="2145">
                  <c:v>41496</c:v>
                </c:pt>
                <c:pt idx="2146">
                  <c:v>41495</c:v>
                </c:pt>
                <c:pt idx="2147">
                  <c:v>41494</c:v>
                </c:pt>
                <c:pt idx="2148">
                  <c:v>41493</c:v>
                </c:pt>
                <c:pt idx="2149">
                  <c:v>41492</c:v>
                </c:pt>
                <c:pt idx="2150">
                  <c:v>41491</c:v>
                </c:pt>
                <c:pt idx="2151">
                  <c:v>41490</c:v>
                </c:pt>
                <c:pt idx="2152">
                  <c:v>41489</c:v>
                </c:pt>
                <c:pt idx="2153">
                  <c:v>41488</c:v>
                </c:pt>
                <c:pt idx="2154">
                  <c:v>41487</c:v>
                </c:pt>
                <c:pt idx="2155">
                  <c:v>41486</c:v>
                </c:pt>
                <c:pt idx="2156">
                  <c:v>41485</c:v>
                </c:pt>
                <c:pt idx="2157">
                  <c:v>41484</c:v>
                </c:pt>
                <c:pt idx="2158">
                  <c:v>41483</c:v>
                </c:pt>
                <c:pt idx="2159">
                  <c:v>41482</c:v>
                </c:pt>
                <c:pt idx="2160">
                  <c:v>41481</c:v>
                </c:pt>
                <c:pt idx="2161">
                  <c:v>41480</c:v>
                </c:pt>
                <c:pt idx="2162">
                  <c:v>41479</c:v>
                </c:pt>
                <c:pt idx="2163">
                  <c:v>41478</c:v>
                </c:pt>
                <c:pt idx="2164">
                  <c:v>41477</c:v>
                </c:pt>
                <c:pt idx="2165">
                  <c:v>41476</c:v>
                </c:pt>
                <c:pt idx="2166">
                  <c:v>41475</c:v>
                </c:pt>
                <c:pt idx="2167">
                  <c:v>41474</c:v>
                </c:pt>
                <c:pt idx="2168">
                  <c:v>41473</c:v>
                </c:pt>
                <c:pt idx="2169">
                  <c:v>41472</c:v>
                </c:pt>
                <c:pt idx="2170">
                  <c:v>41471</c:v>
                </c:pt>
                <c:pt idx="2171">
                  <c:v>41470</c:v>
                </c:pt>
                <c:pt idx="2172">
                  <c:v>41469</c:v>
                </c:pt>
                <c:pt idx="2173">
                  <c:v>41468</c:v>
                </c:pt>
                <c:pt idx="2174">
                  <c:v>41467</c:v>
                </c:pt>
                <c:pt idx="2175">
                  <c:v>41466</c:v>
                </c:pt>
                <c:pt idx="2176">
                  <c:v>41465</c:v>
                </c:pt>
                <c:pt idx="2177">
                  <c:v>41464</c:v>
                </c:pt>
                <c:pt idx="2178">
                  <c:v>41463</c:v>
                </c:pt>
                <c:pt idx="2179">
                  <c:v>41462</c:v>
                </c:pt>
                <c:pt idx="2180">
                  <c:v>41461</c:v>
                </c:pt>
                <c:pt idx="2181">
                  <c:v>41460</c:v>
                </c:pt>
                <c:pt idx="2182">
                  <c:v>41459</c:v>
                </c:pt>
                <c:pt idx="2183">
                  <c:v>41458</c:v>
                </c:pt>
                <c:pt idx="2184">
                  <c:v>41457</c:v>
                </c:pt>
                <c:pt idx="2185">
                  <c:v>41456</c:v>
                </c:pt>
                <c:pt idx="2186">
                  <c:v>41455</c:v>
                </c:pt>
                <c:pt idx="2187">
                  <c:v>41454</c:v>
                </c:pt>
                <c:pt idx="2188">
                  <c:v>41453</c:v>
                </c:pt>
                <c:pt idx="2189">
                  <c:v>41452</c:v>
                </c:pt>
                <c:pt idx="2190">
                  <c:v>41451</c:v>
                </c:pt>
                <c:pt idx="2191">
                  <c:v>41450</c:v>
                </c:pt>
                <c:pt idx="2192">
                  <c:v>41449</c:v>
                </c:pt>
                <c:pt idx="2193">
                  <c:v>41448</c:v>
                </c:pt>
                <c:pt idx="2194">
                  <c:v>41447</c:v>
                </c:pt>
                <c:pt idx="2195">
                  <c:v>41446</c:v>
                </c:pt>
                <c:pt idx="2196">
                  <c:v>41445</c:v>
                </c:pt>
                <c:pt idx="2197">
                  <c:v>41444</c:v>
                </c:pt>
                <c:pt idx="2198">
                  <c:v>41443</c:v>
                </c:pt>
                <c:pt idx="2199">
                  <c:v>41442</c:v>
                </c:pt>
                <c:pt idx="2200">
                  <c:v>41441</c:v>
                </c:pt>
                <c:pt idx="2201">
                  <c:v>41440</c:v>
                </c:pt>
                <c:pt idx="2202">
                  <c:v>41439</c:v>
                </c:pt>
                <c:pt idx="2203">
                  <c:v>41438</c:v>
                </c:pt>
                <c:pt idx="2204">
                  <c:v>41437</c:v>
                </c:pt>
                <c:pt idx="2205">
                  <c:v>41436</c:v>
                </c:pt>
                <c:pt idx="2206">
                  <c:v>41435</c:v>
                </c:pt>
                <c:pt idx="2207">
                  <c:v>41434</c:v>
                </c:pt>
                <c:pt idx="2208">
                  <c:v>41433</c:v>
                </c:pt>
                <c:pt idx="2209">
                  <c:v>41432</c:v>
                </c:pt>
                <c:pt idx="2210">
                  <c:v>41431</c:v>
                </c:pt>
                <c:pt idx="2211">
                  <c:v>41430</c:v>
                </c:pt>
                <c:pt idx="2212">
                  <c:v>41429</c:v>
                </c:pt>
                <c:pt idx="2213">
                  <c:v>41428</c:v>
                </c:pt>
                <c:pt idx="2214">
                  <c:v>41427</c:v>
                </c:pt>
                <c:pt idx="2215">
                  <c:v>41426</c:v>
                </c:pt>
                <c:pt idx="2216">
                  <c:v>41425</c:v>
                </c:pt>
                <c:pt idx="2217">
                  <c:v>41424</c:v>
                </c:pt>
                <c:pt idx="2218">
                  <c:v>41423</c:v>
                </c:pt>
                <c:pt idx="2219">
                  <c:v>41422</c:v>
                </c:pt>
                <c:pt idx="2220">
                  <c:v>41421</c:v>
                </c:pt>
                <c:pt idx="2221">
                  <c:v>41420</c:v>
                </c:pt>
                <c:pt idx="2222">
                  <c:v>41419</c:v>
                </c:pt>
                <c:pt idx="2223">
                  <c:v>41418</c:v>
                </c:pt>
                <c:pt idx="2224">
                  <c:v>41417</c:v>
                </c:pt>
                <c:pt idx="2225">
                  <c:v>41416</c:v>
                </c:pt>
                <c:pt idx="2226">
                  <c:v>41415</c:v>
                </c:pt>
                <c:pt idx="2227">
                  <c:v>41414</c:v>
                </c:pt>
                <c:pt idx="2228">
                  <c:v>41413</c:v>
                </c:pt>
                <c:pt idx="2229">
                  <c:v>41412</c:v>
                </c:pt>
                <c:pt idx="2230">
                  <c:v>41411</c:v>
                </c:pt>
                <c:pt idx="2231">
                  <c:v>41410</c:v>
                </c:pt>
                <c:pt idx="2232">
                  <c:v>41409</c:v>
                </c:pt>
                <c:pt idx="2233">
                  <c:v>41408</c:v>
                </c:pt>
                <c:pt idx="2234">
                  <c:v>41407</c:v>
                </c:pt>
                <c:pt idx="2235">
                  <c:v>41406</c:v>
                </c:pt>
                <c:pt idx="2236">
                  <c:v>41405</c:v>
                </c:pt>
                <c:pt idx="2237">
                  <c:v>41404</c:v>
                </c:pt>
                <c:pt idx="2238">
                  <c:v>41403</c:v>
                </c:pt>
                <c:pt idx="2239">
                  <c:v>41402</c:v>
                </c:pt>
                <c:pt idx="2240">
                  <c:v>41401</c:v>
                </c:pt>
                <c:pt idx="2241">
                  <c:v>41400</c:v>
                </c:pt>
                <c:pt idx="2242">
                  <c:v>41399</c:v>
                </c:pt>
                <c:pt idx="2243">
                  <c:v>41398</c:v>
                </c:pt>
                <c:pt idx="2244">
                  <c:v>41397</c:v>
                </c:pt>
                <c:pt idx="2245">
                  <c:v>41396</c:v>
                </c:pt>
                <c:pt idx="2246">
                  <c:v>41395</c:v>
                </c:pt>
                <c:pt idx="2247">
                  <c:v>41394</c:v>
                </c:pt>
                <c:pt idx="2248">
                  <c:v>41393</c:v>
                </c:pt>
                <c:pt idx="2249">
                  <c:v>41392</c:v>
                </c:pt>
                <c:pt idx="2250">
                  <c:v>41391</c:v>
                </c:pt>
                <c:pt idx="2251">
                  <c:v>41390</c:v>
                </c:pt>
                <c:pt idx="2252">
                  <c:v>41389</c:v>
                </c:pt>
                <c:pt idx="2253">
                  <c:v>41388</c:v>
                </c:pt>
                <c:pt idx="2254">
                  <c:v>41387</c:v>
                </c:pt>
                <c:pt idx="2255">
                  <c:v>41386</c:v>
                </c:pt>
                <c:pt idx="2256">
                  <c:v>41385</c:v>
                </c:pt>
                <c:pt idx="2257">
                  <c:v>41384</c:v>
                </c:pt>
                <c:pt idx="2258">
                  <c:v>41383</c:v>
                </c:pt>
                <c:pt idx="2259">
                  <c:v>41382</c:v>
                </c:pt>
                <c:pt idx="2260">
                  <c:v>41381</c:v>
                </c:pt>
                <c:pt idx="2261">
                  <c:v>41380</c:v>
                </c:pt>
                <c:pt idx="2262">
                  <c:v>41379</c:v>
                </c:pt>
                <c:pt idx="2263">
                  <c:v>41378</c:v>
                </c:pt>
                <c:pt idx="2264">
                  <c:v>41377</c:v>
                </c:pt>
                <c:pt idx="2265">
                  <c:v>41376</c:v>
                </c:pt>
                <c:pt idx="2266">
                  <c:v>41375</c:v>
                </c:pt>
                <c:pt idx="2267">
                  <c:v>41374</c:v>
                </c:pt>
                <c:pt idx="2268">
                  <c:v>41373</c:v>
                </c:pt>
                <c:pt idx="2269">
                  <c:v>41372</c:v>
                </c:pt>
                <c:pt idx="2270">
                  <c:v>41371</c:v>
                </c:pt>
                <c:pt idx="2271">
                  <c:v>41370</c:v>
                </c:pt>
                <c:pt idx="2272">
                  <c:v>41369</c:v>
                </c:pt>
                <c:pt idx="2273">
                  <c:v>41368</c:v>
                </c:pt>
                <c:pt idx="2274">
                  <c:v>41367</c:v>
                </c:pt>
                <c:pt idx="2275">
                  <c:v>41366</c:v>
                </c:pt>
                <c:pt idx="2276">
                  <c:v>41365</c:v>
                </c:pt>
                <c:pt idx="2277">
                  <c:v>41364</c:v>
                </c:pt>
                <c:pt idx="2278">
                  <c:v>41363</c:v>
                </c:pt>
                <c:pt idx="2279">
                  <c:v>41362</c:v>
                </c:pt>
                <c:pt idx="2280">
                  <c:v>41361</c:v>
                </c:pt>
                <c:pt idx="2281">
                  <c:v>41360</c:v>
                </c:pt>
                <c:pt idx="2282">
                  <c:v>41359</c:v>
                </c:pt>
                <c:pt idx="2283">
                  <c:v>41358</c:v>
                </c:pt>
                <c:pt idx="2284">
                  <c:v>41357</c:v>
                </c:pt>
                <c:pt idx="2285">
                  <c:v>41356</c:v>
                </c:pt>
                <c:pt idx="2286">
                  <c:v>41355</c:v>
                </c:pt>
                <c:pt idx="2287">
                  <c:v>41354</c:v>
                </c:pt>
                <c:pt idx="2288">
                  <c:v>41353</c:v>
                </c:pt>
                <c:pt idx="2289">
                  <c:v>41352</c:v>
                </c:pt>
                <c:pt idx="2290">
                  <c:v>41351</c:v>
                </c:pt>
                <c:pt idx="2291">
                  <c:v>41350</c:v>
                </c:pt>
                <c:pt idx="2292">
                  <c:v>41349</c:v>
                </c:pt>
                <c:pt idx="2293">
                  <c:v>41348</c:v>
                </c:pt>
                <c:pt idx="2294">
                  <c:v>41347</c:v>
                </c:pt>
                <c:pt idx="2295">
                  <c:v>41346</c:v>
                </c:pt>
                <c:pt idx="2296">
                  <c:v>41345</c:v>
                </c:pt>
                <c:pt idx="2297">
                  <c:v>41344</c:v>
                </c:pt>
                <c:pt idx="2298">
                  <c:v>41343</c:v>
                </c:pt>
                <c:pt idx="2299">
                  <c:v>41342</c:v>
                </c:pt>
                <c:pt idx="2300">
                  <c:v>41341</c:v>
                </c:pt>
                <c:pt idx="2301">
                  <c:v>41340</c:v>
                </c:pt>
                <c:pt idx="2302">
                  <c:v>41339</c:v>
                </c:pt>
                <c:pt idx="2303">
                  <c:v>41338</c:v>
                </c:pt>
                <c:pt idx="2304">
                  <c:v>41337</c:v>
                </c:pt>
                <c:pt idx="2305">
                  <c:v>41336</c:v>
                </c:pt>
                <c:pt idx="2306">
                  <c:v>41335</c:v>
                </c:pt>
                <c:pt idx="2307">
                  <c:v>41334</c:v>
                </c:pt>
                <c:pt idx="2308">
                  <c:v>41333</c:v>
                </c:pt>
                <c:pt idx="2309">
                  <c:v>41332</c:v>
                </c:pt>
                <c:pt idx="2310">
                  <c:v>41331</c:v>
                </c:pt>
                <c:pt idx="2311">
                  <c:v>41330</c:v>
                </c:pt>
                <c:pt idx="2312">
                  <c:v>41329</c:v>
                </c:pt>
                <c:pt idx="2313">
                  <c:v>41328</c:v>
                </c:pt>
                <c:pt idx="2314">
                  <c:v>41327</c:v>
                </c:pt>
                <c:pt idx="2315">
                  <c:v>41326</c:v>
                </c:pt>
                <c:pt idx="2316">
                  <c:v>41325</c:v>
                </c:pt>
                <c:pt idx="2317">
                  <c:v>41324</c:v>
                </c:pt>
                <c:pt idx="2318">
                  <c:v>41323</c:v>
                </c:pt>
                <c:pt idx="2319">
                  <c:v>41322</c:v>
                </c:pt>
                <c:pt idx="2320">
                  <c:v>41321</c:v>
                </c:pt>
                <c:pt idx="2321">
                  <c:v>41320</c:v>
                </c:pt>
                <c:pt idx="2322">
                  <c:v>41319</c:v>
                </c:pt>
                <c:pt idx="2323">
                  <c:v>41318</c:v>
                </c:pt>
                <c:pt idx="2324">
                  <c:v>41317</c:v>
                </c:pt>
                <c:pt idx="2325">
                  <c:v>41316</c:v>
                </c:pt>
                <c:pt idx="2326">
                  <c:v>41315</c:v>
                </c:pt>
                <c:pt idx="2327">
                  <c:v>41314</c:v>
                </c:pt>
                <c:pt idx="2328">
                  <c:v>41313</c:v>
                </c:pt>
                <c:pt idx="2329">
                  <c:v>41312</c:v>
                </c:pt>
                <c:pt idx="2330">
                  <c:v>41311</c:v>
                </c:pt>
                <c:pt idx="2331">
                  <c:v>41310</c:v>
                </c:pt>
                <c:pt idx="2332">
                  <c:v>41309</c:v>
                </c:pt>
                <c:pt idx="2333">
                  <c:v>41308</c:v>
                </c:pt>
                <c:pt idx="2334">
                  <c:v>41307</c:v>
                </c:pt>
                <c:pt idx="2335">
                  <c:v>41306</c:v>
                </c:pt>
                <c:pt idx="2336">
                  <c:v>41305</c:v>
                </c:pt>
                <c:pt idx="2337">
                  <c:v>41304</c:v>
                </c:pt>
                <c:pt idx="2338">
                  <c:v>41303</c:v>
                </c:pt>
                <c:pt idx="2339">
                  <c:v>41302</c:v>
                </c:pt>
                <c:pt idx="2340">
                  <c:v>41301</c:v>
                </c:pt>
                <c:pt idx="2341">
                  <c:v>41300</c:v>
                </c:pt>
                <c:pt idx="2342">
                  <c:v>41299</c:v>
                </c:pt>
                <c:pt idx="2343">
                  <c:v>41298</c:v>
                </c:pt>
                <c:pt idx="2344">
                  <c:v>41297</c:v>
                </c:pt>
                <c:pt idx="2345">
                  <c:v>41296</c:v>
                </c:pt>
                <c:pt idx="2346">
                  <c:v>41295</c:v>
                </c:pt>
                <c:pt idx="2347">
                  <c:v>41294</c:v>
                </c:pt>
                <c:pt idx="2348">
                  <c:v>41293</c:v>
                </c:pt>
                <c:pt idx="2349">
                  <c:v>41292</c:v>
                </c:pt>
                <c:pt idx="2350">
                  <c:v>41291</c:v>
                </c:pt>
                <c:pt idx="2351">
                  <c:v>41290</c:v>
                </c:pt>
                <c:pt idx="2352">
                  <c:v>41289</c:v>
                </c:pt>
                <c:pt idx="2353">
                  <c:v>41288</c:v>
                </c:pt>
                <c:pt idx="2354">
                  <c:v>41287</c:v>
                </c:pt>
                <c:pt idx="2355">
                  <c:v>41286</c:v>
                </c:pt>
                <c:pt idx="2356">
                  <c:v>41285</c:v>
                </c:pt>
                <c:pt idx="2357">
                  <c:v>41284</c:v>
                </c:pt>
                <c:pt idx="2358">
                  <c:v>41283</c:v>
                </c:pt>
                <c:pt idx="2359">
                  <c:v>41282</c:v>
                </c:pt>
                <c:pt idx="2360">
                  <c:v>41281</c:v>
                </c:pt>
                <c:pt idx="2361">
                  <c:v>41280</c:v>
                </c:pt>
                <c:pt idx="2362">
                  <c:v>41279</c:v>
                </c:pt>
                <c:pt idx="2363">
                  <c:v>41278</c:v>
                </c:pt>
                <c:pt idx="2364">
                  <c:v>41277</c:v>
                </c:pt>
                <c:pt idx="2365">
                  <c:v>41276</c:v>
                </c:pt>
                <c:pt idx="2366">
                  <c:v>41275</c:v>
                </c:pt>
                <c:pt idx="2367">
                  <c:v>41274</c:v>
                </c:pt>
                <c:pt idx="2368">
                  <c:v>41273</c:v>
                </c:pt>
                <c:pt idx="2369">
                  <c:v>41272</c:v>
                </c:pt>
                <c:pt idx="2370">
                  <c:v>41271</c:v>
                </c:pt>
                <c:pt idx="2371">
                  <c:v>41270</c:v>
                </c:pt>
                <c:pt idx="2372">
                  <c:v>41269</c:v>
                </c:pt>
                <c:pt idx="2373">
                  <c:v>41268</c:v>
                </c:pt>
                <c:pt idx="2374">
                  <c:v>41267</c:v>
                </c:pt>
                <c:pt idx="2375">
                  <c:v>41266</c:v>
                </c:pt>
                <c:pt idx="2376">
                  <c:v>41265</c:v>
                </c:pt>
                <c:pt idx="2377">
                  <c:v>41264</c:v>
                </c:pt>
                <c:pt idx="2378">
                  <c:v>41263</c:v>
                </c:pt>
                <c:pt idx="2379">
                  <c:v>41262</c:v>
                </c:pt>
                <c:pt idx="2380">
                  <c:v>41261</c:v>
                </c:pt>
                <c:pt idx="2381">
                  <c:v>41260</c:v>
                </c:pt>
                <c:pt idx="2382">
                  <c:v>41259</c:v>
                </c:pt>
                <c:pt idx="2383">
                  <c:v>41258</c:v>
                </c:pt>
                <c:pt idx="2384">
                  <c:v>41257</c:v>
                </c:pt>
                <c:pt idx="2385">
                  <c:v>41256</c:v>
                </c:pt>
                <c:pt idx="2386">
                  <c:v>41255</c:v>
                </c:pt>
                <c:pt idx="2387">
                  <c:v>41254</c:v>
                </c:pt>
                <c:pt idx="2388">
                  <c:v>41253</c:v>
                </c:pt>
                <c:pt idx="2389">
                  <c:v>41252</c:v>
                </c:pt>
                <c:pt idx="2390">
                  <c:v>41251</c:v>
                </c:pt>
                <c:pt idx="2391">
                  <c:v>41250</c:v>
                </c:pt>
                <c:pt idx="2392">
                  <c:v>41249</c:v>
                </c:pt>
                <c:pt idx="2393">
                  <c:v>41248</c:v>
                </c:pt>
                <c:pt idx="2394">
                  <c:v>41247</c:v>
                </c:pt>
                <c:pt idx="2395">
                  <c:v>41246</c:v>
                </c:pt>
                <c:pt idx="2396">
                  <c:v>41245</c:v>
                </c:pt>
                <c:pt idx="2397">
                  <c:v>41244</c:v>
                </c:pt>
                <c:pt idx="2398">
                  <c:v>41243</c:v>
                </c:pt>
                <c:pt idx="2399">
                  <c:v>41242</c:v>
                </c:pt>
                <c:pt idx="2400">
                  <c:v>41241</c:v>
                </c:pt>
                <c:pt idx="2401">
                  <c:v>41240</c:v>
                </c:pt>
                <c:pt idx="2402">
                  <c:v>41239</c:v>
                </c:pt>
                <c:pt idx="2403">
                  <c:v>41238</c:v>
                </c:pt>
                <c:pt idx="2404">
                  <c:v>41237</c:v>
                </c:pt>
                <c:pt idx="2405">
                  <c:v>41236</c:v>
                </c:pt>
                <c:pt idx="2406">
                  <c:v>41235</c:v>
                </c:pt>
                <c:pt idx="2407">
                  <c:v>41234</c:v>
                </c:pt>
                <c:pt idx="2408">
                  <c:v>41233</c:v>
                </c:pt>
                <c:pt idx="2409">
                  <c:v>41232</c:v>
                </c:pt>
                <c:pt idx="2410">
                  <c:v>41231</c:v>
                </c:pt>
                <c:pt idx="2411">
                  <c:v>41230</c:v>
                </c:pt>
                <c:pt idx="2412">
                  <c:v>41229</c:v>
                </c:pt>
                <c:pt idx="2413">
                  <c:v>41228</c:v>
                </c:pt>
                <c:pt idx="2414">
                  <c:v>41227</c:v>
                </c:pt>
                <c:pt idx="2415">
                  <c:v>41226</c:v>
                </c:pt>
                <c:pt idx="2416">
                  <c:v>41225</c:v>
                </c:pt>
                <c:pt idx="2417">
                  <c:v>41224</c:v>
                </c:pt>
                <c:pt idx="2418">
                  <c:v>41223</c:v>
                </c:pt>
                <c:pt idx="2419">
                  <c:v>41222</c:v>
                </c:pt>
                <c:pt idx="2420">
                  <c:v>41221</c:v>
                </c:pt>
                <c:pt idx="2421">
                  <c:v>41220</c:v>
                </c:pt>
                <c:pt idx="2422">
                  <c:v>41219</c:v>
                </c:pt>
                <c:pt idx="2423">
                  <c:v>41218</c:v>
                </c:pt>
                <c:pt idx="2424">
                  <c:v>41217</c:v>
                </c:pt>
                <c:pt idx="2425">
                  <c:v>41216</c:v>
                </c:pt>
                <c:pt idx="2426">
                  <c:v>41215</c:v>
                </c:pt>
                <c:pt idx="2427">
                  <c:v>41214</c:v>
                </c:pt>
                <c:pt idx="2428">
                  <c:v>41213</c:v>
                </c:pt>
                <c:pt idx="2429">
                  <c:v>41212</c:v>
                </c:pt>
                <c:pt idx="2430">
                  <c:v>41211</c:v>
                </c:pt>
                <c:pt idx="2431">
                  <c:v>41210</c:v>
                </c:pt>
                <c:pt idx="2432">
                  <c:v>41209</c:v>
                </c:pt>
                <c:pt idx="2433">
                  <c:v>41208</c:v>
                </c:pt>
                <c:pt idx="2434">
                  <c:v>41207</c:v>
                </c:pt>
                <c:pt idx="2435">
                  <c:v>41206</c:v>
                </c:pt>
                <c:pt idx="2436">
                  <c:v>41205</c:v>
                </c:pt>
                <c:pt idx="2437">
                  <c:v>41204</c:v>
                </c:pt>
                <c:pt idx="2438">
                  <c:v>41203</c:v>
                </c:pt>
                <c:pt idx="2439">
                  <c:v>41202</c:v>
                </c:pt>
                <c:pt idx="2440">
                  <c:v>41201</c:v>
                </c:pt>
                <c:pt idx="2441">
                  <c:v>41200</c:v>
                </c:pt>
                <c:pt idx="2442">
                  <c:v>41199</c:v>
                </c:pt>
                <c:pt idx="2443">
                  <c:v>41198</c:v>
                </c:pt>
                <c:pt idx="2444">
                  <c:v>41197</c:v>
                </c:pt>
                <c:pt idx="2445">
                  <c:v>41196</c:v>
                </c:pt>
                <c:pt idx="2446">
                  <c:v>41195</c:v>
                </c:pt>
                <c:pt idx="2447">
                  <c:v>41194</c:v>
                </c:pt>
                <c:pt idx="2448">
                  <c:v>41193</c:v>
                </c:pt>
                <c:pt idx="2449">
                  <c:v>41192</c:v>
                </c:pt>
                <c:pt idx="2450">
                  <c:v>41191</c:v>
                </c:pt>
                <c:pt idx="2451">
                  <c:v>41190</c:v>
                </c:pt>
                <c:pt idx="2452">
                  <c:v>41189</c:v>
                </c:pt>
                <c:pt idx="2453">
                  <c:v>41188</c:v>
                </c:pt>
                <c:pt idx="2454">
                  <c:v>41187</c:v>
                </c:pt>
                <c:pt idx="2455">
                  <c:v>41186</c:v>
                </c:pt>
                <c:pt idx="2456">
                  <c:v>41185</c:v>
                </c:pt>
                <c:pt idx="2457">
                  <c:v>41184</c:v>
                </c:pt>
                <c:pt idx="2458">
                  <c:v>41183</c:v>
                </c:pt>
                <c:pt idx="2459">
                  <c:v>41182</c:v>
                </c:pt>
                <c:pt idx="2460">
                  <c:v>41181</c:v>
                </c:pt>
                <c:pt idx="2461">
                  <c:v>41180</c:v>
                </c:pt>
                <c:pt idx="2462">
                  <c:v>41179</c:v>
                </c:pt>
                <c:pt idx="2463">
                  <c:v>41178</c:v>
                </c:pt>
                <c:pt idx="2464">
                  <c:v>41177</c:v>
                </c:pt>
                <c:pt idx="2465">
                  <c:v>41176</c:v>
                </c:pt>
                <c:pt idx="2466">
                  <c:v>41175</c:v>
                </c:pt>
                <c:pt idx="2467">
                  <c:v>41174</c:v>
                </c:pt>
                <c:pt idx="2468">
                  <c:v>41173</c:v>
                </c:pt>
                <c:pt idx="2469">
                  <c:v>41172</c:v>
                </c:pt>
                <c:pt idx="2470">
                  <c:v>41171</c:v>
                </c:pt>
                <c:pt idx="2471">
                  <c:v>41170</c:v>
                </c:pt>
                <c:pt idx="2472">
                  <c:v>41169</c:v>
                </c:pt>
                <c:pt idx="2473">
                  <c:v>41168</c:v>
                </c:pt>
                <c:pt idx="2474">
                  <c:v>41167</c:v>
                </c:pt>
                <c:pt idx="2475">
                  <c:v>41166</c:v>
                </c:pt>
                <c:pt idx="2476">
                  <c:v>41165</c:v>
                </c:pt>
                <c:pt idx="2477">
                  <c:v>41164</c:v>
                </c:pt>
                <c:pt idx="2478">
                  <c:v>41163</c:v>
                </c:pt>
                <c:pt idx="2479">
                  <c:v>41162</c:v>
                </c:pt>
                <c:pt idx="2480">
                  <c:v>41161</c:v>
                </c:pt>
                <c:pt idx="2481">
                  <c:v>41160</c:v>
                </c:pt>
                <c:pt idx="2482">
                  <c:v>41159</c:v>
                </c:pt>
                <c:pt idx="2483">
                  <c:v>41158</c:v>
                </c:pt>
                <c:pt idx="2484">
                  <c:v>41157</c:v>
                </c:pt>
                <c:pt idx="2485">
                  <c:v>41156</c:v>
                </c:pt>
                <c:pt idx="2486">
                  <c:v>41155</c:v>
                </c:pt>
                <c:pt idx="2487">
                  <c:v>41154</c:v>
                </c:pt>
                <c:pt idx="2488">
                  <c:v>41153</c:v>
                </c:pt>
                <c:pt idx="2489">
                  <c:v>41152</c:v>
                </c:pt>
                <c:pt idx="2490">
                  <c:v>41151</c:v>
                </c:pt>
                <c:pt idx="2491">
                  <c:v>41150</c:v>
                </c:pt>
                <c:pt idx="2492">
                  <c:v>41149</c:v>
                </c:pt>
                <c:pt idx="2493">
                  <c:v>41148</c:v>
                </c:pt>
                <c:pt idx="2494">
                  <c:v>41147</c:v>
                </c:pt>
                <c:pt idx="2495">
                  <c:v>41146</c:v>
                </c:pt>
                <c:pt idx="2496">
                  <c:v>41145</c:v>
                </c:pt>
                <c:pt idx="2497">
                  <c:v>41144</c:v>
                </c:pt>
                <c:pt idx="2498">
                  <c:v>41143</c:v>
                </c:pt>
                <c:pt idx="2499">
                  <c:v>41142</c:v>
                </c:pt>
                <c:pt idx="2500">
                  <c:v>41141</c:v>
                </c:pt>
                <c:pt idx="2501">
                  <c:v>41140</c:v>
                </c:pt>
                <c:pt idx="2502">
                  <c:v>41139</c:v>
                </c:pt>
                <c:pt idx="2503">
                  <c:v>41138</c:v>
                </c:pt>
                <c:pt idx="2504">
                  <c:v>41137</c:v>
                </c:pt>
                <c:pt idx="2505">
                  <c:v>41136</c:v>
                </c:pt>
                <c:pt idx="2506">
                  <c:v>41135</c:v>
                </c:pt>
                <c:pt idx="2507">
                  <c:v>41134</c:v>
                </c:pt>
                <c:pt idx="2508">
                  <c:v>41133</c:v>
                </c:pt>
                <c:pt idx="2509">
                  <c:v>41132</c:v>
                </c:pt>
                <c:pt idx="2510">
                  <c:v>41131</c:v>
                </c:pt>
                <c:pt idx="2511">
                  <c:v>41130</c:v>
                </c:pt>
                <c:pt idx="2512">
                  <c:v>41129</c:v>
                </c:pt>
                <c:pt idx="2513">
                  <c:v>41128</c:v>
                </c:pt>
                <c:pt idx="2514">
                  <c:v>41127</c:v>
                </c:pt>
                <c:pt idx="2515">
                  <c:v>41126</c:v>
                </c:pt>
                <c:pt idx="2516">
                  <c:v>41125</c:v>
                </c:pt>
                <c:pt idx="2517">
                  <c:v>41124</c:v>
                </c:pt>
                <c:pt idx="2518">
                  <c:v>41123</c:v>
                </c:pt>
                <c:pt idx="2519">
                  <c:v>41122</c:v>
                </c:pt>
                <c:pt idx="2520">
                  <c:v>41121</c:v>
                </c:pt>
                <c:pt idx="2521">
                  <c:v>41120</c:v>
                </c:pt>
                <c:pt idx="2522">
                  <c:v>41119</c:v>
                </c:pt>
                <c:pt idx="2523">
                  <c:v>41118</c:v>
                </c:pt>
                <c:pt idx="2524">
                  <c:v>41117</c:v>
                </c:pt>
                <c:pt idx="2525">
                  <c:v>41116</c:v>
                </c:pt>
                <c:pt idx="2526">
                  <c:v>41115</c:v>
                </c:pt>
                <c:pt idx="2527">
                  <c:v>41114</c:v>
                </c:pt>
                <c:pt idx="2528">
                  <c:v>41113</c:v>
                </c:pt>
                <c:pt idx="2529">
                  <c:v>41112</c:v>
                </c:pt>
                <c:pt idx="2530">
                  <c:v>41111</c:v>
                </c:pt>
                <c:pt idx="2531">
                  <c:v>41110</c:v>
                </c:pt>
                <c:pt idx="2532">
                  <c:v>41109</c:v>
                </c:pt>
                <c:pt idx="2533">
                  <c:v>41108</c:v>
                </c:pt>
                <c:pt idx="2534">
                  <c:v>41107</c:v>
                </c:pt>
                <c:pt idx="2535">
                  <c:v>41106</c:v>
                </c:pt>
                <c:pt idx="2536">
                  <c:v>41105</c:v>
                </c:pt>
                <c:pt idx="2537">
                  <c:v>41104</c:v>
                </c:pt>
                <c:pt idx="2538">
                  <c:v>41103</c:v>
                </c:pt>
                <c:pt idx="2539">
                  <c:v>41102</c:v>
                </c:pt>
                <c:pt idx="2540">
                  <c:v>41101</c:v>
                </c:pt>
                <c:pt idx="2541">
                  <c:v>41100</c:v>
                </c:pt>
                <c:pt idx="2542">
                  <c:v>41099</c:v>
                </c:pt>
                <c:pt idx="2543">
                  <c:v>41098</c:v>
                </c:pt>
                <c:pt idx="2544">
                  <c:v>41097</c:v>
                </c:pt>
                <c:pt idx="2545">
                  <c:v>41096</c:v>
                </c:pt>
                <c:pt idx="2546">
                  <c:v>41095</c:v>
                </c:pt>
                <c:pt idx="2547">
                  <c:v>41094</c:v>
                </c:pt>
                <c:pt idx="2548">
                  <c:v>41093</c:v>
                </c:pt>
                <c:pt idx="2549">
                  <c:v>41092</c:v>
                </c:pt>
                <c:pt idx="2550">
                  <c:v>41091</c:v>
                </c:pt>
                <c:pt idx="2551">
                  <c:v>41090</c:v>
                </c:pt>
                <c:pt idx="2552">
                  <c:v>41089</c:v>
                </c:pt>
                <c:pt idx="2553">
                  <c:v>41088</c:v>
                </c:pt>
                <c:pt idx="2554">
                  <c:v>41087</c:v>
                </c:pt>
                <c:pt idx="2555">
                  <c:v>41086</c:v>
                </c:pt>
                <c:pt idx="2556">
                  <c:v>41085</c:v>
                </c:pt>
                <c:pt idx="2557">
                  <c:v>41084</c:v>
                </c:pt>
                <c:pt idx="2558">
                  <c:v>41083</c:v>
                </c:pt>
                <c:pt idx="2559">
                  <c:v>41082</c:v>
                </c:pt>
                <c:pt idx="2560">
                  <c:v>41081</c:v>
                </c:pt>
                <c:pt idx="2561">
                  <c:v>41080</c:v>
                </c:pt>
                <c:pt idx="2562">
                  <c:v>41079</c:v>
                </c:pt>
                <c:pt idx="2563">
                  <c:v>41078</c:v>
                </c:pt>
                <c:pt idx="2564">
                  <c:v>41077</c:v>
                </c:pt>
                <c:pt idx="2565">
                  <c:v>41076</c:v>
                </c:pt>
                <c:pt idx="2566">
                  <c:v>41075</c:v>
                </c:pt>
                <c:pt idx="2567">
                  <c:v>41074</c:v>
                </c:pt>
                <c:pt idx="2568">
                  <c:v>41073</c:v>
                </c:pt>
                <c:pt idx="2569">
                  <c:v>41072</c:v>
                </c:pt>
                <c:pt idx="2570">
                  <c:v>41071</c:v>
                </c:pt>
                <c:pt idx="2571">
                  <c:v>41070</c:v>
                </c:pt>
                <c:pt idx="2572">
                  <c:v>41069</c:v>
                </c:pt>
                <c:pt idx="2573">
                  <c:v>41068</c:v>
                </c:pt>
                <c:pt idx="2574">
                  <c:v>41067</c:v>
                </c:pt>
                <c:pt idx="2575">
                  <c:v>41066</c:v>
                </c:pt>
                <c:pt idx="2576">
                  <c:v>41065</c:v>
                </c:pt>
                <c:pt idx="2577">
                  <c:v>41064</c:v>
                </c:pt>
                <c:pt idx="2578">
                  <c:v>41063</c:v>
                </c:pt>
                <c:pt idx="2579">
                  <c:v>41062</c:v>
                </c:pt>
                <c:pt idx="2580">
                  <c:v>41061</c:v>
                </c:pt>
                <c:pt idx="2581">
                  <c:v>41060</c:v>
                </c:pt>
                <c:pt idx="2582">
                  <c:v>41059</c:v>
                </c:pt>
                <c:pt idx="2583">
                  <c:v>41058</c:v>
                </c:pt>
                <c:pt idx="2584">
                  <c:v>41057</c:v>
                </c:pt>
                <c:pt idx="2585">
                  <c:v>41056</c:v>
                </c:pt>
                <c:pt idx="2586">
                  <c:v>41055</c:v>
                </c:pt>
                <c:pt idx="2587">
                  <c:v>41054</c:v>
                </c:pt>
                <c:pt idx="2588">
                  <c:v>41053</c:v>
                </c:pt>
                <c:pt idx="2589">
                  <c:v>41052</c:v>
                </c:pt>
                <c:pt idx="2590">
                  <c:v>41051</c:v>
                </c:pt>
                <c:pt idx="2591">
                  <c:v>41050</c:v>
                </c:pt>
                <c:pt idx="2592">
                  <c:v>41049</c:v>
                </c:pt>
                <c:pt idx="2593">
                  <c:v>41048</c:v>
                </c:pt>
                <c:pt idx="2594">
                  <c:v>41047</c:v>
                </c:pt>
                <c:pt idx="2595">
                  <c:v>41046</c:v>
                </c:pt>
                <c:pt idx="2596">
                  <c:v>41045</c:v>
                </c:pt>
                <c:pt idx="2597">
                  <c:v>41044</c:v>
                </c:pt>
                <c:pt idx="2598">
                  <c:v>41043</c:v>
                </c:pt>
                <c:pt idx="2599">
                  <c:v>41042</c:v>
                </c:pt>
                <c:pt idx="2600">
                  <c:v>41041</c:v>
                </c:pt>
                <c:pt idx="2601">
                  <c:v>41040</c:v>
                </c:pt>
                <c:pt idx="2602">
                  <c:v>41039</c:v>
                </c:pt>
                <c:pt idx="2603">
                  <c:v>41038</c:v>
                </c:pt>
                <c:pt idx="2604">
                  <c:v>41037</c:v>
                </c:pt>
                <c:pt idx="2605">
                  <c:v>41036</c:v>
                </c:pt>
                <c:pt idx="2606">
                  <c:v>41035</c:v>
                </c:pt>
                <c:pt idx="2607">
                  <c:v>41034</c:v>
                </c:pt>
                <c:pt idx="2608">
                  <c:v>41033</c:v>
                </c:pt>
                <c:pt idx="2609">
                  <c:v>41032</c:v>
                </c:pt>
                <c:pt idx="2610">
                  <c:v>41031</c:v>
                </c:pt>
                <c:pt idx="2611">
                  <c:v>41030</c:v>
                </c:pt>
                <c:pt idx="2612">
                  <c:v>41029</c:v>
                </c:pt>
                <c:pt idx="2613">
                  <c:v>41028</c:v>
                </c:pt>
                <c:pt idx="2614">
                  <c:v>41027</c:v>
                </c:pt>
                <c:pt idx="2615">
                  <c:v>41026</c:v>
                </c:pt>
                <c:pt idx="2616">
                  <c:v>41025</c:v>
                </c:pt>
                <c:pt idx="2617">
                  <c:v>41024</c:v>
                </c:pt>
                <c:pt idx="2618">
                  <c:v>41023</c:v>
                </c:pt>
                <c:pt idx="2619">
                  <c:v>41022</c:v>
                </c:pt>
                <c:pt idx="2620">
                  <c:v>41021</c:v>
                </c:pt>
                <c:pt idx="2621">
                  <c:v>41020</c:v>
                </c:pt>
                <c:pt idx="2622">
                  <c:v>41019</c:v>
                </c:pt>
                <c:pt idx="2623">
                  <c:v>41018</c:v>
                </c:pt>
                <c:pt idx="2624">
                  <c:v>41017</c:v>
                </c:pt>
                <c:pt idx="2625">
                  <c:v>41016</c:v>
                </c:pt>
                <c:pt idx="2626">
                  <c:v>41015</c:v>
                </c:pt>
                <c:pt idx="2627">
                  <c:v>41014</c:v>
                </c:pt>
                <c:pt idx="2628">
                  <c:v>41013</c:v>
                </c:pt>
                <c:pt idx="2629">
                  <c:v>41012</c:v>
                </c:pt>
                <c:pt idx="2630">
                  <c:v>41011</c:v>
                </c:pt>
                <c:pt idx="2631">
                  <c:v>41010</c:v>
                </c:pt>
                <c:pt idx="2632">
                  <c:v>41009</c:v>
                </c:pt>
                <c:pt idx="2633">
                  <c:v>41008</c:v>
                </c:pt>
                <c:pt idx="2634">
                  <c:v>41007</c:v>
                </c:pt>
                <c:pt idx="2635">
                  <c:v>41006</c:v>
                </c:pt>
                <c:pt idx="2636">
                  <c:v>41005</c:v>
                </c:pt>
                <c:pt idx="2637">
                  <c:v>41004</c:v>
                </c:pt>
                <c:pt idx="2638">
                  <c:v>41003</c:v>
                </c:pt>
                <c:pt idx="2639">
                  <c:v>41002</c:v>
                </c:pt>
                <c:pt idx="2640">
                  <c:v>41001</c:v>
                </c:pt>
                <c:pt idx="2641">
                  <c:v>41000</c:v>
                </c:pt>
                <c:pt idx="2642">
                  <c:v>40999</c:v>
                </c:pt>
                <c:pt idx="2643">
                  <c:v>40998</c:v>
                </c:pt>
                <c:pt idx="2644">
                  <c:v>40997</c:v>
                </c:pt>
                <c:pt idx="2645">
                  <c:v>40996</c:v>
                </c:pt>
                <c:pt idx="2646">
                  <c:v>40995</c:v>
                </c:pt>
                <c:pt idx="2647">
                  <c:v>40994</c:v>
                </c:pt>
                <c:pt idx="2648">
                  <c:v>40993</c:v>
                </c:pt>
                <c:pt idx="2649">
                  <c:v>40992</c:v>
                </c:pt>
                <c:pt idx="2650">
                  <c:v>40991</c:v>
                </c:pt>
                <c:pt idx="2651">
                  <c:v>40990</c:v>
                </c:pt>
                <c:pt idx="2652">
                  <c:v>40989</c:v>
                </c:pt>
                <c:pt idx="2653">
                  <c:v>40988</c:v>
                </c:pt>
                <c:pt idx="2654">
                  <c:v>40987</c:v>
                </c:pt>
                <c:pt idx="2655">
                  <c:v>40986</c:v>
                </c:pt>
                <c:pt idx="2656">
                  <c:v>40985</c:v>
                </c:pt>
                <c:pt idx="2657">
                  <c:v>40984</c:v>
                </c:pt>
                <c:pt idx="2658">
                  <c:v>40983</c:v>
                </c:pt>
                <c:pt idx="2659">
                  <c:v>40982</c:v>
                </c:pt>
                <c:pt idx="2660">
                  <c:v>40981</c:v>
                </c:pt>
                <c:pt idx="2661">
                  <c:v>40980</c:v>
                </c:pt>
                <c:pt idx="2662">
                  <c:v>40979</c:v>
                </c:pt>
                <c:pt idx="2663">
                  <c:v>40978</c:v>
                </c:pt>
                <c:pt idx="2664">
                  <c:v>40977</c:v>
                </c:pt>
                <c:pt idx="2665">
                  <c:v>40976</c:v>
                </c:pt>
                <c:pt idx="2666">
                  <c:v>40975</c:v>
                </c:pt>
                <c:pt idx="2667">
                  <c:v>40974</c:v>
                </c:pt>
                <c:pt idx="2668">
                  <c:v>40973</c:v>
                </c:pt>
                <c:pt idx="2669">
                  <c:v>40972</c:v>
                </c:pt>
                <c:pt idx="2670">
                  <c:v>40971</c:v>
                </c:pt>
                <c:pt idx="2671">
                  <c:v>40970</c:v>
                </c:pt>
                <c:pt idx="2672">
                  <c:v>40969</c:v>
                </c:pt>
                <c:pt idx="2673">
                  <c:v>40968</c:v>
                </c:pt>
                <c:pt idx="2674">
                  <c:v>40967</c:v>
                </c:pt>
                <c:pt idx="2675">
                  <c:v>40966</c:v>
                </c:pt>
                <c:pt idx="2676">
                  <c:v>40965</c:v>
                </c:pt>
                <c:pt idx="2677">
                  <c:v>40964</c:v>
                </c:pt>
                <c:pt idx="2678">
                  <c:v>40963</c:v>
                </c:pt>
                <c:pt idx="2679">
                  <c:v>40962</c:v>
                </c:pt>
                <c:pt idx="2680">
                  <c:v>40961</c:v>
                </c:pt>
                <c:pt idx="2681">
                  <c:v>40960</c:v>
                </c:pt>
                <c:pt idx="2682">
                  <c:v>40959</c:v>
                </c:pt>
                <c:pt idx="2683">
                  <c:v>40958</c:v>
                </c:pt>
                <c:pt idx="2684">
                  <c:v>40957</c:v>
                </c:pt>
                <c:pt idx="2685">
                  <c:v>40956</c:v>
                </c:pt>
                <c:pt idx="2686">
                  <c:v>40955</c:v>
                </c:pt>
                <c:pt idx="2687">
                  <c:v>40954</c:v>
                </c:pt>
                <c:pt idx="2688">
                  <c:v>40953</c:v>
                </c:pt>
                <c:pt idx="2689">
                  <c:v>40952</c:v>
                </c:pt>
                <c:pt idx="2690">
                  <c:v>40951</c:v>
                </c:pt>
                <c:pt idx="2691">
                  <c:v>40950</c:v>
                </c:pt>
                <c:pt idx="2692">
                  <c:v>40949</c:v>
                </c:pt>
                <c:pt idx="2693">
                  <c:v>40948</c:v>
                </c:pt>
                <c:pt idx="2694">
                  <c:v>40947</c:v>
                </c:pt>
                <c:pt idx="2695">
                  <c:v>40946</c:v>
                </c:pt>
                <c:pt idx="2696">
                  <c:v>40945</c:v>
                </c:pt>
                <c:pt idx="2697">
                  <c:v>40944</c:v>
                </c:pt>
                <c:pt idx="2698">
                  <c:v>40943</c:v>
                </c:pt>
                <c:pt idx="2699">
                  <c:v>40942</c:v>
                </c:pt>
                <c:pt idx="2700">
                  <c:v>40941</c:v>
                </c:pt>
                <c:pt idx="2701">
                  <c:v>40940</c:v>
                </c:pt>
                <c:pt idx="2702">
                  <c:v>40939</c:v>
                </c:pt>
                <c:pt idx="2703">
                  <c:v>40938</c:v>
                </c:pt>
                <c:pt idx="2704">
                  <c:v>40937</c:v>
                </c:pt>
                <c:pt idx="2705">
                  <c:v>40936</c:v>
                </c:pt>
                <c:pt idx="2706">
                  <c:v>40935</c:v>
                </c:pt>
                <c:pt idx="2707">
                  <c:v>40934</c:v>
                </c:pt>
                <c:pt idx="2708">
                  <c:v>40933</c:v>
                </c:pt>
                <c:pt idx="2709">
                  <c:v>40932</c:v>
                </c:pt>
                <c:pt idx="2710">
                  <c:v>40931</c:v>
                </c:pt>
                <c:pt idx="2711">
                  <c:v>40930</c:v>
                </c:pt>
                <c:pt idx="2712">
                  <c:v>40929</c:v>
                </c:pt>
                <c:pt idx="2713">
                  <c:v>40928</c:v>
                </c:pt>
                <c:pt idx="2714">
                  <c:v>40927</c:v>
                </c:pt>
                <c:pt idx="2715">
                  <c:v>40926</c:v>
                </c:pt>
                <c:pt idx="2716">
                  <c:v>40925</c:v>
                </c:pt>
                <c:pt idx="2717">
                  <c:v>40924</c:v>
                </c:pt>
                <c:pt idx="2718">
                  <c:v>40923</c:v>
                </c:pt>
                <c:pt idx="2719">
                  <c:v>40922</c:v>
                </c:pt>
                <c:pt idx="2720">
                  <c:v>40921</c:v>
                </c:pt>
                <c:pt idx="2721">
                  <c:v>40920</c:v>
                </c:pt>
                <c:pt idx="2722">
                  <c:v>40919</c:v>
                </c:pt>
                <c:pt idx="2723">
                  <c:v>40918</c:v>
                </c:pt>
                <c:pt idx="2724">
                  <c:v>40917</c:v>
                </c:pt>
                <c:pt idx="2725">
                  <c:v>40916</c:v>
                </c:pt>
                <c:pt idx="2726">
                  <c:v>40915</c:v>
                </c:pt>
                <c:pt idx="2727">
                  <c:v>40914</c:v>
                </c:pt>
                <c:pt idx="2728">
                  <c:v>40913</c:v>
                </c:pt>
                <c:pt idx="2729">
                  <c:v>40912</c:v>
                </c:pt>
                <c:pt idx="2730">
                  <c:v>40911</c:v>
                </c:pt>
                <c:pt idx="2731">
                  <c:v>40910</c:v>
                </c:pt>
                <c:pt idx="2732">
                  <c:v>40909</c:v>
                </c:pt>
              </c:numCache>
            </c:numRef>
          </c:cat>
          <c:val>
            <c:numRef>
              <c:f>Sheet2!$P$3:$P$2735</c:f>
              <c:numCache>
                <c:formatCode>General</c:formatCode>
                <c:ptCount val="2733"/>
                <c:pt idx="0">
                  <c:v>2.6867276671934563</c:v>
                </c:pt>
                <c:pt idx="1">
                  <c:v>2.686514476815014</c:v>
                </c:pt>
                <c:pt idx="2">
                  <c:v>2.686514476815014</c:v>
                </c:pt>
                <c:pt idx="3">
                  <c:v>2.686514476815014</c:v>
                </c:pt>
                <c:pt idx="4">
                  <c:v>2.6431982167212151</c:v>
                </c:pt>
                <c:pt idx="5">
                  <c:v>2.6431982167212151</c:v>
                </c:pt>
                <c:pt idx="6">
                  <c:v>2.6173000281435668</c:v>
                </c:pt>
                <c:pt idx="7">
                  <c:v>2.5694497858727159</c:v>
                </c:pt>
                <c:pt idx="8">
                  <c:v>2.5787050235284159</c:v>
                </c:pt>
                <c:pt idx="9">
                  <c:v>2.5787050235284159</c:v>
                </c:pt>
                <c:pt idx="10">
                  <c:v>2.5787050235284159</c:v>
                </c:pt>
                <c:pt idx="11">
                  <c:v>2.6041444206853255</c:v>
                </c:pt>
                <c:pt idx="12">
                  <c:v>2.5912413618928216</c:v>
                </c:pt>
                <c:pt idx="13">
                  <c:v>2.6062483186678445</c:v>
                </c:pt>
                <c:pt idx="14">
                  <c:v>2.5713691646871042</c:v>
                </c:pt>
                <c:pt idx="15">
                  <c:v>2.5822348581701955</c:v>
                </c:pt>
                <c:pt idx="16">
                  <c:v>2.5822348581701955</c:v>
                </c:pt>
                <c:pt idx="17">
                  <c:v>2.5822348581701955</c:v>
                </c:pt>
                <c:pt idx="18">
                  <c:v>2.5677994703892266</c:v>
                </c:pt>
                <c:pt idx="19">
                  <c:v>2.5636380558108591</c:v>
                </c:pt>
                <c:pt idx="20">
                  <c:v>2.5636380558108591</c:v>
                </c:pt>
                <c:pt idx="21">
                  <c:v>2.5636380558108591</c:v>
                </c:pt>
                <c:pt idx="22">
                  <c:v>2.5653871915278019</c:v>
                </c:pt>
                <c:pt idx="23">
                  <c:v>2.5653871915278019</c:v>
                </c:pt>
                <c:pt idx="24">
                  <c:v>2.5653871915278019</c:v>
                </c:pt>
                <c:pt idx="25">
                  <c:v>2.572758286214178</c:v>
                </c:pt>
                <c:pt idx="26">
                  <c:v>2.5500714908612121</c:v>
                </c:pt>
                <c:pt idx="27">
                  <c:v>2.5481341134480986</c:v>
                </c:pt>
                <c:pt idx="28">
                  <c:v>2.5098253568624052</c:v>
                </c:pt>
                <c:pt idx="29">
                  <c:v>2.482560517723559</c:v>
                </c:pt>
                <c:pt idx="30">
                  <c:v>2.482560517723559</c:v>
                </c:pt>
                <c:pt idx="31">
                  <c:v>2.482560517723559</c:v>
                </c:pt>
                <c:pt idx="32">
                  <c:v>2.4892224552212223</c:v>
                </c:pt>
                <c:pt idx="33">
                  <c:v>2.4979767407190185</c:v>
                </c:pt>
                <c:pt idx="34">
                  <c:v>2.5026016760183345</c:v>
                </c:pt>
                <c:pt idx="35">
                  <c:v>2.4401036839536392</c:v>
                </c:pt>
                <c:pt idx="36">
                  <c:v>2.3863076092924942</c:v>
                </c:pt>
                <c:pt idx="37">
                  <c:v>2.3863076092924942</c:v>
                </c:pt>
                <c:pt idx="38">
                  <c:v>2.3863076092924942</c:v>
                </c:pt>
                <c:pt idx="39">
                  <c:v>2.3882279890732105</c:v>
                </c:pt>
                <c:pt idx="40">
                  <c:v>2.4311939639919777</c:v>
                </c:pt>
                <c:pt idx="41">
                  <c:v>2.443086393765904</c:v>
                </c:pt>
                <c:pt idx="42">
                  <c:v>2.512696991984003</c:v>
                </c:pt>
                <c:pt idx="43">
                  <c:v>2.512696991984003</c:v>
                </c:pt>
                <c:pt idx="44">
                  <c:v>2.512696991984003</c:v>
                </c:pt>
                <c:pt idx="45">
                  <c:v>2.512696991984003</c:v>
                </c:pt>
                <c:pt idx="46">
                  <c:v>2.512696991984003</c:v>
                </c:pt>
                <c:pt idx="47">
                  <c:v>2.5258841054773677</c:v>
                </c:pt>
                <c:pt idx="48">
                  <c:v>2.4972642839430121</c:v>
                </c:pt>
                <c:pt idx="49">
                  <c:v>2.5095672404936731</c:v>
                </c:pt>
                <c:pt idx="50">
                  <c:v>2.5329264043738648</c:v>
                </c:pt>
                <c:pt idx="51">
                  <c:v>2.5329264043738648</c:v>
                </c:pt>
                <c:pt idx="52">
                  <c:v>2.5329264043738648</c:v>
                </c:pt>
                <c:pt idx="53">
                  <c:v>2.5153056909049041</c:v>
                </c:pt>
                <c:pt idx="54">
                  <c:v>2.531953088313728</c:v>
                </c:pt>
                <c:pt idx="55">
                  <c:v>2.5291912407573962</c:v>
                </c:pt>
                <c:pt idx="56">
                  <c:v>2.5291912407573962</c:v>
                </c:pt>
                <c:pt idx="57">
                  <c:v>2.5291912407573962</c:v>
                </c:pt>
                <c:pt idx="58">
                  <c:v>2.5291912407573962</c:v>
                </c:pt>
                <c:pt idx="59">
                  <c:v>2.5291912407573962</c:v>
                </c:pt>
                <c:pt idx="60">
                  <c:v>2.5414826448655701</c:v>
                </c:pt>
                <c:pt idx="61">
                  <c:v>2.4984632888809286</c:v>
                </c:pt>
                <c:pt idx="62">
                  <c:v>2.5172974950256735</c:v>
                </c:pt>
                <c:pt idx="63">
                  <c:v>2.4782924290850974</c:v>
                </c:pt>
                <c:pt idx="64">
                  <c:v>2.4705972965446388</c:v>
                </c:pt>
                <c:pt idx="65">
                  <c:v>2.4705972965446388</c:v>
                </c:pt>
                <c:pt idx="66">
                  <c:v>2.4705972965446388</c:v>
                </c:pt>
                <c:pt idx="67">
                  <c:v>2.4705972965446388</c:v>
                </c:pt>
                <c:pt idx="68">
                  <c:v>2.4350961537780278</c:v>
                </c:pt>
                <c:pt idx="69">
                  <c:v>2.4350961537780278</c:v>
                </c:pt>
                <c:pt idx="70">
                  <c:v>2.4350961537780278</c:v>
                </c:pt>
                <c:pt idx="71">
                  <c:v>2.4289904781257561</c:v>
                </c:pt>
                <c:pt idx="72">
                  <c:v>2.4289904781257561</c:v>
                </c:pt>
                <c:pt idx="73">
                  <c:v>2.4289904781257561</c:v>
                </c:pt>
                <c:pt idx="74">
                  <c:v>2.494724739573595</c:v>
                </c:pt>
                <c:pt idx="75">
                  <c:v>2.494724739573595</c:v>
                </c:pt>
                <c:pt idx="76">
                  <c:v>2.494724739573595</c:v>
                </c:pt>
                <c:pt idx="77">
                  <c:v>2.5046399725255797</c:v>
                </c:pt>
                <c:pt idx="78">
                  <c:v>2.5319891269392985</c:v>
                </c:pt>
                <c:pt idx="79">
                  <c:v>2.5188788949811949</c:v>
                </c:pt>
                <c:pt idx="80">
                  <c:v>2.5188788949811949</c:v>
                </c:pt>
                <c:pt idx="81">
                  <c:v>2.5188788949811949</c:v>
                </c:pt>
                <c:pt idx="82">
                  <c:v>2.497157671287066</c:v>
                </c:pt>
                <c:pt idx="83">
                  <c:v>2.4556652742816993</c:v>
                </c:pt>
                <c:pt idx="84">
                  <c:v>2.479820820631006</c:v>
                </c:pt>
                <c:pt idx="85">
                  <c:v>2.4995820661511603</c:v>
                </c:pt>
                <c:pt idx="86">
                  <c:v>2.4828905903064102</c:v>
                </c:pt>
                <c:pt idx="87">
                  <c:v>2.4828905903064102</c:v>
                </c:pt>
                <c:pt idx="88">
                  <c:v>2.4828905903064102</c:v>
                </c:pt>
                <c:pt idx="89">
                  <c:v>2.4541657524271367</c:v>
                </c:pt>
                <c:pt idx="90">
                  <c:v>2.3933674007939238</c:v>
                </c:pt>
                <c:pt idx="91">
                  <c:v>2.4346615685807573</c:v>
                </c:pt>
                <c:pt idx="92">
                  <c:v>2.4346615685807573</c:v>
                </c:pt>
                <c:pt idx="93">
                  <c:v>2.4346615685807573</c:v>
                </c:pt>
                <c:pt idx="94">
                  <c:v>2.4346615685807573</c:v>
                </c:pt>
                <c:pt idx="95">
                  <c:v>2.4346615685807573</c:v>
                </c:pt>
                <c:pt idx="96">
                  <c:v>2.5069252393679311</c:v>
                </c:pt>
                <c:pt idx="97">
                  <c:v>2.5352254127559242</c:v>
                </c:pt>
                <c:pt idx="98">
                  <c:v>2.5772902611447548</c:v>
                </c:pt>
                <c:pt idx="99">
                  <c:v>2.5839098161024499</c:v>
                </c:pt>
                <c:pt idx="100">
                  <c:v>2.5618957332973826</c:v>
                </c:pt>
                <c:pt idx="101">
                  <c:v>2.5618957332973826</c:v>
                </c:pt>
                <c:pt idx="102">
                  <c:v>2.5618957332973826</c:v>
                </c:pt>
                <c:pt idx="103">
                  <c:v>2.5592995900485915</c:v>
                </c:pt>
                <c:pt idx="104">
                  <c:v>2.5630462557246569</c:v>
                </c:pt>
                <c:pt idx="105">
                  <c:v>2.5380121524121795</c:v>
                </c:pt>
                <c:pt idx="106">
                  <c:v>2.5412699152150418</c:v>
                </c:pt>
                <c:pt idx="107">
                  <c:v>2.4840351025075322</c:v>
                </c:pt>
                <c:pt idx="108">
                  <c:v>2.4840351025075322</c:v>
                </c:pt>
                <c:pt idx="109">
                  <c:v>2.4840351025075322</c:v>
                </c:pt>
                <c:pt idx="110">
                  <c:v>2.4580941355102941</c:v>
                </c:pt>
                <c:pt idx="111">
                  <c:v>2.457403533296989</c:v>
                </c:pt>
                <c:pt idx="112">
                  <c:v>2.4658386502699217</c:v>
                </c:pt>
                <c:pt idx="113">
                  <c:v>2.4658386502699217</c:v>
                </c:pt>
                <c:pt idx="114">
                  <c:v>2.4658386502699217</c:v>
                </c:pt>
                <c:pt idx="115">
                  <c:v>2.4658386502699217</c:v>
                </c:pt>
                <c:pt idx="116">
                  <c:v>2.4658386502699217</c:v>
                </c:pt>
                <c:pt idx="117">
                  <c:v>2.4889490796266154</c:v>
                </c:pt>
                <c:pt idx="118">
                  <c:v>2.5274621802605339</c:v>
                </c:pt>
                <c:pt idx="119">
                  <c:v>2.5355108471804271</c:v>
                </c:pt>
                <c:pt idx="120">
                  <c:v>2.5284045913376847</c:v>
                </c:pt>
                <c:pt idx="121">
                  <c:v>2.5424295890251893</c:v>
                </c:pt>
                <c:pt idx="122">
                  <c:v>2.5424295890251893</c:v>
                </c:pt>
                <c:pt idx="123">
                  <c:v>2.5424295890251893</c:v>
                </c:pt>
                <c:pt idx="124">
                  <c:v>2.5235080260337837</c:v>
                </c:pt>
                <c:pt idx="125">
                  <c:v>2.5103366643771312</c:v>
                </c:pt>
                <c:pt idx="126">
                  <c:v>2.5103366643771312</c:v>
                </c:pt>
                <c:pt idx="127">
                  <c:v>2.5103366643771312</c:v>
                </c:pt>
                <c:pt idx="128">
                  <c:v>2.5290506975865412</c:v>
                </c:pt>
                <c:pt idx="129">
                  <c:v>2.5290506975865412</c:v>
                </c:pt>
                <c:pt idx="130">
                  <c:v>2.5290506975865412</c:v>
                </c:pt>
                <c:pt idx="131">
                  <c:v>2.541365371406529</c:v>
                </c:pt>
                <c:pt idx="132">
                  <c:v>2.4887442635340049</c:v>
                </c:pt>
                <c:pt idx="133">
                  <c:v>2.4999151884733393</c:v>
                </c:pt>
                <c:pt idx="134">
                  <c:v>2.4568692358332562</c:v>
                </c:pt>
                <c:pt idx="135">
                  <c:v>2.4817664039605671</c:v>
                </c:pt>
                <c:pt idx="136">
                  <c:v>2.4817664039605671</c:v>
                </c:pt>
                <c:pt idx="137">
                  <c:v>2.4817664039605671</c:v>
                </c:pt>
                <c:pt idx="138">
                  <c:v>2.4557204448258143</c:v>
                </c:pt>
                <c:pt idx="139">
                  <c:v>2.4607795768230827</c:v>
                </c:pt>
                <c:pt idx="140">
                  <c:v>2.5491177815193193</c:v>
                </c:pt>
                <c:pt idx="141">
                  <c:v>2.5598770950721201</c:v>
                </c:pt>
                <c:pt idx="142">
                  <c:v>2.543028856406794</c:v>
                </c:pt>
                <c:pt idx="143">
                  <c:v>2.543028856406794</c:v>
                </c:pt>
                <c:pt idx="144">
                  <c:v>2.543028856406794</c:v>
                </c:pt>
                <c:pt idx="145">
                  <c:v>2.5361667745503427</c:v>
                </c:pt>
                <c:pt idx="146">
                  <c:v>2.5254681603750377</c:v>
                </c:pt>
                <c:pt idx="147">
                  <c:v>2.4910069103282955</c:v>
                </c:pt>
                <c:pt idx="148">
                  <c:v>2.4869383175657189</c:v>
                </c:pt>
                <c:pt idx="149">
                  <c:v>2.5458442426723393</c:v>
                </c:pt>
                <c:pt idx="150">
                  <c:v>2.5458442426723393</c:v>
                </c:pt>
                <c:pt idx="151">
                  <c:v>2.5458442426723393</c:v>
                </c:pt>
                <c:pt idx="152">
                  <c:v>2.5459208900058838</c:v>
                </c:pt>
                <c:pt idx="153">
                  <c:v>2.5040633170244964</c:v>
                </c:pt>
                <c:pt idx="154">
                  <c:v>2.5040633170244964</c:v>
                </c:pt>
                <c:pt idx="155">
                  <c:v>2.5040633170244964</c:v>
                </c:pt>
                <c:pt idx="156">
                  <c:v>2.5060859497666836</c:v>
                </c:pt>
                <c:pt idx="157">
                  <c:v>2.5060859497666836</c:v>
                </c:pt>
                <c:pt idx="158">
                  <c:v>2.5060859497666836</c:v>
                </c:pt>
                <c:pt idx="159">
                  <c:v>2.4883145860435452</c:v>
                </c:pt>
                <c:pt idx="160">
                  <c:v>2.4594256981277636</c:v>
                </c:pt>
                <c:pt idx="161">
                  <c:v>2.4502230165181089</c:v>
                </c:pt>
                <c:pt idx="162">
                  <c:v>2.4620433530010293</c:v>
                </c:pt>
                <c:pt idx="163">
                  <c:v>2.4440209375350559</c:v>
                </c:pt>
                <c:pt idx="164">
                  <c:v>2.4440209375350559</c:v>
                </c:pt>
                <c:pt idx="165">
                  <c:v>2.4440209375350559</c:v>
                </c:pt>
                <c:pt idx="166">
                  <c:v>2.4509127093792866</c:v>
                </c:pt>
                <c:pt idx="167">
                  <c:v>2.4482747709644972</c:v>
                </c:pt>
                <c:pt idx="168">
                  <c:v>2.4085027006016424</c:v>
                </c:pt>
                <c:pt idx="169">
                  <c:v>2.4003688782328201</c:v>
                </c:pt>
                <c:pt idx="170">
                  <c:v>2.4029246835816722</c:v>
                </c:pt>
                <c:pt idx="171">
                  <c:v>2.4029246835816722</c:v>
                </c:pt>
                <c:pt idx="172">
                  <c:v>2.4029246835816722</c:v>
                </c:pt>
                <c:pt idx="173">
                  <c:v>2.4028846708088225</c:v>
                </c:pt>
                <c:pt idx="174">
                  <c:v>2.4006399729191958</c:v>
                </c:pt>
                <c:pt idx="175">
                  <c:v>2.3308680674815832</c:v>
                </c:pt>
                <c:pt idx="176">
                  <c:v>2.3308680674815832</c:v>
                </c:pt>
                <c:pt idx="177">
                  <c:v>2.3309947737591736</c:v>
                </c:pt>
                <c:pt idx="178">
                  <c:v>2.3309947737591736</c:v>
                </c:pt>
                <c:pt idx="179">
                  <c:v>2.3309947737591736</c:v>
                </c:pt>
                <c:pt idx="180">
                  <c:v>2.2657816440960499</c:v>
                </c:pt>
                <c:pt idx="181">
                  <c:v>2.2548117163836894</c:v>
                </c:pt>
                <c:pt idx="182">
                  <c:v>2.2650880020822304</c:v>
                </c:pt>
                <c:pt idx="183">
                  <c:v>2.2650880020822304</c:v>
                </c:pt>
                <c:pt idx="184">
                  <c:v>2.2682751489345789</c:v>
                </c:pt>
                <c:pt idx="185">
                  <c:v>2.2682751489345789</c:v>
                </c:pt>
                <c:pt idx="186">
                  <c:v>2.2682751489345789</c:v>
                </c:pt>
                <c:pt idx="187">
                  <c:v>2.2508222485726481</c:v>
                </c:pt>
                <c:pt idx="188">
                  <c:v>2.2696022981289445</c:v>
                </c:pt>
                <c:pt idx="189">
                  <c:v>2.2696022981289445</c:v>
                </c:pt>
                <c:pt idx="190">
                  <c:v>2.2696022981289445</c:v>
                </c:pt>
                <c:pt idx="191">
                  <c:v>2.2958545223564233</c:v>
                </c:pt>
                <c:pt idx="192">
                  <c:v>2.2958545223564233</c:v>
                </c:pt>
                <c:pt idx="193">
                  <c:v>2.2958545223564233</c:v>
                </c:pt>
                <c:pt idx="194">
                  <c:v>2.2641568758868669</c:v>
                </c:pt>
                <c:pt idx="195">
                  <c:v>2.2641568758868669</c:v>
                </c:pt>
                <c:pt idx="196">
                  <c:v>2.2641568758868669</c:v>
                </c:pt>
                <c:pt idx="197">
                  <c:v>2.2473715074915024</c:v>
                </c:pt>
                <c:pt idx="198">
                  <c:v>2.2950604861358488</c:v>
                </c:pt>
                <c:pt idx="199">
                  <c:v>2.2950604861358488</c:v>
                </c:pt>
                <c:pt idx="200">
                  <c:v>2.2950604861358488</c:v>
                </c:pt>
                <c:pt idx="201">
                  <c:v>2.3129431187009084</c:v>
                </c:pt>
                <c:pt idx="202">
                  <c:v>2.3127695586970507</c:v>
                </c:pt>
                <c:pt idx="203">
                  <c:v>2.2994594978636469</c:v>
                </c:pt>
                <c:pt idx="204">
                  <c:v>2.322964555735088</c:v>
                </c:pt>
                <c:pt idx="205">
                  <c:v>2.3213123868107037</c:v>
                </c:pt>
                <c:pt idx="206">
                  <c:v>2.3213123868107037</c:v>
                </c:pt>
                <c:pt idx="207">
                  <c:v>2.3213123868107037</c:v>
                </c:pt>
                <c:pt idx="208">
                  <c:v>2.3271179080669695</c:v>
                </c:pt>
                <c:pt idx="209">
                  <c:v>2.3245247036561052</c:v>
                </c:pt>
                <c:pt idx="210">
                  <c:v>2.2990137809997457</c:v>
                </c:pt>
                <c:pt idx="211">
                  <c:v>2.2442946617753274</c:v>
                </c:pt>
                <c:pt idx="212">
                  <c:v>2.2569191009212584</c:v>
                </c:pt>
                <c:pt idx="213">
                  <c:v>2.2569191009212584</c:v>
                </c:pt>
                <c:pt idx="214">
                  <c:v>2.2569191009212584</c:v>
                </c:pt>
                <c:pt idx="215">
                  <c:v>2.2838688386743784</c:v>
                </c:pt>
                <c:pt idx="216">
                  <c:v>2.2729214858426041</c:v>
                </c:pt>
                <c:pt idx="217">
                  <c:v>2.285383370595679</c:v>
                </c:pt>
                <c:pt idx="218">
                  <c:v>2.2855324085973674</c:v>
                </c:pt>
                <c:pt idx="219">
                  <c:v>2.2952201422332608</c:v>
                </c:pt>
                <c:pt idx="220">
                  <c:v>2.2952201422332608</c:v>
                </c:pt>
                <c:pt idx="221">
                  <c:v>2.2952201422332608</c:v>
                </c:pt>
                <c:pt idx="222">
                  <c:v>2.2318530300585109</c:v>
                </c:pt>
                <c:pt idx="223">
                  <c:v>2.2318530300585109</c:v>
                </c:pt>
                <c:pt idx="224">
                  <c:v>2.2146860126468924</c:v>
                </c:pt>
                <c:pt idx="225">
                  <c:v>2.2251409974041003</c:v>
                </c:pt>
                <c:pt idx="226">
                  <c:v>2.2219451353941766</c:v>
                </c:pt>
                <c:pt idx="227">
                  <c:v>2.2219451353941766</c:v>
                </c:pt>
                <c:pt idx="228">
                  <c:v>2.2219451353941766</c:v>
                </c:pt>
                <c:pt idx="229">
                  <c:v>2.21649157661053</c:v>
                </c:pt>
                <c:pt idx="230">
                  <c:v>2.2629982649392151</c:v>
                </c:pt>
                <c:pt idx="231">
                  <c:v>2.2937390183995952</c:v>
                </c:pt>
                <c:pt idx="232">
                  <c:v>2.3186672128421257</c:v>
                </c:pt>
                <c:pt idx="233">
                  <c:v>2.2983419050833578</c:v>
                </c:pt>
                <c:pt idx="234">
                  <c:v>2.2983419050833578</c:v>
                </c:pt>
                <c:pt idx="235">
                  <c:v>2.2983419050833578</c:v>
                </c:pt>
                <c:pt idx="236">
                  <c:v>2.2983419050833578</c:v>
                </c:pt>
                <c:pt idx="237">
                  <c:v>2.2717647408331674</c:v>
                </c:pt>
                <c:pt idx="238">
                  <c:v>2.260688162874501</c:v>
                </c:pt>
                <c:pt idx="239">
                  <c:v>2.1849945478233996</c:v>
                </c:pt>
                <c:pt idx="240">
                  <c:v>2.230223550360257</c:v>
                </c:pt>
                <c:pt idx="241">
                  <c:v>2.230223550360257</c:v>
                </c:pt>
                <c:pt idx="242">
                  <c:v>2.230223550360257</c:v>
                </c:pt>
                <c:pt idx="243">
                  <c:v>2.18317119673141</c:v>
                </c:pt>
                <c:pt idx="244">
                  <c:v>2.1532735400278282</c:v>
                </c:pt>
                <c:pt idx="245">
                  <c:v>2.199789219734348</c:v>
                </c:pt>
                <c:pt idx="246">
                  <c:v>2.2088176417855219</c:v>
                </c:pt>
                <c:pt idx="247">
                  <c:v>2.1779316197902414</c:v>
                </c:pt>
                <c:pt idx="248">
                  <c:v>2.1779316197902414</c:v>
                </c:pt>
                <c:pt idx="249">
                  <c:v>2.1779316197902414</c:v>
                </c:pt>
                <c:pt idx="250">
                  <c:v>2.168682412336723</c:v>
                </c:pt>
                <c:pt idx="251">
                  <c:v>2.2134766492032218</c:v>
                </c:pt>
                <c:pt idx="252">
                  <c:v>2.2121154740419868</c:v>
                </c:pt>
                <c:pt idx="253">
                  <c:v>2.1528667846859624</c:v>
                </c:pt>
                <c:pt idx="254">
                  <c:v>2.1528667846859624</c:v>
                </c:pt>
                <c:pt idx="255">
                  <c:v>2.1528667846859624</c:v>
                </c:pt>
                <c:pt idx="256">
                  <c:v>2.1528667846859624</c:v>
                </c:pt>
                <c:pt idx="257">
                  <c:v>2.1528667846859624</c:v>
                </c:pt>
                <c:pt idx="258">
                  <c:v>2.1528667846859624</c:v>
                </c:pt>
                <c:pt idx="259">
                  <c:v>2.208355791178664</c:v>
                </c:pt>
                <c:pt idx="260">
                  <c:v>2.2092939293537408</c:v>
                </c:pt>
                <c:pt idx="261">
                  <c:v>2.1145020992542936</c:v>
                </c:pt>
                <c:pt idx="262">
                  <c:v>2.1145020992542936</c:v>
                </c:pt>
                <c:pt idx="263">
                  <c:v>2.1145020992542936</c:v>
                </c:pt>
                <c:pt idx="264">
                  <c:v>2.126941886189774</c:v>
                </c:pt>
                <c:pt idx="265">
                  <c:v>2.1355559021784694</c:v>
                </c:pt>
                <c:pt idx="266">
                  <c:v>2.0935845371760782</c:v>
                </c:pt>
                <c:pt idx="267">
                  <c:v>2.0252236782855646</c:v>
                </c:pt>
                <c:pt idx="268">
                  <c:v>2.0386461094961903</c:v>
                </c:pt>
                <c:pt idx="269">
                  <c:v>2.0386461094961903</c:v>
                </c:pt>
                <c:pt idx="270">
                  <c:v>2.0388700008803426</c:v>
                </c:pt>
                <c:pt idx="271">
                  <c:v>2.0476750033949407</c:v>
                </c:pt>
                <c:pt idx="272">
                  <c:v>2.0140714060368934</c:v>
                </c:pt>
                <c:pt idx="273">
                  <c:v>2.0129922902369368</c:v>
                </c:pt>
                <c:pt idx="274">
                  <c:v>1.9995162285060879</c:v>
                </c:pt>
                <c:pt idx="275">
                  <c:v>2.0294209856546526</c:v>
                </c:pt>
                <c:pt idx="276">
                  <c:v>2.0294209856546526</c:v>
                </c:pt>
                <c:pt idx="277">
                  <c:v>2.0294209856546526</c:v>
                </c:pt>
                <c:pt idx="278">
                  <c:v>1.9947811162565512</c:v>
                </c:pt>
                <c:pt idx="279">
                  <c:v>1.9947404051099269</c:v>
                </c:pt>
                <c:pt idx="280">
                  <c:v>1.9978686513130057</c:v>
                </c:pt>
                <c:pt idx="281">
                  <c:v>1.9671708080352834</c:v>
                </c:pt>
                <c:pt idx="282">
                  <c:v>1.9370641767809664</c:v>
                </c:pt>
                <c:pt idx="283">
                  <c:v>1.9370641767809664</c:v>
                </c:pt>
                <c:pt idx="284">
                  <c:v>1.9370641767809664</c:v>
                </c:pt>
                <c:pt idx="285">
                  <c:v>1.9177636256196993</c:v>
                </c:pt>
                <c:pt idx="286">
                  <c:v>1.9269277983660982</c:v>
                </c:pt>
                <c:pt idx="287">
                  <c:v>1.9173313178865163</c:v>
                </c:pt>
                <c:pt idx="288">
                  <c:v>1.9588032430049456</c:v>
                </c:pt>
                <c:pt idx="289">
                  <c:v>1.9562362432076581</c:v>
                </c:pt>
                <c:pt idx="290">
                  <c:v>1.9562362432076581</c:v>
                </c:pt>
                <c:pt idx="291">
                  <c:v>1.9562362432076581</c:v>
                </c:pt>
                <c:pt idx="292">
                  <c:v>1.9562362432076581</c:v>
                </c:pt>
                <c:pt idx="293">
                  <c:v>1.9230763037064877</c:v>
                </c:pt>
                <c:pt idx="294">
                  <c:v>1.9061656577624091</c:v>
                </c:pt>
                <c:pt idx="295">
                  <c:v>1.9461214685234856</c:v>
                </c:pt>
                <c:pt idx="296">
                  <c:v>1.9607095673369292</c:v>
                </c:pt>
                <c:pt idx="297">
                  <c:v>1.9607095673369292</c:v>
                </c:pt>
                <c:pt idx="298">
                  <c:v>1.9607095673369292</c:v>
                </c:pt>
                <c:pt idx="299">
                  <c:v>1.9481749318551727</c:v>
                </c:pt>
                <c:pt idx="300">
                  <c:v>2.0032311604399844</c:v>
                </c:pt>
                <c:pt idx="301">
                  <c:v>1.9733753794953444</c:v>
                </c:pt>
                <c:pt idx="302">
                  <c:v>1.9897139320500126</c:v>
                </c:pt>
                <c:pt idx="303">
                  <c:v>1.9431088745721876</c:v>
                </c:pt>
                <c:pt idx="304">
                  <c:v>1.9431088745721876</c:v>
                </c:pt>
                <c:pt idx="305">
                  <c:v>1.9431088745721876</c:v>
                </c:pt>
                <c:pt idx="306">
                  <c:v>1.9277817543086224</c:v>
                </c:pt>
                <c:pt idx="307">
                  <c:v>1.9748096384830813</c:v>
                </c:pt>
                <c:pt idx="308">
                  <c:v>1.9327441984889067</c:v>
                </c:pt>
                <c:pt idx="309">
                  <c:v>1.9745558179445748</c:v>
                </c:pt>
                <c:pt idx="310">
                  <c:v>1.9670638917043388</c:v>
                </c:pt>
                <c:pt idx="311">
                  <c:v>1.9670638917043388</c:v>
                </c:pt>
                <c:pt idx="312">
                  <c:v>1.9670638917043388</c:v>
                </c:pt>
                <c:pt idx="313">
                  <c:v>2.0005924937365798</c:v>
                </c:pt>
                <c:pt idx="314">
                  <c:v>2.0031086420433408</c:v>
                </c:pt>
                <c:pt idx="315">
                  <c:v>2.0488608387176765</c:v>
                </c:pt>
                <c:pt idx="316">
                  <c:v>2.0188323354831339</c:v>
                </c:pt>
                <c:pt idx="317">
                  <c:v>1.9983798915193389</c:v>
                </c:pt>
                <c:pt idx="318">
                  <c:v>1.9983798915193389</c:v>
                </c:pt>
                <c:pt idx="319">
                  <c:v>1.9983798915193389</c:v>
                </c:pt>
                <c:pt idx="320">
                  <c:v>2.0647831192716519</c:v>
                </c:pt>
                <c:pt idx="321">
                  <c:v>2.0755958284541309</c:v>
                </c:pt>
                <c:pt idx="322">
                  <c:v>2.1143456127523814</c:v>
                </c:pt>
                <c:pt idx="323">
                  <c:v>2.1377536069032432</c:v>
                </c:pt>
                <c:pt idx="324">
                  <c:v>2.1469935756894678</c:v>
                </c:pt>
                <c:pt idx="325">
                  <c:v>2.1469935756894678</c:v>
                </c:pt>
                <c:pt idx="326">
                  <c:v>2.1469935756894678</c:v>
                </c:pt>
                <c:pt idx="327">
                  <c:v>2.0939094410844916</c:v>
                </c:pt>
                <c:pt idx="328">
                  <c:v>2.0863285383647989</c:v>
                </c:pt>
                <c:pt idx="329">
                  <c:v>2.0796438426597437</c:v>
                </c:pt>
                <c:pt idx="330">
                  <c:v>2.1052893765904557</c:v>
                </c:pt>
                <c:pt idx="331">
                  <c:v>2.0918072128224456</c:v>
                </c:pt>
                <c:pt idx="332">
                  <c:v>2.0918072128224456</c:v>
                </c:pt>
                <c:pt idx="333">
                  <c:v>2.0918072128224456</c:v>
                </c:pt>
                <c:pt idx="334">
                  <c:v>2.0854832997447397</c:v>
                </c:pt>
                <c:pt idx="335">
                  <c:v>2.1163153998453086</c:v>
                </c:pt>
                <c:pt idx="336">
                  <c:v>2.0853931296237618</c:v>
                </c:pt>
                <c:pt idx="337">
                  <c:v>2.0557890924978692</c:v>
                </c:pt>
                <c:pt idx="338">
                  <c:v>2.0767835196778641</c:v>
                </c:pt>
                <c:pt idx="339">
                  <c:v>2.0767835196778641</c:v>
                </c:pt>
                <c:pt idx="340">
                  <c:v>2.0767835196778641</c:v>
                </c:pt>
                <c:pt idx="341">
                  <c:v>2.034603654530819</c:v>
                </c:pt>
                <c:pt idx="342">
                  <c:v>2.0277498362556066</c:v>
                </c:pt>
                <c:pt idx="343">
                  <c:v>2.0503772399229296</c:v>
                </c:pt>
                <c:pt idx="344">
                  <c:v>2.0165826497857737</c:v>
                </c:pt>
                <c:pt idx="345">
                  <c:v>2.0260548010367851</c:v>
                </c:pt>
                <c:pt idx="346">
                  <c:v>2.0260548010367851</c:v>
                </c:pt>
                <c:pt idx="347">
                  <c:v>2.0260548010367851</c:v>
                </c:pt>
                <c:pt idx="348">
                  <c:v>1.9878383059540372</c:v>
                </c:pt>
                <c:pt idx="349">
                  <c:v>1.9523009310010249</c:v>
                </c:pt>
                <c:pt idx="350">
                  <c:v>1.9620927315792474</c:v>
                </c:pt>
                <c:pt idx="351">
                  <c:v>1.9607266897457039</c:v>
                </c:pt>
                <c:pt idx="352">
                  <c:v>1.9609010178918305</c:v>
                </c:pt>
                <c:pt idx="353">
                  <c:v>1.9609010178918305</c:v>
                </c:pt>
                <c:pt idx="354">
                  <c:v>1.9609010178918305</c:v>
                </c:pt>
                <c:pt idx="355">
                  <c:v>1.9519893804282151</c:v>
                </c:pt>
                <c:pt idx="356">
                  <c:v>1.9717104118407662</c:v>
                </c:pt>
                <c:pt idx="357">
                  <c:v>1.9372676455248774</c:v>
                </c:pt>
                <c:pt idx="358">
                  <c:v>1.9087008438150079</c:v>
                </c:pt>
                <c:pt idx="359">
                  <c:v>1.904217554599505</c:v>
                </c:pt>
                <c:pt idx="360">
                  <c:v>1.904217554599505</c:v>
                </c:pt>
                <c:pt idx="361">
                  <c:v>1.904217554599505</c:v>
                </c:pt>
                <c:pt idx="362">
                  <c:v>1.8760748664164575</c:v>
                </c:pt>
                <c:pt idx="363">
                  <c:v>1.8450363559787366</c:v>
                </c:pt>
                <c:pt idx="364">
                  <c:v>1.8756215269755108</c:v>
                </c:pt>
                <c:pt idx="365">
                  <c:v>1.8639118571015272</c:v>
                </c:pt>
                <c:pt idx="366">
                  <c:v>1.8490760905632451</c:v>
                </c:pt>
                <c:pt idx="367">
                  <c:v>1.8490760905632451</c:v>
                </c:pt>
                <c:pt idx="368">
                  <c:v>1.8490760905632451</c:v>
                </c:pt>
                <c:pt idx="369">
                  <c:v>1.8436305028055002</c:v>
                </c:pt>
                <c:pt idx="370">
                  <c:v>1.8420990289485126</c:v>
                </c:pt>
                <c:pt idx="371">
                  <c:v>1.8420990289485126</c:v>
                </c:pt>
                <c:pt idx="372">
                  <c:v>1.8420990289485126</c:v>
                </c:pt>
                <c:pt idx="373">
                  <c:v>1.8562197963429101</c:v>
                </c:pt>
                <c:pt idx="374">
                  <c:v>1.8562197963429101</c:v>
                </c:pt>
                <c:pt idx="375">
                  <c:v>1.8562197963429101</c:v>
                </c:pt>
                <c:pt idx="376">
                  <c:v>1.8739420164767795</c:v>
                </c:pt>
                <c:pt idx="377">
                  <c:v>1.8923446820465686</c:v>
                </c:pt>
                <c:pt idx="378">
                  <c:v>1.909735229153587</c:v>
                </c:pt>
                <c:pt idx="379">
                  <c:v>1.9038092143614853</c:v>
                </c:pt>
                <c:pt idx="380">
                  <c:v>1.9342923031278718</c:v>
                </c:pt>
                <c:pt idx="381">
                  <c:v>1.9342923031278718</c:v>
                </c:pt>
                <c:pt idx="382">
                  <c:v>1.9342923031278718</c:v>
                </c:pt>
                <c:pt idx="383">
                  <c:v>1.9336827227031992</c:v>
                </c:pt>
                <c:pt idx="384">
                  <c:v>1.9912669721457403</c:v>
                </c:pt>
                <c:pt idx="385">
                  <c:v>2.0142065160231364</c:v>
                </c:pt>
                <c:pt idx="386">
                  <c:v>2.0297410348960554</c:v>
                </c:pt>
                <c:pt idx="387">
                  <c:v>2.0297410348960554</c:v>
                </c:pt>
                <c:pt idx="388">
                  <c:v>2.0297410348960554</c:v>
                </c:pt>
                <c:pt idx="389">
                  <c:v>2.0297410348960554</c:v>
                </c:pt>
                <c:pt idx="390">
                  <c:v>2.0045702173155759</c:v>
                </c:pt>
                <c:pt idx="391">
                  <c:v>2.0045702173155759</c:v>
                </c:pt>
                <c:pt idx="392">
                  <c:v>1.9717035556347162</c:v>
                </c:pt>
                <c:pt idx="393">
                  <c:v>1.9686889622108641</c:v>
                </c:pt>
                <c:pt idx="394">
                  <c:v>2.0432346796651895</c:v>
                </c:pt>
                <c:pt idx="395">
                  <c:v>2.0432346796651895</c:v>
                </c:pt>
                <c:pt idx="396">
                  <c:v>2.0432346796651895</c:v>
                </c:pt>
                <c:pt idx="397">
                  <c:v>2.0745106096329722</c:v>
                </c:pt>
                <c:pt idx="398">
                  <c:v>2.0835746627200069</c:v>
                </c:pt>
                <c:pt idx="399">
                  <c:v>2.129782031512923</c:v>
                </c:pt>
                <c:pt idx="400">
                  <c:v>2.0860142820733341</c:v>
                </c:pt>
                <c:pt idx="401">
                  <c:v>2.1039548966855532</c:v>
                </c:pt>
                <c:pt idx="402">
                  <c:v>2.1039548966855532</c:v>
                </c:pt>
                <c:pt idx="403">
                  <c:v>2.1039548966855532</c:v>
                </c:pt>
                <c:pt idx="404">
                  <c:v>2.1140716941640467</c:v>
                </c:pt>
                <c:pt idx="405">
                  <c:v>2.1833359301842714</c:v>
                </c:pt>
                <c:pt idx="406">
                  <c:v>2.147263178373144</c:v>
                </c:pt>
                <c:pt idx="407">
                  <c:v>2.1527899392649998</c:v>
                </c:pt>
                <c:pt idx="408">
                  <c:v>2.1568438853671159</c:v>
                </c:pt>
                <c:pt idx="409">
                  <c:v>2.1568438853671159</c:v>
                </c:pt>
                <c:pt idx="410">
                  <c:v>2.1568438853671159</c:v>
                </c:pt>
                <c:pt idx="411">
                  <c:v>2.1931244616804659</c:v>
                </c:pt>
                <c:pt idx="412">
                  <c:v>2.1653697175212403</c:v>
                </c:pt>
                <c:pt idx="413">
                  <c:v>2.1373824576026004</c:v>
                </c:pt>
                <c:pt idx="414">
                  <c:v>2.1373824576026004</c:v>
                </c:pt>
                <c:pt idx="415">
                  <c:v>2.1373824576026004</c:v>
                </c:pt>
                <c:pt idx="416">
                  <c:v>2.1373824576026004</c:v>
                </c:pt>
                <c:pt idx="417">
                  <c:v>2.1373824576026004</c:v>
                </c:pt>
                <c:pt idx="418">
                  <c:v>2.1279560591329809</c:v>
                </c:pt>
                <c:pt idx="419">
                  <c:v>2.1551356147991867</c:v>
                </c:pt>
                <c:pt idx="420">
                  <c:v>2.195190989039753</c:v>
                </c:pt>
                <c:pt idx="421">
                  <c:v>2.195190989039753</c:v>
                </c:pt>
                <c:pt idx="422">
                  <c:v>2.203298319159865</c:v>
                </c:pt>
                <c:pt idx="423">
                  <c:v>2.203298319159865</c:v>
                </c:pt>
                <c:pt idx="424">
                  <c:v>2.203298319159865</c:v>
                </c:pt>
                <c:pt idx="425">
                  <c:v>2.2108141054380059</c:v>
                </c:pt>
                <c:pt idx="426">
                  <c:v>2.1919563957733472</c:v>
                </c:pt>
                <c:pt idx="427">
                  <c:v>2.1859833722685487</c:v>
                </c:pt>
                <c:pt idx="428">
                  <c:v>2.1908184646404605</c:v>
                </c:pt>
                <c:pt idx="429">
                  <c:v>2.1702588859870615</c:v>
                </c:pt>
                <c:pt idx="430">
                  <c:v>2.1702588859870615</c:v>
                </c:pt>
                <c:pt idx="431">
                  <c:v>2.1636299988781933</c:v>
                </c:pt>
                <c:pt idx="432">
                  <c:v>2.1636299988781933</c:v>
                </c:pt>
                <c:pt idx="433">
                  <c:v>2.1636299988781933</c:v>
                </c:pt>
                <c:pt idx="434">
                  <c:v>2.113199528644444</c:v>
                </c:pt>
                <c:pt idx="435">
                  <c:v>2.0855087905351013</c:v>
                </c:pt>
                <c:pt idx="436">
                  <c:v>2.1235212787020106</c:v>
                </c:pt>
                <c:pt idx="437">
                  <c:v>2.1235212787020106</c:v>
                </c:pt>
                <c:pt idx="438">
                  <c:v>2.1235212787020106</c:v>
                </c:pt>
                <c:pt idx="439">
                  <c:v>2.1459679959418154</c:v>
                </c:pt>
                <c:pt idx="440">
                  <c:v>2.1348988196430287</c:v>
                </c:pt>
                <c:pt idx="441">
                  <c:v>2.1178021449137878</c:v>
                </c:pt>
                <c:pt idx="442">
                  <c:v>2.1015819341912856</c:v>
                </c:pt>
                <c:pt idx="443">
                  <c:v>2.1448909812658301</c:v>
                </c:pt>
                <c:pt idx="444">
                  <c:v>2.1448909812658301</c:v>
                </c:pt>
                <c:pt idx="445">
                  <c:v>2.1448909812658301</c:v>
                </c:pt>
                <c:pt idx="446">
                  <c:v>2.1509611088368832</c:v>
                </c:pt>
                <c:pt idx="447">
                  <c:v>2.140814611038182</c:v>
                </c:pt>
                <c:pt idx="448">
                  <c:v>2.1436141225603165</c:v>
                </c:pt>
                <c:pt idx="449">
                  <c:v>2.150082139560606</c:v>
                </c:pt>
                <c:pt idx="450">
                  <c:v>2.1717938517129194</c:v>
                </c:pt>
                <c:pt idx="451">
                  <c:v>2.1717938517129194</c:v>
                </c:pt>
                <c:pt idx="452">
                  <c:v>2.1717938517129194</c:v>
                </c:pt>
                <c:pt idx="453">
                  <c:v>2.1717938517129194</c:v>
                </c:pt>
                <c:pt idx="454">
                  <c:v>2.1302314105831619</c:v>
                </c:pt>
                <c:pt idx="455">
                  <c:v>2.1374904404369928</c:v>
                </c:pt>
                <c:pt idx="456">
                  <c:v>2.1682941709357633</c:v>
                </c:pt>
                <c:pt idx="457">
                  <c:v>2.1510541544235586</c:v>
                </c:pt>
                <c:pt idx="458">
                  <c:v>2.1510541544235586</c:v>
                </c:pt>
                <c:pt idx="459">
                  <c:v>2.1510541544235586</c:v>
                </c:pt>
                <c:pt idx="460">
                  <c:v>2.1729574132715617</c:v>
                </c:pt>
                <c:pt idx="461">
                  <c:v>2.1663609459781261</c:v>
                </c:pt>
                <c:pt idx="462">
                  <c:v>2.1460316035535683</c:v>
                </c:pt>
                <c:pt idx="463">
                  <c:v>2.1437999155692973</c:v>
                </c:pt>
                <c:pt idx="464">
                  <c:v>2.1658043543806542</c:v>
                </c:pt>
                <c:pt idx="465">
                  <c:v>2.1658043543806542</c:v>
                </c:pt>
                <c:pt idx="466">
                  <c:v>2.1658043543806542</c:v>
                </c:pt>
                <c:pt idx="467">
                  <c:v>2.1623031542444631</c:v>
                </c:pt>
                <c:pt idx="468">
                  <c:v>2.179267578708505</c:v>
                </c:pt>
                <c:pt idx="469">
                  <c:v>2.1891175233070066</c:v>
                </c:pt>
                <c:pt idx="470">
                  <c:v>2.2003090718723737</c:v>
                </c:pt>
                <c:pt idx="471">
                  <c:v>2.1847816163460987</c:v>
                </c:pt>
                <c:pt idx="472">
                  <c:v>2.1847816163460987</c:v>
                </c:pt>
                <c:pt idx="473">
                  <c:v>2.1847816163460987</c:v>
                </c:pt>
                <c:pt idx="474">
                  <c:v>2.14360430872116</c:v>
                </c:pt>
                <c:pt idx="475">
                  <c:v>2.1326846172770013</c:v>
                </c:pt>
                <c:pt idx="476">
                  <c:v>2.1318035729538347</c:v>
                </c:pt>
                <c:pt idx="477">
                  <c:v>2.1361387574319681</c:v>
                </c:pt>
                <c:pt idx="478">
                  <c:v>2.158038166515452</c:v>
                </c:pt>
                <c:pt idx="479">
                  <c:v>2.158038166515452</c:v>
                </c:pt>
                <c:pt idx="480">
                  <c:v>2.158038166515452</c:v>
                </c:pt>
                <c:pt idx="481">
                  <c:v>2.1567965337161907</c:v>
                </c:pt>
                <c:pt idx="482">
                  <c:v>2.1625569071793644</c:v>
                </c:pt>
                <c:pt idx="483">
                  <c:v>2.1871306739301999</c:v>
                </c:pt>
                <c:pt idx="484">
                  <c:v>2.2157489187359403</c:v>
                </c:pt>
                <c:pt idx="485">
                  <c:v>2.2013976744163157</c:v>
                </c:pt>
                <c:pt idx="486">
                  <c:v>2.2013976744163157</c:v>
                </c:pt>
                <c:pt idx="487">
                  <c:v>2.2013976744163157</c:v>
                </c:pt>
                <c:pt idx="488">
                  <c:v>2.1810857322936612</c:v>
                </c:pt>
                <c:pt idx="489">
                  <c:v>2.15699156696693</c:v>
                </c:pt>
                <c:pt idx="490">
                  <c:v>2.1645597310813223</c:v>
                </c:pt>
                <c:pt idx="491">
                  <c:v>2.1478338533661083</c:v>
                </c:pt>
                <c:pt idx="492">
                  <c:v>2.1391917591501031</c:v>
                </c:pt>
                <c:pt idx="493">
                  <c:v>2.1391917591501031</c:v>
                </c:pt>
                <c:pt idx="494">
                  <c:v>2.1391917591501031</c:v>
                </c:pt>
                <c:pt idx="495">
                  <c:v>2.1378336149330166</c:v>
                </c:pt>
                <c:pt idx="496">
                  <c:v>2.0860745209197238</c:v>
                </c:pt>
                <c:pt idx="497">
                  <c:v>2.0860745209197238</c:v>
                </c:pt>
                <c:pt idx="498">
                  <c:v>2.0860745209197238</c:v>
                </c:pt>
                <c:pt idx="499">
                  <c:v>2.0860745209197238</c:v>
                </c:pt>
                <c:pt idx="500">
                  <c:v>2.0860745209197238</c:v>
                </c:pt>
                <c:pt idx="501">
                  <c:v>2.0562040741258274</c:v>
                </c:pt>
                <c:pt idx="502">
                  <c:v>2.0860745209197238</c:v>
                </c:pt>
                <c:pt idx="503">
                  <c:v>2.1131696685160075</c:v>
                </c:pt>
                <c:pt idx="504">
                  <c:v>2.1344603816307131</c:v>
                </c:pt>
                <c:pt idx="505">
                  <c:v>2.1143199800633328</c:v>
                </c:pt>
                <c:pt idx="506">
                  <c:v>2.1640151136862364</c:v>
                </c:pt>
                <c:pt idx="507">
                  <c:v>2.1640151136862364</c:v>
                </c:pt>
                <c:pt idx="508">
                  <c:v>2.1640151136862364</c:v>
                </c:pt>
                <c:pt idx="509">
                  <c:v>2.1934810907698936</c:v>
                </c:pt>
                <c:pt idx="510">
                  <c:v>2.1796574571597827</c:v>
                </c:pt>
                <c:pt idx="511">
                  <c:v>2.1545705530703056</c:v>
                </c:pt>
                <c:pt idx="512">
                  <c:v>2.1606141979378437</c:v>
                </c:pt>
                <c:pt idx="513">
                  <c:v>2.1763204387247619</c:v>
                </c:pt>
                <c:pt idx="514">
                  <c:v>2.1763204387247619</c:v>
                </c:pt>
                <c:pt idx="515">
                  <c:v>2.1763204387247619</c:v>
                </c:pt>
                <c:pt idx="516">
                  <c:v>2.1242641560177042</c:v>
                </c:pt>
                <c:pt idx="517">
                  <c:v>2.1244224498089976</c:v>
                </c:pt>
                <c:pt idx="518">
                  <c:v>2.0497679196786511</c:v>
                </c:pt>
                <c:pt idx="519">
                  <c:v>2.0767335519544035</c:v>
                </c:pt>
                <c:pt idx="520">
                  <c:v>2.0895675007724721</c:v>
                </c:pt>
                <c:pt idx="521">
                  <c:v>2.0895675007724721</c:v>
                </c:pt>
                <c:pt idx="522">
                  <c:v>2.0895675007724721</c:v>
                </c:pt>
                <c:pt idx="523">
                  <c:v>2.0932813057828143</c:v>
                </c:pt>
                <c:pt idx="524">
                  <c:v>2.0966896879409727</c:v>
                </c:pt>
                <c:pt idx="525">
                  <c:v>2.0701309763259452</c:v>
                </c:pt>
                <c:pt idx="526">
                  <c:v>2.07831169591564</c:v>
                </c:pt>
                <c:pt idx="527">
                  <c:v>2.0593099620357043</c:v>
                </c:pt>
                <c:pt idx="528">
                  <c:v>2.0593099620357043</c:v>
                </c:pt>
                <c:pt idx="529">
                  <c:v>2.0593099620357043</c:v>
                </c:pt>
                <c:pt idx="530">
                  <c:v>2.0684792585842797</c:v>
                </c:pt>
                <c:pt idx="531">
                  <c:v>2.0408687679218431</c:v>
                </c:pt>
                <c:pt idx="532">
                  <c:v>2.0578063925260128</c:v>
                </c:pt>
                <c:pt idx="533">
                  <c:v>2.0646115135728746</c:v>
                </c:pt>
                <c:pt idx="534">
                  <c:v>2.0709125773210078</c:v>
                </c:pt>
                <c:pt idx="535">
                  <c:v>2.0709125773210078</c:v>
                </c:pt>
                <c:pt idx="536">
                  <c:v>2.0709125773210078</c:v>
                </c:pt>
                <c:pt idx="537">
                  <c:v>2.0732838797384021</c:v>
                </c:pt>
                <c:pt idx="538">
                  <c:v>2.0602112308579454</c:v>
                </c:pt>
                <c:pt idx="539">
                  <c:v>2.0560031541460591</c:v>
                </c:pt>
                <c:pt idx="540">
                  <c:v>2.0277533338319138</c:v>
                </c:pt>
                <c:pt idx="541">
                  <c:v>2.0277533338319138</c:v>
                </c:pt>
                <c:pt idx="542">
                  <c:v>2.0277533338319138</c:v>
                </c:pt>
                <c:pt idx="543">
                  <c:v>2.0277533338319138</c:v>
                </c:pt>
                <c:pt idx="544">
                  <c:v>2.0278727924520132</c:v>
                </c:pt>
                <c:pt idx="545">
                  <c:v>2.0240636601595323</c:v>
                </c:pt>
                <c:pt idx="546">
                  <c:v>2.0033913257785234</c:v>
                </c:pt>
                <c:pt idx="547">
                  <c:v>1.991166871675172</c:v>
                </c:pt>
                <c:pt idx="548">
                  <c:v>1.991166871675172</c:v>
                </c:pt>
                <c:pt idx="549">
                  <c:v>1.991166871675172</c:v>
                </c:pt>
                <c:pt idx="550">
                  <c:v>1.991166871675172</c:v>
                </c:pt>
                <c:pt idx="551">
                  <c:v>1.9931972090634091</c:v>
                </c:pt>
                <c:pt idx="552">
                  <c:v>1.9617081457915526</c:v>
                </c:pt>
                <c:pt idx="553">
                  <c:v>1.9425503595685176</c:v>
                </c:pt>
                <c:pt idx="554">
                  <c:v>1.94978732693182</c:v>
                </c:pt>
                <c:pt idx="555">
                  <c:v>1.9387859804687573</c:v>
                </c:pt>
                <c:pt idx="556">
                  <c:v>1.9387859804687573</c:v>
                </c:pt>
                <c:pt idx="557">
                  <c:v>1.9387859804687573</c:v>
                </c:pt>
                <c:pt idx="558">
                  <c:v>1.9311678174368094</c:v>
                </c:pt>
                <c:pt idx="559">
                  <c:v>1.9364682804280182</c:v>
                </c:pt>
                <c:pt idx="560">
                  <c:v>1.9507611782117609</c:v>
                </c:pt>
                <c:pt idx="561">
                  <c:v>1.9348415724775585</c:v>
                </c:pt>
                <c:pt idx="562">
                  <c:v>1.9411934521923444</c:v>
                </c:pt>
                <c:pt idx="563">
                  <c:v>1.9411934521923444</c:v>
                </c:pt>
                <c:pt idx="564">
                  <c:v>1.9411934521923444</c:v>
                </c:pt>
                <c:pt idx="565">
                  <c:v>1.9325275263772139</c:v>
                </c:pt>
                <c:pt idx="566">
                  <c:v>1.9485103669685047</c:v>
                </c:pt>
                <c:pt idx="567">
                  <c:v>1.9251227557472901</c:v>
                </c:pt>
                <c:pt idx="568">
                  <c:v>1.9387496502718904</c:v>
                </c:pt>
                <c:pt idx="569">
                  <c:v>1.9292213846832071</c:v>
                </c:pt>
                <c:pt idx="570">
                  <c:v>1.9292213846832071</c:v>
                </c:pt>
                <c:pt idx="571">
                  <c:v>1.9292213846832071</c:v>
                </c:pt>
                <c:pt idx="572">
                  <c:v>1.9218232827011525</c:v>
                </c:pt>
                <c:pt idx="573">
                  <c:v>1.9466269830882743</c:v>
                </c:pt>
                <c:pt idx="574">
                  <c:v>1.9838852124248927</c:v>
                </c:pt>
                <c:pt idx="575">
                  <c:v>1.9782370607487763</c:v>
                </c:pt>
                <c:pt idx="576">
                  <c:v>1.9824604607475953</c:v>
                </c:pt>
                <c:pt idx="577">
                  <c:v>1.9824604607475953</c:v>
                </c:pt>
                <c:pt idx="578">
                  <c:v>1.9824604607475953</c:v>
                </c:pt>
                <c:pt idx="579">
                  <c:v>1.9846517238427186</c:v>
                </c:pt>
                <c:pt idx="580">
                  <c:v>1.9838836831270452</c:v>
                </c:pt>
                <c:pt idx="581">
                  <c:v>1.98897320358427</c:v>
                </c:pt>
                <c:pt idx="582">
                  <c:v>1.9550299792957808</c:v>
                </c:pt>
                <c:pt idx="583">
                  <c:v>1.9551242996089422</c:v>
                </c:pt>
                <c:pt idx="584">
                  <c:v>1.9551242996089422</c:v>
                </c:pt>
                <c:pt idx="585">
                  <c:v>1.9551242996089422</c:v>
                </c:pt>
                <c:pt idx="586">
                  <c:v>1.9250044229682999</c:v>
                </c:pt>
                <c:pt idx="587">
                  <c:v>1.8722004476401712</c:v>
                </c:pt>
                <c:pt idx="588">
                  <c:v>1.8722004476401712</c:v>
                </c:pt>
                <c:pt idx="589">
                  <c:v>1.9018259931432029</c:v>
                </c:pt>
                <c:pt idx="590">
                  <c:v>1.8943757407367312</c:v>
                </c:pt>
                <c:pt idx="591">
                  <c:v>1.8943757407367312</c:v>
                </c:pt>
                <c:pt idx="592">
                  <c:v>1.8943757407367312</c:v>
                </c:pt>
                <c:pt idx="593">
                  <c:v>1.9221681843856337</c:v>
                </c:pt>
                <c:pt idx="594">
                  <c:v>1.9578286805586986</c:v>
                </c:pt>
                <c:pt idx="595">
                  <c:v>1.9023934758093242</c:v>
                </c:pt>
                <c:pt idx="596">
                  <c:v>1.9402738554129133</c:v>
                </c:pt>
                <c:pt idx="597">
                  <c:v>1.9334902479586071</c:v>
                </c:pt>
                <c:pt idx="598">
                  <c:v>1.9334902479586071</c:v>
                </c:pt>
                <c:pt idx="599">
                  <c:v>1.9334902479586071</c:v>
                </c:pt>
                <c:pt idx="600">
                  <c:v>1.945915549222706</c:v>
                </c:pt>
                <c:pt idx="601">
                  <c:v>1.945915549222706</c:v>
                </c:pt>
                <c:pt idx="602">
                  <c:v>1.9532940746965708</c:v>
                </c:pt>
                <c:pt idx="603">
                  <c:v>1.9616094791668715</c:v>
                </c:pt>
                <c:pt idx="604">
                  <c:v>1.9949895054998037</c:v>
                </c:pt>
                <c:pt idx="605">
                  <c:v>1.9949895054998037</c:v>
                </c:pt>
                <c:pt idx="606">
                  <c:v>1.9949895054998037</c:v>
                </c:pt>
                <c:pt idx="607">
                  <c:v>1.9977490591585663</c:v>
                </c:pt>
                <c:pt idx="608">
                  <c:v>2.0286790685659959</c:v>
                </c:pt>
                <c:pt idx="609">
                  <c:v>2.0192957418585378</c:v>
                </c:pt>
                <c:pt idx="610">
                  <c:v>1.9973765298390698</c:v>
                </c:pt>
                <c:pt idx="611">
                  <c:v>2.0319294723179473</c:v>
                </c:pt>
                <c:pt idx="612">
                  <c:v>2.0319294723179473</c:v>
                </c:pt>
                <c:pt idx="613">
                  <c:v>2.0319294723179473</c:v>
                </c:pt>
                <c:pt idx="614">
                  <c:v>2.0256531113402825</c:v>
                </c:pt>
                <c:pt idx="615">
                  <c:v>2.0351247083795005</c:v>
                </c:pt>
                <c:pt idx="616">
                  <c:v>2.0046732058475638</c:v>
                </c:pt>
                <c:pt idx="617">
                  <c:v>2.0231482751732401</c:v>
                </c:pt>
                <c:pt idx="618">
                  <c:v>2.036453632783517</c:v>
                </c:pt>
                <c:pt idx="619">
                  <c:v>2.036453632783517</c:v>
                </c:pt>
                <c:pt idx="620">
                  <c:v>2.036453632783517</c:v>
                </c:pt>
                <c:pt idx="621">
                  <c:v>2.0347993139267357</c:v>
                </c:pt>
                <c:pt idx="622">
                  <c:v>2.0347993139267357</c:v>
                </c:pt>
                <c:pt idx="623">
                  <c:v>2.0470239781228035</c:v>
                </c:pt>
                <c:pt idx="624">
                  <c:v>2.020185471030822</c:v>
                </c:pt>
                <c:pt idx="625">
                  <c:v>2.0320458081828896</c:v>
                </c:pt>
                <c:pt idx="626">
                  <c:v>2.0320458081828896</c:v>
                </c:pt>
                <c:pt idx="627">
                  <c:v>2.0320458081828896</c:v>
                </c:pt>
                <c:pt idx="628">
                  <c:v>2.0335448187298391</c:v>
                </c:pt>
                <c:pt idx="629">
                  <c:v>2.0416564195871354</c:v>
                </c:pt>
                <c:pt idx="630">
                  <c:v>2.0321306696988239</c:v>
                </c:pt>
                <c:pt idx="631">
                  <c:v>1.9766195577130099</c:v>
                </c:pt>
                <c:pt idx="632">
                  <c:v>1.9727359437640346</c:v>
                </c:pt>
                <c:pt idx="633">
                  <c:v>1.9727359437640346</c:v>
                </c:pt>
                <c:pt idx="634">
                  <c:v>1.9727359437640346</c:v>
                </c:pt>
                <c:pt idx="635">
                  <c:v>1.9401367566801608</c:v>
                </c:pt>
                <c:pt idx="636">
                  <c:v>1.9355449062110688</c:v>
                </c:pt>
                <c:pt idx="637">
                  <c:v>1.9564481010964179</c:v>
                </c:pt>
                <c:pt idx="638">
                  <c:v>1.9592179910216114</c:v>
                </c:pt>
                <c:pt idx="639">
                  <c:v>1.9956807475364535</c:v>
                </c:pt>
                <c:pt idx="640">
                  <c:v>1.9956807475364535</c:v>
                </c:pt>
                <c:pt idx="641">
                  <c:v>1.9956807475364535</c:v>
                </c:pt>
                <c:pt idx="642">
                  <c:v>2.0009583115040273</c:v>
                </c:pt>
                <c:pt idx="643">
                  <c:v>1.9967699420793565</c:v>
                </c:pt>
                <c:pt idx="644">
                  <c:v>1.9981232298581602</c:v>
                </c:pt>
                <c:pt idx="645">
                  <c:v>2.0020770432131685</c:v>
                </c:pt>
                <c:pt idx="646">
                  <c:v>1.9913371662379524</c:v>
                </c:pt>
                <c:pt idx="647">
                  <c:v>1.9913371662379524</c:v>
                </c:pt>
                <c:pt idx="648">
                  <c:v>1.9913371662379524</c:v>
                </c:pt>
                <c:pt idx="649">
                  <c:v>1.9604517645820088</c:v>
                </c:pt>
                <c:pt idx="650">
                  <c:v>1.949827800727796</c:v>
                </c:pt>
                <c:pt idx="651">
                  <c:v>1.937581112910812</c:v>
                </c:pt>
                <c:pt idx="652">
                  <c:v>1.9381712079494753</c:v>
                </c:pt>
                <c:pt idx="653">
                  <c:v>1.9049888374344874</c:v>
                </c:pt>
                <c:pt idx="654">
                  <c:v>1.9049888374344874</c:v>
                </c:pt>
                <c:pt idx="655">
                  <c:v>1.9049888374344874</c:v>
                </c:pt>
                <c:pt idx="656">
                  <c:v>1.9051283619262793</c:v>
                </c:pt>
                <c:pt idx="657">
                  <c:v>1.9051283619262793</c:v>
                </c:pt>
                <c:pt idx="658">
                  <c:v>1.8692729214597654</c:v>
                </c:pt>
                <c:pt idx="659">
                  <c:v>1.8616230047096192</c:v>
                </c:pt>
                <c:pt idx="660">
                  <c:v>1.8516770591546299</c:v>
                </c:pt>
                <c:pt idx="661">
                  <c:v>1.8516770591546299</c:v>
                </c:pt>
                <c:pt idx="662">
                  <c:v>1.8516770591546299</c:v>
                </c:pt>
                <c:pt idx="663">
                  <c:v>1.8212288305265207</c:v>
                </c:pt>
                <c:pt idx="664">
                  <c:v>1.8198554101580562</c:v>
                </c:pt>
                <c:pt idx="665">
                  <c:v>1.8241247848394735</c:v>
                </c:pt>
                <c:pt idx="666">
                  <c:v>1.818325252062057</c:v>
                </c:pt>
                <c:pt idx="667">
                  <c:v>1.8149147024555754</c:v>
                </c:pt>
                <c:pt idx="668">
                  <c:v>1.8149147024555754</c:v>
                </c:pt>
                <c:pt idx="669">
                  <c:v>1.8149147024555754</c:v>
                </c:pt>
                <c:pt idx="670">
                  <c:v>1.8132002994436232</c:v>
                </c:pt>
                <c:pt idx="671">
                  <c:v>1.7982774876060055</c:v>
                </c:pt>
                <c:pt idx="672">
                  <c:v>1.7863455303881646</c:v>
                </c:pt>
                <c:pt idx="673">
                  <c:v>1.7566666432792959</c:v>
                </c:pt>
                <c:pt idx="674">
                  <c:v>1.7551809779004108</c:v>
                </c:pt>
                <c:pt idx="675">
                  <c:v>1.7551809779004108</c:v>
                </c:pt>
                <c:pt idx="676">
                  <c:v>1.7551809779004108</c:v>
                </c:pt>
                <c:pt idx="677">
                  <c:v>1.7442869936371919</c:v>
                </c:pt>
                <c:pt idx="678">
                  <c:v>1.75515231899061</c:v>
                </c:pt>
                <c:pt idx="679">
                  <c:v>1.7601012168648851</c:v>
                </c:pt>
                <c:pt idx="680">
                  <c:v>1.7571715196936089</c:v>
                </c:pt>
                <c:pt idx="681">
                  <c:v>1.7372811320996084</c:v>
                </c:pt>
                <c:pt idx="682">
                  <c:v>1.7372811320996084</c:v>
                </c:pt>
                <c:pt idx="683">
                  <c:v>1.7372811320996084</c:v>
                </c:pt>
                <c:pt idx="684">
                  <c:v>1.7263395846166865</c:v>
                </c:pt>
                <c:pt idx="685">
                  <c:v>1.7430171859778116</c:v>
                </c:pt>
                <c:pt idx="686">
                  <c:v>1.7446726344150563</c:v>
                </c:pt>
                <c:pt idx="687">
                  <c:v>1.7443612901956076</c:v>
                </c:pt>
                <c:pt idx="688">
                  <c:v>1.7258767362908349</c:v>
                </c:pt>
                <c:pt idx="689">
                  <c:v>1.7258767362908349</c:v>
                </c:pt>
                <c:pt idx="690">
                  <c:v>1.7258767362908349</c:v>
                </c:pt>
                <c:pt idx="691">
                  <c:v>1.7291665518619035</c:v>
                </c:pt>
                <c:pt idx="692">
                  <c:v>1.7336887122644942</c:v>
                </c:pt>
                <c:pt idx="693">
                  <c:v>1.7209773616487798</c:v>
                </c:pt>
                <c:pt idx="694">
                  <c:v>1.7088357596499961</c:v>
                </c:pt>
                <c:pt idx="695">
                  <c:v>1.7004489221800829</c:v>
                </c:pt>
                <c:pt idx="696">
                  <c:v>1.7004489221800829</c:v>
                </c:pt>
                <c:pt idx="697">
                  <c:v>1.7004489221800829</c:v>
                </c:pt>
                <c:pt idx="698">
                  <c:v>1.7011340456476856</c:v>
                </c:pt>
                <c:pt idx="699">
                  <c:v>1.6941555978146419</c:v>
                </c:pt>
                <c:pt idx="700">
                  <c:v>1.7089407679257795</c:v>
                </c:pt>
                <c:pt idx="701">
                  <c:v>1.7024613596688898</c:v>
                </c:pt>
                <c:pt idx="702">
                  <c:v>1.6911401718922514</c:v>
                </c:pt>
                <c:pt idx="703">
                  <c:v>1.6911401718922514</c:v>
                </c:pt>
                <c:pt idx="704">
                  <c:v>1.6911401718922514</c:v>
                </c:pt>
                <c:pt idx="705">
                  <c:v>1.6851841883336056</c:v>
                </c:pt>
                <c:pt idx="706">
                  <c:v>1.6841224598462137</c:v>
                </c:pt>
                <c:pt idx="707">
                  <c:v>1.6916357658494536</c:v>
                </c:pt>
                <c:pt idx="708">
                  <c:v>1.6874004719459796</c:v>
                </c:pt>
                <c:pt idx="709">
                  <c:v>1.6957421204898946</c:v>
                </c:pt>
                <c:pt idx="710">
                  <c:v>1.6957421204898946</c:v>
                </c:pt>
                <c:pt idx="711">
                  <c:v>1.6957421204898946</c:v>
                </c:pt>
                <c:pt idx="712">
                  <c:v>1.6928566531000235</c:v>
                </c:pt>
                <c:pt idx="713">
                  <c:v>1.6769481067054506</c:v>
                </c:pt>
                <c:pt idx="714">
                  <c:v>1.6546139799728008</c:v>
                </c:pt>
                <c:pt idx="715">
                  <c:v>1.6414337318370662</c:v>
                </c:pt>
                <c:pt idx="716">
                  <c:v>1.6292773919572374</c:v>
                </c:pt>
                <c:pt idx="717">
                  <c:v>1.6292773919572374</c:v>
                </c:pt>
                <c:pt idx="718">
                  <c:v>1.6292773919572374</c:v>
                </c:pt>
                <c:pt idx="719">
                  <c:v>1.6276764134270401</c:v>
                </c:pt>
                <c:pt idx="720">
                  <c:v>1.6362206128015837</c:v>
                </c:pt>
                <c:pt idx="721">
                  <c:v>1.6301236545701807</c:v>
                </c:pt>
                <c:pt idx="722">
                  <c:v>1.6327116819422602</c:v>
                </c:pt>
                <c:pt idx="723">
                  <c:v>1.6274086859315617</c:v>
                </c:pt>
                <c:pt idx="724">
                  <c:v>1.6274086859315617</c:v>
                </c:pt>
                <c:pt idx="725">
                  <c:v>1.6274086859315617</c:v>
                </c:pt>
                <c:pt idx="726">
                  <c:v>1.610382811562086</c:v>
                </c:pt>
                <c:pt idx="727">
                  <c:v>1.608313373705248</c:v>
                </c:pt>
                <c:pt idx="728">
                  <c:v>1.6065253715246135</c:v>
                </c:pt>
                <c:pt idx="729">
                  <c:v>1.6207988837040868</c:v>
                </c:pt>
                <c:pt idx="730">
                  <c:v>1.6019249806635976</c:v>
                </c:pt>
                <c:pt idx="731">
                  <c:v>1.6019249806635976</c:v>
                </c:pt>
                <c:pt idx="732">
                  <c:v>1.6019249806635976</c:v>
                </c:pt>
                <c:pt idx="733">
                  <c:v>1.602603968833459</c:v>
                </c:pt>
                <c:pt idx="734">
                  <c:v>1.5940437976890782</c:v>
                </c:pt>
                <c:pt idx="735">
                  <c:v>1.6054586712693533</c:v>
                </c:pt>
                <c:pt idx="736">
                  <c:v>1.6342517058347716</c:v>
                </c:pt>
                <c:pt idx="737">
                  <c:v>1.624427042229128</c:v>
                </c:pt>
                <c:pt idx="738">
                  <c:v>1.624427042229128</c:v>
                </c:pt>
                <c:pt idx="739">
                  <c:v>1.624427042229128</c:v>
                </c:pt>
                <c:pt idx="740">
                  <c:v>1.6221293069006846</c:v>
                </c:pt>
                <c:pt idx="741">
                  <c:v>1.6221293069006846</c:v>
                </c:pt>
                <c:pt idx="742">
                  <c:v>1.6207693624793102</c:v>
                </c:pt>
                <c:pt idx="743">
                  <c:v>1.613923390453623</c:v>
                </c:pt>
                <c:pt idx="744">
                  <c:v>1.6318201409540078</c:v>
                </c:pt>
                <c:pt idx="745">
                  <c:v>1.6318201409540078</c:v>
                </c:pt>
                <c:pt idx="746">
                  <c:v>1.6318201409540078</c:v>
                </c:pt>
                <c:pt idx="747">
                  <c:v>1.6412816934948995</c:v>
                </c:pt>
                <c:pt idx="748">
                  <c:v>1.6490054299372772</c:v>
                </c:pt>
                <c:pt idx="749">
                  <c:v>1.6373258493748386</c:v>
                </c:pt>
                <c:pt idx="750">
                  <c:v>1.6247399672117597</c:v>
                </c:pt>
                <c:pt idx="751">
                  <c:v>1.6255823061587176</c:v>
                </c:pt>
                <c:pt idx="752">
                  <c:v>1.6255823061587176</c:v>
                </c:pt>
                <c:pt idx="753">
                  <c:v>1.6255823061587176</c:v>
                </c:pt>
                <c:pt idx="754">
                  <c:v>1.6186792597651292</c:v>
                </c:pt>
                <c:pt idx="755">
                  <c:v>1.6238031603455163</c:v>
                </c:pt>
                <c:pt idx="756">
                  <c:v>1.6476385972301215</c:v>
                </c:pt>
                <c:pt idx="757">
                  <c:v>1.6463416314216042</c:v>
                </c:pt>
                <c:pt idx="758">
                  <c:v>1.6527930030761113</c:v>
                </c:pt>
                <c:pt idx="759">
                  <c:v>1.6527930030761113</c:v>
                </c:pt>
                <c:pt idx="760">
                  <c:v>1.6527930030761113</c:v>
                </c:pt>
                <c:pt idx="761">
                  <c:v>1.6239714313267428</c:v>
                </c:pt>
                <c:pt idx="762">
                  <c:v>1.621720929957942</c:v>
                </c:pt>
                <c:pt idx="763">
                  <c:v>1.6038153230901242</c:v>
                </c:pt>
                <c:pt idx="764">
                  <c:v>1.581304405157161</c:v>
                </c:pt>
                <c:pt idx="765">
                  <c:v>1.6211462501156246</c:v>
                </c:pt>
                <c:pt idx="766">
                  <c:v>1.6211462501156246</c:v>
                </c:pt>
                <c:pt idx="767">
                  <c:v>1.6211462501156246</c:v>
                </c:pt>
                <c:pt idx="768">
                  <c:v>1.6042492850943397</c:v>
                </c:pt>
                <c:pt idx="769">
                  <c:v>1.7523434932268469</c:v>
                </c:pt>
                <c:pt idx="770">
                  <c:v>1.7775024650222684</c:v>
                </c:pt>
                <c:pt idx="771">
                  <c:v>1.7707913065897276</c:v>
                </c:pt>
                <c:pt idx="772">
                  <c:v>1.7725153461166792</c:v>
                </c:pt>
                <c:pt idx="773">
                  <c:v>1.7725153461166792</c:v>
                </c:pt>
                <c:pt idx="774">
                  <c:v>1.7725153461166792</c:v>
                </c:pt>
                <c:pt idx="775">
                  <c:v>1.7546441806777677</c:v>
                </c:pt>
                <c:pt idx="776">
                  <c:v>1.7585754237771811</c:v>
                </c:pt>
                <c:pt idx="777">
                  <c:v>1.7307615098335198</c:v>
                </c:pt>
                <c:pt idx="778">
                  <c:v>1.7143614854293074</c:v>
                </c:pt>
                <c:pt idx="779">
                  <c:v>1.7138566724856279</c:v>
                </c:pt>
                <c:pt idx="780">
                  <c:v>1.7138566724856279</c:v>
                </c:pt>
                <c:pt idx="781">
                  <c:v>1.7138566724856279</c:v>
                </c:pt>
                <c:pt idx="782">
                  <c:v>1.7001617763117753</c:v>
                </c:pt>
                <c:pt idx="783">
                  <c:v>1.7299103145191284</c:v>
                </c:pt>
                <c:pt idx="784">
                  <c:v>1.7324688206664316</c:v>
                </c:pt>
                <c:pt idx="785">
                  <c:v>1.7023847245374513</c:v>
                </c:pt>
                <c:pt idx="786">
                  <c:v>1.7023847245374513</c:v>
                </c:pt>
                <c:pt idx="787">
                  <c:v>1.7023847245374513</c:v>
                </c:pt>
                <c:pt idx="788">
                  <c:v>1.7023847245374513</c:v>
                </c:pt>
                <c:pt idx="789">
                  <c:v>1.6809385387780966</c:v>
                </c:pt>
                <c:pt idx="790">
                  <c:v>1.6801424497499551</c:v>
                </c:pt>
                <c:pt idx="791">
                  <c:v>1.6890716362040428</c:v>
                </c:pt>
                <c:pt idx="792">
                  <c:v>1.6786181705106578</c:v>
                </c:pt>
                <c:pt idx="793">
                  <c:v>1.6687659537618893</c:v>
                </c:pt>
                <c:pt idx="794">
                  <c:v>1.6687659537618893</c:v>
                </c:pt>
                <c:pt idx="795">
                  <c:v>1.6687659537618893</c:v>
                </c:pt>
                <c:pt idx="796">
                  <c:v>1.6687659537618893</c:v>
                </c:pt>
                <c:pt idx="797">
                  <c:v>1.6636745265287567</c:v>
                </c:pt>
                <c:pt idx="798">
                  <c:v>1.683692869049751</c:v>
                </c:pt>
                <c:pt idx="799">
                  <c:v>1.6812957455978932</c:v>
                </c:pt>
                <c:pt idx="800">
                  <c:v>1.6394189042114977</c:v>
                </c:pt>
                <c:pt idx="801">
                  <c:v>1.6394189042114977</c:v>
                </c:pt>
                <c:pt idx="802">
                  <c:v>1.6394189042114977</c:v>
                </c:pt>
                <c:pt idx="803">
                  <c:v>1.6394189042114977</c:v>
                </c:pt>
                <c:pt idx="804">
                  <c:v>1.6595622199173798</c:v>
                </c:pt>
                <c:pt idx="805">
                  <c:v>1.6653001619731196</c:v>
                </c:pt>
                <c:pt idx="806">
                  <c:v>1.6664426333719728</c:v>
                </c:pt>
                <c:pt idx="807">
                  <c:v>1.666944494193175</c:v>
                </c:pt>
                <c:pt idx="808">
                  <c:v>1.666944494193175</c:v>
                </c:pt>
                <c:pt idx="809">
                  <c:v>1.666944494193175</c:v>
                </c:pt>
                <c:pt idx="810">
                  <c:v>1.6599381235128681</c:v>
                </c:pt>
                <c:pt idx="811">
                  <c:v>1.6748040282695245</c:v>
                </c:pt>
                <c:pt idx="812">
                  <c:v>1.6882568504002091</c:v>
                </c:pt>
                <c:pt idx="813">
                  <c:v>1.6778840760545473</c:v>
                </c:pt>
                <c:pt idx="814">
                  <c:v>1.6746072201043471</c:v>
                </c:pt>
                <c:pt idx="815">
                  <c:v>1.6746072201043471</c:v>
                </c:pt>
                <c:pt idx="816">
                  <c:v>1.6746072201043471</c:v>
                </c:pt>
                <c:pt idx="817">
                  <c:v>1.6785620801835821</c:v>
                </c:pt>
                <c:pt idx="818">
                  <c:v>1.682981407532635</c:v>
                </c:pt>
                <c:pt idx="819">
                  <c:v>1.6612350893213854</c:v>
                </c:pt>
                <c:pt idx="820">
                  <c:v>1.6538419905965054</c:v>
                </c:pt>
                <c:pt idx="821">
                  <c:v>1.643119881757654</c:v>
                </c:pt>
                <c:pt idx="822">
                  <c:v>1.643119881757654</c:v>
                </c:pt>
                <c:pt idx="823">
                  <c:v>1.643119881757654</c:v>
                </c:pt>
                <c:pt idx="824">
                  <c:v>1.635669708664873</c:v>
                </c:pt>
                <c:pt idx="825">
                  <c:v>1.6338403767695513</c:v>
                </c:pt>
                <c:pt idx="826">
                  <c:v>1.6230946509508783</c:v>
                </c:pt>
                <c:pt idx="827">
                  <c:v>1.6648848967445959</c:v>
                </c:pt>
                <c:pt idx="828">
                  <c:v>1.657308766426101</c:v>
                </c:pt>
                <c:pt idx="829">
                  <c:v>1.657308766426101</c:v>
                </c:pt>
                <c:pt idx="830">
                  <c:v>1.657308766426101</c:v>
                </c:pt>
                <c:pt idx="831">
                  <c:v>1.6896276192706678</c:v>
                </c:pt>
                <c:pt idx="832">
                  <c:v>1.6975255309392276</c:v>
                </c:pt>
                <c:pt idx="833">
                  <c:v>1.6589727794626739</c:v>
                </c:pt>
                <c:pt idx="834">
                  <c:v>1.6778978526261092</c:v>
                </c:pt>
                <c:pt idx="835">
                  <c:v>1.6551035309352913</c:v>
                </c:pt>
                <c:pt idx="836">
                  <c:v>1.6551035309352913</c:v>
                </c:pt>
                <c:pt idx="837">
                  <c:v>1.6551035309352913</c:v>
                </c:pt>
                <c:pt idx="838">
                  <c:v>1.6439100665408404</c:v>
                </c:pt>
                <c:pt idx="839">
                  <c:v>1.6688781344160404</c:v>
                </c:pt>
                <c:pt idx="840">
                  <c:v>1.6984977632752023</c:v>
                </c:pt>
                <c:pt idx="841">
                  <c:v>1.705596633793143</c:v>
                </c:pt>
                <c:pt idx="842">
                  <c:v>1.7058623248161318</c:v>
                </c:pt>
                <c:pt idx="843">
                  <c:v>1.7058623248161318</c:v>
                </c:pt>
                <c:pt idx="844">
                  <c:v>1.7058623248161318</c:v>
                </c:pt>
                <c:pt idx="845">
                  <c:v>1.6784380910395209</c:v>
                </c:pt>
                <c:pt idx="846">
                  <c:v>1.6978610888608545</c:v>
                </c:pt>
                <c:pt idx="847">
                  <c:v>1.6906431494029821</c:v>
                </c:pt>
                <c:pt idx="848">
                  <c:v>1.6906431494029821</c:v>
                </c:pt>
                <c:pt idx="849">
                  <c:v>1.6906431494029821</c:v>
                </c:pt>
                <c:pt idx="850">
                  <c:v>1.6906431494029821</c:v>
                </c:pt>
                <c:pt idx="851">
                  <c:v>1.6906431494029821</c:v>
                </c:pt>
                <c:pt idx="852">
                  <c:v>1.7048556510512507</c:v>
                </c:pt>
                <c:pt idx="853">
                  <c:v>1.7265134055881708</c:v>
                </c:pt>
                <c:pt idx="854">
                  <c:v>1.7435825777539855</c:v>
                </c:pt>
                <c:pt idx="855">
                  <c:v>1.7321165340507647</c:v>
                </c:pt>
                <c:pt idx="856">
                  <c:v>1.7079110978156258</c:v>
                </c:pt>
                <c:pt idx="857">
                  <c:v>1.7079110978156258</c:v>
                </c:pt>
                <c:pt idx="858">
                  <c:v>1.7079110978156258</c:v>
                </c:pt>
                <c:pt idx="859">
                  <c:v>1.713640183503933</c:v>
                </c:pt>
                <c:pt idx="860">
                  <c:v>1.7187198022471555</c:v>
                </c:pt>
                <c:pt idx="861">
                  <c:v>1.6842990381984968</c:v>
                </c:pt>
                <c:pt idx="862">
                  <c:v>1.6846906864471993</c:v>
                </c:pt>
                <c:pt idx="863">
                  <c:v>1.6695669629941603</c:v>
                </c:pt>
                <c:pt idx="864">
                  <c:v>1.6695669629941603</c:v>
                </c:pt>
                <c:pt idx="865">
                  <c:v>1.6695669629941603</c:v>
                </c:pt>
                <c:pt idx="866">
                  <c:v>1.6351058532716405</c:v>
                </c:pt>
                <c:pt idx="867">
                  <c:v>1.6260959754698303</c:v>
                </c:pt>
                <c:pt idx="868">
                  <c:v>1.606934732508182</c:v>
                </c:pt>
                <c:pt idx="869">
                  <c:v>1.6001832284017796</c:v>
                </c:pt>
                <c:pt idx="870">
                  <c:v>1.6240186652863853</c:v>
                </c:pt>
                <c:pt idx="871">
                  <c:v>1.6240186652863853</c:v>
                </c:pt>
                <c:pt idx="872">
                  <c:v>1.6240186652863853</c:v>
                </c:pt>
                <c:pt idx="873">
                  <c:v>1.6203570493732642</c:v>
                </c:pt>
                <c:pt idx="874">
                  <c:v>1.6198315715722413</c:v>
                </c:pt>
                <c:pt idx="875">
                  <c:v>1.6121727818243721</c:v>
                </c:pt>
                <c:pt idx="876">
                  <c:v>1.5956969862765664</c:v>
                </c:pt>
                <c:pt idx="877">
                  <c:v>1.6296650915453179</c:v>
                </c:pt>
                <c:pt idx="878">
                  <c:v>1.6296650915453179</c:v>
                </c:pt>
                <c:pt idx="879">
                  <c:v>1.6296650915453179</c:v>
                </c:pt>
                <c:pt idx="880">
                  <c:v>1.6377922847263084</c:v>
                </c:pt>
                <c:pt idx="881">
                  <c:v>1.6317315772796781</c:v>
                </c:pt>
                <c:pt idx="882">
                  <c:v>1.631792587810883</c:v>
                </c:pt>
                <c:pt idx="883">
                  <c:v>1.6238592506725917</c:v>
                </c:pt>
                <c:pt idx="884">
                  <c:v>1.5927674967379044</c:v>
                </c:pt>
                <c:pt idx="885">
                  <c:v>1.5927674967379044</c:v>
                </c:pt>
                <c:pt idx="886">
                  <c:v>1.5927674967379044</c:v>
                </c:pt>
                <c:pt idx="887">
                  <c:v>1.5675967164525721</c:v>
                </c:pt>
                <c:pt idx="888">
                  <c:v>1.5758715157574454</c:v>
                </c:pt>
                <c:pt idx="889">
                  <c:v>1.5823553607592069</c:v>
                </c:pt>
                <c:pt idx="890">
                  <c:v>1.5688533365872279</c:v>
                </c:pt>
                <c:pt idx="891">
                  <c:v>1.5646760832813431</c:v>
                </c:pt>
                <c:pt idx="892">
                  <c:v>1.5646760832813431</c:v>
                </c:pt>
                <c:pt idx="893">
                  <c:v>1.5646760832813431</c:v>
                </c:pt>
                <c:pt idx="894">
                  <c:v>1.566839989057466</c:v>
                </c:pt>
                <c:pt idx="895">
                  <c:v>1.5188384775707573</c:v>
                </c:pt>
                <c:pt idx="896">
                  <c:v>1.5165741996303941</c:v>
                </c:pt>
                <c:pt idx="897">
                  <c:v>1.5180630533999593</c:v>
                </c:pt>
                <c:pt idx="898">
                  <c:v>1.5163990403633862</c:v>
                </c:pt>
                <c:pt idx="899">
                  <c:v>1.5163990403633862</c:v>
                </c:pt>
                <c:pt idx="900">
                  <c:v>1.5163990403633862</c:v>
                </c:pt>
                <c:pt idx="901">
                  <c:v>1.524854903180223</c:v>
                </c:pt>
                <c:pt idx="902">
                  <c:v>1.518004010950406</c:v>
                </c:pt>
                <c:pt idx="903">
                  <c:v>1.5165781357936976</c:v>
                </c:pt>
                <c:pt idx="904">
                  <c:v>1.4762354140548581</c:v>
                </c:pt>
                <c:pt idx="905">
                  <c:v>1.4829347639974884</c:v>
                </c:pt>
                <c:pt idx="906">
                  <c:v>1.4829347639974884</c:v>
                </c:pt>
                <c:pt idx="907">
                  <c:v>1.4829347639974884</c:v>
                </c:pt>
                <c:pt idx="908">
                  <c:v>1.482940668242444</c:v>
                </c:pt>
                <c:pt idx="909">
                  <c:v>1.4717855814402026</c:v>
                </c:pt>
                <c:pt idx="910">
                  <c:v>1.4528477157460307</c:v>
                </c:pt>
                <c:pt idx="911">
                  <c:v>1.4425428402173548</c:v>
                </c:pt>
                <c:pt idx="912">
                  <c:v>1.4316288434174553</c:v>
                </c:pt>
                <c:pt idx="913">
                  <c:v>1.4316288434174553</c:v>
                </c:pt>
                <c:pt idx="914">
                  <c:v>1.4316288434174553</c:v>
                </c:pt>
                <c:pt idx="915">
                  <c:v>1.4191128281530143</c:v>
                </c:pt>
                <c:pt idx="916">
                  <c:v>1.4245083240013461</c:v>
                </c:pt>
                <c:pt idx="917">
                  <c:v>1.416437221147431</c:v>
                </c:pt>
                <c:pt idx="918">
                  <c:v>1.4158162913862968</c:v>
                </c:pt>
                <c:pt idx="919">
                  <c:v>1.435967479418786</c:v>
                </c:pt>
                <c:pt idx="920">
                  <c:v>1.435967479418786</c:v>
                </c:pt>
                <c:pt idx="921">
                  <c:v>1.435967479418786</c:v>
                </c:pt>
                <c:pt idx="922">
                  <c:v>1.4364870529748535</c:v>
                </c:pt>
                <c:pt idx="923">
                  <c:v>1.4353711506782991</c:v>
                </c:pt>
                <c:pt idx="924">
                  <c:v>1.4524422909257657</c:v>
                </c:pt>
                <c:pt idx="925">
                  <c:v>1.4479845859845031</c:v>
                </c:pt>
                <c:pt idx="926">
                  <c:v>1.4700084037086529</c:v>
                </c:pt>
                <c:pt idx="927">
                  <c:v>1.4700084037086529</c:v>
                </c:pt>
                <c:pt idx="928">
                  <c:v>1.4700084037086529</c:v>
                </c:pt>
                <c:pt idx="929">
                  <c:v>1.475357649638168</c:v>
                </c:pt>
                <c:pt idx="930">
                  <c:v>1.4900572514952497</c:v>
                </c:pt>
                <c:pt idx="931">
                  <c:v>1.480276869726771</c:v>
                </c:pt>
                <c:pt idx="932">
                  <c:v>1.4529195507263202</c:v>
                </c:pt>
                <c:pt idx="933">
                  <c:v>1.456231832146252</c:v>
                </c:pt>
                <c:pt idx="934">
                  <c:v>1.456231832146252</c:v>
                </c:pt>
                <c:pt idx="935">
                  <c:v>1.456231832146252</c:v>
                </c:pt>
                <c:pt idx="936">
                  <c:v>1.4385348419335218</c:v>
                </c:pt>
                <c:pt idx="937">
                  <c:v>1.5011749447461074</c:v>
                </c:pt>
                <c:pt idx="938">
                  <c:v>1.4788559147741918</c:v>
                </c:pt>
                <c:pt idx="939">
                  <c:v>1.5216725151493082</c:v>
                </c:pt>
                <c:pt idx="940">
                  <c:v>1.4938074310827008</c:v>
                </c:pt>
                <c:pt idx="941">
                  <c:v>1.4938074310827008</c:v>
                </c:pt>
                <c:pt idx="942">
                  <c:v>1.4938074310827008</c:v>
                </c:pt>
                <c:pt idx="943">
                  <c:v>1.4934020062624356</c:v>
                </c:pt>
                <c:pt idx="944">
                  <c:v>1.4986056141497195</c:v>
                </c:pt>
                <c:pt idx="945">
                  <c:v>1.5061906008356474</c:v>
                </c:pt>
                <c:pt idx="946">
                  <c:v>1.4921355457195207</c:v>
                </c:pt>
                <c:pt idx="947">
                  <c:v>1.4645056474102995</c:v>
                </c:pt>
                <c:pt idx="948">
                  <c:v>1.4645056474102995</c:v>
                </c:pt>
                <c:pt idx="949">
                  <c:v>1.4645056474102995</c:v>
                </c:pt>
                <c:pt idx="950">
                  <c:v>1.4577334784465534</c:v>
                </c:pt>
                <c:pt idx="951">
                  <c:v>1.4811044480613409</c:v>
                </c:pt>
                <c:pt idx="952">
                  <c:v>1.4623535501240874</c:v>
                </c:pt>
                <c:pt idx="953">
                  <c:v>1.4623535501240874</c:v>
                </c:pt>
                <c:pt idx="954">
                  <c:v>1.4502528000881698</c:v>
                </c:pt>
                <c:pt idx="955">
                  <c:v>1.4502528000881698</c:v>
                </c:pt>
                <c:pt idx="956">
                  <c:v>1.4502528000881698</c:v>
                </c:pt>
                <c:pt idx="957">
                  <c:v>1.5120800851785738</c:v>
                </c:pt>
                <c:pt idx="958">
                  <c:v>1.567199163958914</c:v>
                </c:pt>
                <c:pt idx="959">
                  <c:v>1.5878039948121367</c:v>
                </c:pt>
                <c:pt idx="960">
                  <c:v>1.5899432995676124</c:v>
                </c:pt>
                <c:pt idx="961">
                  <c:v>1.5298735113922404</c:v>
                </c:pt>
                <c:pt idx="962">
                  <c:v>1.5298735113922404</c:v>
                </c:pt>
                <c:pt idx="963">
                  <c:v>1.5298735113922404</c:v>
                </c:pt>
                <c:pt idx="964">
                  <c:v>1.5361940056169048</c:v>
                </c:pt>
                <c:pt idx="965">
                  <c:v>1.579149355748471</c:v>
                </c:pt>
                <c:pt idx="966">
                  <c:v>1.579149355748471</c:v>
                </c:pt>
                <c:pt idx="967">
                  <c:v>1.6258302844468409</c:v>
                </c:pt>
                <c:pt idx="968">
                  <c:v>1.618438169762787</c:v>
                </c:pt>
                <c:pt idx="969">
                  <c:v>1.618438169762787</c:v>
                </c:pt>
                <c:pt idx="970">
                  <c:v>1.618438169762787</c:v>
                </c:pt>
                <c:pt idx="971">
                  <c:v>1.6051270495110299</c:v>
                </c:pt>
                <c:pt idx="972">
                  <c:v>1.6030536754908886</c:v>
                </c:pt>
                <c:pt idx="973">
                  <c:v>1.6037917061103029</c:v>
                </c:pt>
                <c:pt idx="974">
                  <c:v>1.6093869622462893</c:v>
                </c:pt>
                <c:pt idx="975">
                  <c:v>1.6056909049042625</c:v>
                </c:pt>
                <c:pt idx="976">
                  <c:v>1.6056909049042625</c:v>
                </c:pt>
                <c:pt idx="977">
                  <c:v>1.6056909049042625</c:v>
                </c:pt>
                <c:pt idx="978">
                  <c:v>1.5968404417162458</c:v>
                </c:pt>
                <c:pt idx="979">
                  <c:v>1.5842368468183006</c:v>
                </c:pt>
                <c:pt idx="980">
                  <c:v>1.5902670489993287</c:v>
                </c:pt>
                <c:pt idx="981">
                  <c:v>1.5699239730057919</c:v>
                </c:pt>
                <c:pt idx="982">
                  <c:v>1.5494756046438851</c:v>
                </c:pt>
                <c:pt idx="983">
                  <c:v>1.5494756046438851</c:v>
                </c:pt>
                <c:pt idx="984">
                  <c:v>1.5494756046438851</c:v>
                </c:pt>
                <c:pt idx="985">
                  <c:v>1.5364744572522824</c:v>
                </c:pt>
                <c:pt idx="986">
                  <c:v>1.5332379469759438</c:v>
                </c:pt>
                <c:pt idx="987">
                  <c:v>1.5332379469759438</c:v>
                </c:pt>
                <c:pt idx="988">
                  <c:v>1.551812701605364</c:v>
                </c:pt>
                <c:pt idx="989">
                  <c:v>1.5449057190484716</c:v>
                </c:pt>
                <c:pt idx="990">
                  <c:v>1.5449057190484716</c:v>
                </c:pt>
                <c:pt idx="991">
                  <c:v>1.5449057190484716</c:v>
                </c:pt>
                <c:pt idx="992">
                  <c:v>1.530487552867593</c:v>
                </c:pt>
                <c:pt idx="993">
                  <c:v>1.5271004843448943</c:v>
                </c:pt>
                <c:pt idx="994">
                  <c:v>1.500712445557941</c:v>
                </c:pt>
                <c:pt idx="995">
                  <c:v>1.505658234748843</c:v>
                </c:pt>
                <c:pt idx="996">
                  <c:v>1.4791983609816</c:v>
                </c:pt>
                <c:pt idx="997">
                  <c:v>1.4791983609816</c:v>
                </c:pt>
                <c:pt idx="998">
                  <c:v>1.4791983609816</c:v>
                </c:pt>
                <c:pt idx="999">
                  <c:v>1.4782979636259146</c:v>
                </c:pt>
                <c:pt idx="1000">
                  <c:v>1.5027503941083504</c:v>
                </c:pt>
                <c:pt idx="1001">
                  <c:v>1.481613197168324</c:v>
                </c:pt>
                <c:pt idx="1002">
                  <c:v>1.4752789263720971</c:v>
                </c:pt>
                <c:pt idx="1003">
                  <c:v>1.4903672243554038</c:v>
                </c:pt>
                <c:pt idx="1004">
                  <c:v>1.4903672243554038</c:v>
                </c:pt>
                <c:pt idx="1005">
                  <c:v>1.4903672243554038</c:v>
                </c:pt>
                <c:pt idx="1006">
                  <c:v>1.5002804516353774</c:v>
                </c:pt>
                <c:pt idx="1007">
                  <c:v>1.4884316160508866</c:v>
                </c:pt>
                <c:pt idx="1008">
                  <c:v>1.482455536115282</c:v>
                </c:pt>
                <c:pt idx="1009">
                  <c:v>1.4694425802337685</c:v>
                </c:pt>
                <c:pt idx="1010">
                  <c:v>1.457315261095552</c:v>
                </c:pt>
                <c:pt idx="1011">
                  <c:v>1.457315261095552</c:v>
                </c:pt>
                <c:pt idx="1012">
                  <c:v>1.457315261095552</c:v>
                </c:pt>
                <c:pt idx="1013">
                  <c:v>1.4694238834580766</c:v>
                </c:pt>
                <c:pt idx="1014">
                  <c:v>1.4498867369009403</c:v>
                </c:pt>
                <c:pt idx="1015">
                  <c:v>1.4434668545528615</c:v>
                </c:pt>
                <c:pt idx="1016">
                  <c:v>1.4797297430275789</c:v>
                </c:pt>
                <c:pt idx="1017">
                  <c:v>1.4642655414487833</c:v>
                </c:pt>
                <c:pt idx="1018">
                  <c:v>1.4642655414487833</c:v>
                </c:pt>
                <c:pt idx="1019">
                  <c:v>1.4642655414487833</c:v>
                </c:pt>
                <c:pt idx="1020">
                  <c:v>1.5137185131536735</c:v>
                </c:pt>
                <c:pt idx="1021">
                  <c:v>1.515205398841587</c:v>
                </c:pt>
                <c:pt idx="1022">
                  <c:v>1.515205398841587</c:v>
                </c:pt>
                <c:pt idx="1023">
                  <c:v>1.5046456567390063</c:v>
                </c:pt>
                <c:pt idx="1024">
                  <c:v>1.5008285623753956</c:v>
                </c:pt>
                <c:pt idx="1025">
                  <c:v>1.5008285623753956</c:v>
                </c:pt>
                <c:pt idx="1026">
                  <c:v>1.5008285623753956</c:v>
                </c:pt>
                <c:pt idx="1027">
                  <c:v>1.4630581233554216</c:v>
                </c:pt>
                <c:pt idx="1028">
                  <c:v>1.466525883225843</c:v>
                </c:pt>
                <c:pt idx="1029">
                  <c:v>1.4740518274622176</c:v>
                </c:pt>
                <c:pt idx="1030">
                  <c:v>1.4773513163514127</c:v>
                </c:pt>
                <c:pt idx="1031">
                  <c:v>1.4601620912048399</c:v>
                </c:pt>
                <c:pt idx="1032">
                  <c:v>1.4601620912048399</c:v>
                </c:pt>
                <c:pt idx="1033">
                  <c:v>1.4601620912048399</c:v>
                </c:pt>
                <c:pt idx="1034">
                  <c:v>1.4630433627430333</c:v>
                </c:pt>
                <c:pt idx="1035">
                  <c:v>1.4558697051223259</c:v>
                </c:pt>
                <c:pt idx="1036">
                  <c:v>1.4589615613972591</c:v>
                </c:pt>
                <c:pt idx="1037">
                  <c:v>1.4624775392681488</c:v>
                </c:pt>
                <c:pt idx="1038">
                  <c:v>1.4882456323347941</c:v>
                </c:pt>
                <c:pt idx="1039">
                  <c:v>1.4882456323347941</c:v>
                </c:pt>
                <c:pt idx="1040">
                  <c:v>1.4882456323347941</c:v>
                </c:pt>
                <c:pt idx="1041">
                  <c:v>1.490941904197721</c:v>
                </c:pt>
                <c:pt idx="1042">
                  <c:v>1.4946379615397485</c:v>
                </c:pt>
                <c:pt idx="1043">
                  <c:v>1.4855562487576481</c:v>
                </c:pt>
                <c:pt idx="1044">
                  <c:v>1.4899421187186213</c:v>
                </c:pt>
                <c:pt idx="1045">
                  <c:v>1.4776790019464325</c:v>
                </c:pt>
                <c:pt idx="1046">
                  <c:v>1.4776790019464325</c:v>
                </c:pt>
                <c:pt idx="1047">
                  <c:v>1.4776790019464325</c:v>
                </c:pt>
                <c:pt idx="1048">
                  <c:v>1.4801233593579328</c:v>
                </c:pt>
                <c:pt idx="1049">
                  <c:v>1.4511689420970697</c:v>
                </c:pt>
                <c:pt idx="1050">
                  <c:v>1.4650980399874829</c:v>
                </c:pt>
                <c:pt idx="1051">
                  <c:v>1.4609542440696777</c:v>
                </c:pt>
                <c:pt idx="1052">
                  <c:v>1.4715484276011643</c:v>
                </c:pt>
                <c:pt idx="1053">
                  <c:v>1.4715484276011643</c:v>
                </c:pt>
                <c:pt idx="1054">
                  <c:v>1.4715484276011643</c:v>
                </c:pt>
                <c:pt idx="1055">
                  <c:v>1.4723287719760916</c:v>
                </c:pt>
                <c:pt idx="1056">
                  <c:v>1.4517780633682928</c:v>
                </c:pt>
                <c:pt idx="1057">
                  <c:v>1.4386883523023599</c:v>
                </c:pt>
                <c:pt idx="1058">
                  <c:v>1.4564620976995093</c:v>
                </c:pt>
                <c:pt idx="1059">
                  <c:v>1.4690469958217622</c:v>
                </c:pt>
                <c:pt idx="1060">
                  <c:v>1.4690469958217622</c:v>
                </c:pt>
                <c:pt idx="1061">
                  <c:v>1.4690469958217622</c:v>
                </c:pt>
                <c:pt idx="1062">
                  <c:v>1.4436981041469448</c:v>
                </c:pt>
                <c:pt idx="1063">
                  <c:v>1.4521146053307457</c:v>
                </c:pt>
                <c:pt idx="1064">
                  <c:v>1.4471619278540626</c:v>
                </c:pt>
                <c:pt idx="1065">
                  <c:v>1.4530366515846009</c:v>
                </c:pt>
                <c:pt idx="1066">
                  <c:v>1.4621478855914773</c:v>
                </c:pt>
                <c:pt idx="1067">
                  <c:v>1.4621478855914773</c:v>
                </c:pt>
                <c:pt idx="1068">
                  <c:v>1.4621478855914773</c:v>
                </c:pt>
                <c:pt idx="1069">
                  <c:v>1.4538858788173399</c:v>
                </c:pt>
                <c:pt idx="1070">
                  <c:v>1.4529953218699136</c:v>
                </c:pt>
                <c:pt idx="1071">
                  <c:v>1.458515790903133</c:v>
                </c:pt>
                <c:pt idx="1072">
                  <c:v>1.4571391177877187</c:v>
                </c:pt>
                <c:pt idx="1073">
                  <c:v>1.432936633675058</c:v>
                </c:pt>
                <c:pt idx="1074">
                  <c:v>1.432936633675058</c:v>
                </c:pt>
                <c:pt idx="1075">
                  <c:v>1.432936633675058</c:v>
                </c:pt>
                <c:pt idx="1076">
                  <c:v>1.4305286857741155</c:v>
                </c:pt>
                <c:pt idx="1077">
                  <c:v>1.4109403690940328</c:v>
                </c:pt>
                <c:pt idx="1078">
                  <c:v>1.4026016071354765</c:v>
                </c:pt>
                <c:pt idx="1079">
                  <c:v>1.3952832955133641</c:v>
                </c:pt>
                <c:pt idx="1080">
                  <c:v>1.3694866652627684</c:v>
                </c:pt>
                <c:pt idx="1081">
                  <c:v>1.3694866652627684</c:v>
                </c:pt>
                <c:pt idx="1082">
                  <c:v>1.3694866652627684</c:v>
                </c:pt>
                <c:pt idx="1083">
                  <c:v>1.340083525385301</c:v>
                </c:pt>
                <c:pt idx="1084">
                  <c:v>1.3387225969231011</c:v>
                </c:pt>
                <c:pt idx="1085">
                  <c:v>1.3359997559578749</c:v>
                </c:pt>
                <c:pt idx="1086">
                  <c:v>1.3507928416934161</c:v>
                </c:pt>
                <c:pt idx="1087">
                  <c:v>1.3340602114900539</c:v>
                </c:pt>
                <c:pt idx="1088">
                  <c:v>1.3340602114900539</c:v>
                </c:pt>
                <c:pt idx="1089">
                  <c:v>1.3340602114900539</c:v>
                </c:pt>
                <c:pt idx="1090">
                  <c:v>1.3231491668126325</c:v>
                </c:pt>
                <c:pt idx="1091">
                  <c:v>1.3058083993788734</c:v>
                </c:pt>
                <c:pt idx="1092">
                  <c:v>1.281875542452505</c:v>
                </c:pt>
                <c:pt idx="1093">
                  <c:v>1.2730270473461403</c:v>
                </c:pt>
                <c:pt idx="1094">
                  <c:v>1.2870171557677583</c:v>
                </c:pt>
                <c:pt idx="1095">
                  <c:v>1.2870171557677583</c:v>
                </c:pt>
                <c:pt idx="1096">
                  <c:v>1.2870171557677583</c:v>
                </c:pt>
                <c:pt idx="1097">
                  <c:v>1.3141943952970718</c:v>
                </c:pt>
                <c:pt idx="1098">
                  <c:v>1.2844852187227542</c:v>
                </c:pt>
                <c:pt idx="1099">
                  <c:v>1.2994268946230039</c:v>
                </c:pt>
                <c:pt idx="1100">
                  <c:v>1.2874648943435363</c:v>
                </c:pt>
                <c:pt idx="1101">
                  <c:v>1.2685398211801009</c:v>
                </c:pt>
                <c:pt idx="1102">
                  <c:v>1.2685398211801009</c:v>
                </c:pt>
                <c:pt idx="1103">
                  <c:v>1.2685398211801009</c:v>
                </c:pt>
                <c:pt idx="1104">
                  <c:v>1.2666268458145789</c:v>
                </c:pt>
                <c:pt idx="1105">
                  <c:v>1.2550171321507784</c:v>
                </c:pt>
                <c:pt idx="1106">
                  <c:v>1.2433188548126484</c:v>
                </c:pt>
                <c:pt idx="1107">
                  <c:v>1.2647276470206195</c:v>
                </c:pt>
                <c:pt idx="1108">
                  <c:v>1.2630813467189126</c:v>
                </c:pt>
                <c:pt idx="1109">
                  <c:v>1.2630813467189126</c:v>
                </c:pt>
                <c:pt idx="1110">
                  <c:v>1.2630813467189126</c:v>
                </c:pt>
                <c:pt idx="1111">
                  <c:v>1.2933238734208603</c:v>
                </c:pt>
                <c:pt idx="1112">
                  <c:v>1.3025561444493206</c:v>
                </c:pt>
                <c:pt idx="1113">
                  <c:v>1.2860390191868278</c:v>
                </c:pt>
                <c:pt idx="1114">
                  <c:v>1.2901946235945436</c:v>
                </c:pt>
                <c:pt idx="1115">
                  <c:v>1.2938739522425302</c:v>
                </c:pt>
                <c:pt idx="1116">
                  <c:v>1.2938739522425302</c:v>
                </c:pt>
                <c:pt idx="1117">
                  <c:v>1.2938739522425302</c:v>
                </c:pt>
                <c:pt idx="1118">
                  <c:v>1.2893867260764913</c:v>
                </c:pt>
                <c:pt idx="1119">
                  <c:v>1.2751407670401427</c:v>
                </c:pt>
                <c:pt idx="1120">
                  <c:v>1.2669279623073</c:v>
                </c:pt>
                <c:pt idx="1121">
                  <c:v>1.2733409563695977</c:v>
                </c:pt>
                <c:pt idx="1122">
                  <c:v>1.2732189353071879</c:v>
                </c:pt>
                <c:pt idx="1123">
                  <c:v>1.2732189353071879</c:v>
                </c:pt>
                <c:pt idx="1124">
                  <c:v>1.2732189353071879</c:v>
                </c:pt>
                <c:pt idx="1125">
                  <c:v>1.2788830743009862</c:v>
                </c:pt>
                <c:pt idx="1126">
                  <c:v>1.2788830743009862</c:v>
                </c:pt>
                <c:pt idx="1127">
                  <c:v>1.2787708936468356</c:v>
                </c:pt>
                <c:pt idx="1128">
                  <c:v>1.2815409685717041</c:v>
                </c:pt>
                <c:pt idx="1129">
                  <c:v>1.2923250719825861</c:v>
                </c:pt>
                <c:pt idx="1130">
                  <c:v>1.2923250719825861</c:v>
                </c:pt>
                <c:pt idx="1131">
                  <c:v>1.2923250719825861</c:v>
                </c:pt>
                <c:pt idx="1132">
                  <c:v>1.2912298345433755</c:v>
                </c:pt>
                <c:pt idx="1133">
                  <c:v>1.2989092891485878</c:v>
                </c:pt>
                <c:pt idx="1134">
                  <c:v>1.3008015996567663</c:v>
                </c:pt>
                <c:pt idx="1135">
                  <c:v>1.3157226106996724</c:v>
                </c:pt>
                <c:pt idx="1136">
                  <c:v>1.3126494512004312</c:v>
                </c:pt>
                <c:pt idx="1137">
                  <c:v>1.3126494512004312</c:v>
                </c:pt>
                <c:pt idx="1138">
                  <c:v>1.3126494512004312</c:v>
                </c:pt>
                <c:pt idx="1139">
                  <c:v>1.3338378182634039</c:v>
                </c:pt>
                <c:pt idx="1140">
                  <c:v>1.316968406385244</c:v>
                </c:pt>
                <c:pt idx="1141">
                  <c:v>1.3126356746288688</c:v>
                </c:pt>
                <c:pt idx="1142">
                  <c:v>1.2798877799842159</c:v>
                </c:pt>
                <c:pt idx="1143">
                  <c:v>1.2891653168906672</c:v>
                </c:pt>
                <c:pt idx="1144">
                  <c:v>1.2891653168906672</c:v>
                </c:pt>
                <c:pt idx="1145">
                  <c:v>1.2891653168906672</c:v>
                </c:pt>
                <c:pt idx="1146">
                  <c:v>1.2894083749746608</c:v>
                </c:pt>
                <c:pt idx="1147">
                  <c:v>1.2997939418510591</c:v>
                </c:pt>
                <c:pt idx="1148">
                  <c:v>1.2917425198136618</c:v>
                </c:pt>
                <c:pt idx="1149">
                  <c:v>1.3038619666252711</c:v>
                </c:pt>
                <c:pt idx="1150">
                  <c:v>1.3100250143177938</c:v>
                </c:pt>
                <c:pt idx="1151">
                  <c:v>1.3100250143177938</c:v>
                </c:pt>
                <c:pt idx="1152">
                  <c:v>1.3100250143177938</c:v>
                </c:pt>
                <c:pt idx="1153">
                  <c:v>1.3186550523608123</c:v>
                </c:pt>
                <c:pt idx="1154">
                  <c:v>1.328253386576502</c:v>
                </c:pt>
                <c:pt idx="1155">
                  <c:v>1.3013969443564273</c:v>
                </c:pt>
                <c:pt idx="1156">
                  <c:v>1.2754487718186451</c:v>
                </c:pt>
                <c:pt idx="1157">
                  <c:v>1.2899387729798133</c:v>
                </c:pt>
                <c:pt idx="1158">
                  <c:v>1.2899387729798133</c:v>
                </c:pt>
                <c:pt idx="1159">
                  <c:v>1.2899387729798133</c:v>
                </c:pt>
                <c:pt idx="1160">
                  <c:v>1.306336829302374</c:v>
                </c:pt>
                <c:pt idx="1161">
                  <c:v>1.306336829302374</c:v>
                </c:pt>
                <c:pt idx="1162">
                  <c:v>1.3099098815411654</c:v>
                </c:pt>
                <c:pt idx="1163">
                  <c:v>1.2993599798468438</c:v>
                </c:pt>
                <c:pt idx="1164">
                  <c:v>1.3157117862505878</c:v>
                </c:pt>
                <c:pt idx="1165">
                  <c:v>1.3157117862505878</c:v>
                </c:pt>
                <c:pt idx="1166">
                  <c:v>1.3157117862505878</c:v>
                </c:pt>
                <c:pt idx="1167">
                  <c:v>1.2972275633771491</c:v>
                </c:pt>
                <c:pt idx="1168">
                  <c:v>1.3240672769031838</c:v>
                </c:pt>
                <c:pt idx="1169">
                  <c:v>1.2965170859008597</c:v>
                </c:pt>
                <c:pt idx="1170">
                  <c:v>1.2572804260503156</c:v>
                </c:pt>
                <c:pt idx="1171">
                  <c:v>1.2568395757603188</c:v>
                </c:pt>
                <c:pt idx="1172">
                  <c:v>1.2568395757603188</c:v>
                </c:pt>
                <c:pt idx="1173">
                  <c:v>1.2568395757603188</c:v>
                </c:pt>
                <c:pt idx="1174">
                  <c:v>1.2230535180443565</c:v>
                </c:pt>
                <c:pt idx="1175">
                  <c:v>1.215174303151489</c:v>
                </c:pt>
                <c:pt idx="1176">
                  <c:v>1.2377875613303444</c:v>
                </c:pt>
                <c:pt idx="1177">
                  <c:v>1.2357230436776359</c:v>
                </c:pt>
                <c:pt idx="1178">
                  <c:v>1.2710845507558417</c:v>
                </c:pt>
                <c:pt idx="1179">
                  <c:v>1.2710845507558417</c:v>
                </c:pt>
                <c:pt idx="1180">
                  <c:v>1.2710845507558417</c:v>
                </c:pt>
                <c:pt idx="1181">
                  <c:v>1.2621041941788078</c:v>
                </c:pt>
                <c:pt idx="1182">
                  <c:v>1.2905114847404786</c:v>
                </c:pt>
                <c:pt idx="1183">
                  <c:v>1.2977668177497348</c:v>
                </c:pt>
                <c:pt idx="1184">
                  <c:v>1.2890127905626545</c:v>
                </c:pt>
                <c:pt idx="1185">
                  <c:v>1.2579574461385252</c:v>
                </c:pt>
                <c:pt idx="1186">
                  <c:v>1.2579574461385252</c:v>
                </c:pt>
                <c:pt idx="1187">
                  <c:v>1.2579574461385252</c:v>
                </c:pt>
                <c:pt idx="1188">
                  <c:v>1.2579574461385252</c:v>
                </c:pt>
                <c:pt idx="1189">
                  <c:v>1.2637131009291311</c:v>
                </c:pt>
                <c:pt idx="1190">
                  <c:v>1.2905105006996529</c:v>
                </c:pt>
                <c:pt idx="1191">
                  <c:v>1.2959955442631403</c:v>
                </c:pt>
                <c:pt idx="1192">
                  <c:v>1.2861295509428092</c:v>
                </c:pt>
                <c:pt idx="1193">
                  <c:v>1.2861295509428092</c:v>
                </c:pt>
                <c:pt idx="1194">
                  <c:v>1.2861295509428092</c:v>
                </c:pt>
                <c:pt idx="1195">
                  <c:v>1.292422492024349</c:v>
                </c:pt>
                <c:pt idx="1196">
                  <c:v>1.2212458350472044</c:v>
                </c:pt>
                <c:pt idx="1197">
                  <c:v>1.2098034083238043</c:v>
                </c:pt>
                <c:pt idx="1198">
                  <c:v>1.2516704093019411</c:v>
                </c:pt>
                <c:pt idx="1199">
                  <c:v>1.2664802237315222</c:v>
                </c:pt>
                <c:pt idx="1200">
                  <c:v>1.2664802237315222</c:v>
                </c:pt>
                <c:pt idx="1201">
                  <c:v>1.2664802237315222</c:v>
                </c:pt>
                <c:pt idx="1202">
                  <c:v>1.2725143620758537</c:v>
                </c:pt>
                <c:pt idx="1203">
                  <c:v>1.2504374061471062</c:v>
                </c:pt>
                <c:pt idx="1204">
                  <c:v>1.2550338608448184</c:v>
                </c:pt>
                <c:pt idx="1205">
                  <c:v>1.2523179081653739</c:v>
                </c:pt>
                <c:pt idx="1206">
                  <c:v>1.2527312053122457</c:v>
                </c:pt>
                <c:pt idx="1207">
                  <c:v>1.2527312053122457</c:v>
                </c:pt>
                <c:pt idx="1208">
                  <c:v>1.2527312053122457</c:v>
                </c:pt>
                <c:pt idx="1209">
                  <c:v>1.2176639264409801</c:v>
                </c:pt>
                <c:pt idx="1210">
                  <c:v>1.1887764239562768</c:v>
                </c:pt>
                <c:pt idx="1211">
                  <c:v>1.1777620549921373</c:v>
                </c:pt>
                <c:pt idx="1212">
                  <c:v>1.1557687425335901</c:v>
                </c:pt>
                <c:pt idx="1213">
                  <c:v>1.1355181663776865</c:v>
                </c:pt>
                <c:pt idx="1214">
                  <c:v>1.1355181663776865</c:v>
                </c:pt>
                <c:pt idx="1215">
                  <c:v>1.1355181663776865</c:v>
                </c:pt>
                <c:pt idx="1216">
                  <c:v>1.1399493022166503</c:v>
                </c:pt>
                <c:pt idx="1217">
                  <c:v>1.1411271990852354</c:v>
                </c:pt>
                <c:pt idx="1218">
                  <c:v>1.1510689635491596</c:v>
                </c:pt>
                <c:pt idx="1219">
                  <c:v>1.1629512565217306</c:v>
                </c:pt>
                <c:pt idx="1220">
                  <c:v>1.1443774859331364</c:v>
                </c:pt>
                <c:pt idx="1221">
                  <c:v>1.1443774859331364</c:v>
                </c:pt>
                <c:pt idx="1222">
                  <c:v>1.1443774859331364</c:v>
                </c:pt>
                <c:pt idx="1223">
                  <c:v>1.1405505511612661</c:v>
                </c:pt>
                <c:pt idx="1224">
                  <c:v>1.1312789184997707</c:v>
                </c:pt>
                <c:pt idx="1225">
                  <c:v>1.1168223747266826</c:v>
                </c:pt>
                <c:pt idx="1226">
                  <c:v>1.1053140172679483</c:v>
                </c:pt>
                <c:pt idx="1227">
                  <c:v>1.1009251951844976</c:v>
                </c:pt>
                <c:pt idx="1228">
                  <c:v>1.1009251951844976</c:v>
                </c:pt>
                <c:pt idx="1229">
                  <c:v>1.1009251951844976</c:v>
                </c:pt>
                <c:pt idx="1230">
                  <c:v>1.093891271361066</c:v>
                </c:pt>
                <c:pt idx="1231">
                  <c:v>1.1120842181500423</c:v>
                </c:pt>
                <c:pt idx="1232">
                  <c:v>1.1188740998486546</c:v>
                </c:pt>
                <c:pt idx="1233">
                  <c:v>1.1188740998486546</c:v>
                </c:pt>
                <c:pt idx="1234">
                  <c:v>1.1188740998486546</c:v>
                </c:pt>
                <c:pt idx="1235">
                  <c:v>1.1188740998486546</c:v>
                </c:pt>
                <c:pt idx="1236">
                  <c:v>1.1188740998486546</c:v>
                </c:pt>
                <c:pt idx="1237">
                  <c:v>1.1314934393998137</c:v>
                </c:pt>
                <c:pt idx="1238">
                  <c:v>1.1206739105191994</c:v>
                </c:pt>
                <c:pt idx="1239">
                  <c:v>1.1022083844214527</c:v>
                </c:pt>
                <c:pt idx="1240">
                  <c:v>1.1447199321405446</c:v>
                </c:pt>
                <c:pt idx="1241">
                  <c:v>1.1486413348316993</c:v>
                </c:pt>
                <c:pt idx="1242">
                  <c:v>1.1486413348316993</c:v>
                </c:pt>
                <c:pt idx="1243">
                  <c:v>1.1486413348316993</c:v>
                </c:pt>
                <c:pt idx="1244">
                  <c:v>1.1058532716405336</c:v>
                </c:pt>
                <c:pt idx="1245">
                  <c:v>1.0992572459846213</c:v>
                </c:pt>
                <c:pt idx="1246">
                  <c:v>1.0765318071516148</c:v>
                </c:pt>
                <c:pt idx="1247">
                  <c:v>1.0893804282152055</c:v>
                </c:pt>
                <c:pt idx="1248">
                  <c:v>1.0893735399294244</c:v>
                </c:pt>
                <c:pt idx="1249">
                  <c:v>1.0893735399294244</c:v>
                </c:pt>
                <c:pt idx="1250">
                  <c:v>1.0893735399294244</c:v>
                </c:pt>
                <c:pt idx="1251">
                  <c:v>1.0798391683674169</c:v>
                </c:pt>
                <c:pt idx="1252">
                  <c:v>1.0798814821229303</c:v>
                </c:pt>
                <c:pt idx="1253">
                  <c:v>1.0871151662340164</c:v>
                </c:pt>
                <c:pt idx="1254">
                  <c:v>1.0830294287249389</c:v>
                </c:pt>
                <c:pt idx="1255">
                  <c:v>1.0975902808255706</c:v>
                </c:pt>
                <c:pt idx="1256">
                  <c:v>1.0975902808255706</c:v>
                </c:pt>
                <c:pt idx="1257">
                  <c:v>1.0975902808255706</c:v>
                </c:pt>
                <c:pt idx="1258">
                  <c:v>1.1126431533391454</c:v>
                </c:pt>
                <c:pt idx="1259">
                  <c:v>1.1090956861618273</c:v>
                </c:pt>
                <c:pt idx="1260">
                  <c:v>1.1191368387491658</c:v>
                </c:pt>
                <c:pt idx="1261">
                  <c:v>1.1149989470763162</c:v>
                </c:pt>
                <c:pt idx="1262">
                  <c:v>1.1368692544316277</c:v>
                </c:pt>
                <c:pt idx="1263">
                  <c:v>1.1368692544316277</c:v>
                </c:pt>
                <c:pt idx="1264">
                  <c:v>1.1368692544316277</c:v>
                </c:pt>
                <c:pt idx="1265">
                  <c:v>1.1319706992003684</c:v>
                </c:pt>
                <c:pt idx="1266">
                  <c:v>1.1573500961407885</c:v>
                </c:pt>
                <c:pt idx="1267">
                  <c:v>1.1613059402608494</c:v>
                </c:pt>
                <c:pt idx="1268">
                  <c:v>1.1458387865595767</c:v>
                </c:pt>
                <c:pt idx="1269">
                  <c:v>1.1764119509790221</c:v>
                </c:pt>
                <c:pt idx="1270">
                  <c:v>1.1764119509790221</c:v>
                </c:pt>
                <c:pt idx="1271">
                  <c:v>1.1764119509790221</c:v>
                </c:pt>
                <c:pt idx="1272">
                  <c:v>1.1764119509790221</c:v>
                </c:pt>
                <c:pt idx="1273">
                  <c:v>1.1763529085294688</c:v>
                </c:pt>
                <c:pt idx="1274">
                  <c:v>1.1837076296621392</c:v>
                </c:pt>
                <c:pt idx="1275">
                  <c:v>1.1875591654546562</c:v>
                </c:pt>
                <c:pt idx="1276">
                  <c:v>1.1888462908549149</c:v>
                </c:pt>
                <c:pt idx="1277">
                  <c:v>1.1888462908549149</c:v>
                </c:pt>
                <c:pt idx="1278">
                  <c:v>1.1888462908549149</c:v>
                </c:pt>
                <c:pt idx="1279">
                  <c:v>1.1888462908549149</c:v>
                </c:pt>
                <c:pt idx="1280">
                  <c:v>1.1887872484053617</c:v>
                </c:pt>
                <c:pt idx="1281">
                  <c:v>1.1790914941479089</c:v>
                </c:pt>
                <c:pt idx="1282">
                  <c:v>1.1771312848227444</c:v>
                </c:pt>
                <c:pt idx="1283">
                  <c:v>1.1832943325152672</c:v>
                </c:pt>
                <c:pt idx="1284">
                  <c:v>1.1832943325152672</c:v>
                </c:pt>
                <c:pt idx="1285">
                  <c:v>1.1832943325152672</c:v>
                </c:pt>
                <c:pt idx="1286">
                  <c:v>1.2071602746654753</c:v>
                </c:pt>
                <c:pt idx="1287">
                  <c:v>1.203973950471257</c:v>
                </c:pt>
                <c:pt idx="1288">
                  <c:v>1.2009066952169709</c:v>
                </c:pt>
                <c:pt idx="1289">
                  <c:v>1.2018789275529462</c:v>
                </c:pt>
                <c:pt idx="1290">
                  <c:v>1.2142286399178126</c:v>
                </c:pt>
                <c:pt idx="1291">
                  <c:v>1.2142286399178126</c:v>
                </c:pt>
                <c:pt idx="1292">
                  <c:v>1.2142286399178126</c:v>
                </c:pt>
                <c:pt idx="1293">
                  <c:v>1.2197786301758087</c:v>
                </c:pt>
                <c:pt idx="1294">
                  <c:v>1.2348964493838919</c:v>
                </c:pt>
                <c:pt idx="1295">
                  <c:v>1.2040890832478857</c:v>
                </c:pt>
                <c:pt idx="1296">
                  <c:v>1.219233471558268</c:v>
                </c:pt>
                <c:pt idx="1297">
                  <c:v>1.2157834244227124</c:v>
                </c:pt>
                <c:pt idx="1298">
                  <c:v>1.2157834244227124</c:v>
                </c:pt>
                <c:pt idx="1299">
                  <c:v>1.2157834244227124</c:v>
                </c:pt>
                <c:pt idx="1300">
                  <c:v>1.226487820526698</c:v>
                </c:pt>
                <c:pt idx="1301">
                  <c:v>1.2012747264858523</c:v>
                </c:pt>
                <c:pt idx="1302">
                  <c:v>1.2101478226128644</c:v>
                </c:pt>
                <c:pt idx="1303">
                  <c:v>1.2105994973519461</c:v>
                </c:pt>
                <c:pt idx="1304">
                  <c:v>1.2201840549960734</c:v>
                </c:pt>
                <c:pt idx="1305">
                  <c:v>1.2201840549960734</c:v>
                </c:pt>
                <c:pt idx="1306">
                  <c:v>1.2201840549960734</c:v>
                </c:pt>
                <c:pt idx="1307">
                  <c:v>1.237478572511016</c:v>
                </c:pt>
                <c:pt idx="1308">
                  <c:v>1.2278851584994557</c:v>
                </c:pt>
                <c:pt idx="1309">
                  <c:v>1.2450497826253812</c:v>
                </c:pt>
                <c:pt idx="1310">
                  <c:v>1.2497682583855039</c:v>
                </c:pt>
                <c:pt idx="1311">
                  <c:v>1.2467177318252578</c:v>
                </c:pt>
                <c:pt idx="1312">
                  <c:v>1.2467177318252578</c:v>
                </c:pt>
                <c:pt idx="1313">
                  <c:v>1.2467177318252578</c:v>
                </c:pt>
                <c:pt idx="1314">
                  <c:v>1.2466596734165305</c:v>
                </c:pt>
                <c:pt idx="1315">
                  <c:v>1.2328437402210941</c:v>
                </c:pt>
                <c:pt idx="1316">
                  <c:v>1.2333328085115596</c:v>
                </c:pt>
                <c:pt idx="1317">
                  <c:v>1.224780509693786</c:v>
                </c:pt>
                <c:pt idx="1318">
                  <c:v>1.2218834935023783</c:v>
                </c:pt>
                <c:pt idx="1319">
                  <c:v>1.2218834935023783</c:v>
                </c:pt>
                <c:pt idx="1320">
                  <c:v>1.2218834935023783</c:v>
                </c:pt>
                <c:pt idx="1321">
                  <c:v>1.2269680324497301</c:v>
                </c:pt>
                <c:pt idx="1322">
                  <c:v>1.2233989163742425</c:v>
                </c:pt>
                <c:pt idx="1323">
                  <c:v>1.2052837088105111</c:v>
                </c:pt>
                <c:pt idx="1324">
                  <c:v>1.1998242503084966</c:v>
                </c:pt>
                <c:pt idx="1325">
                  <c:v>1.2104686199221031</c:v>
                </c:pt>
                <c:pt idx="1326">
                  <c:v>1.2104686199221031</c:v>
                </c:pt>
                <c:pt idx="1327">
                  <c:v>1.2104686199221031</c:v>
                </c:pt>
                <c:pt idx="1328">
                  <c:v>1.2250796581048553</c:v>
                </c:pt>
                <c:pt idx="1329">
                  <c:v>1.2213186540683199</c:v>
                </c:pt>
                <c:pt idx="1330">
                  <c:v>1.21713057631335</c:v>
                </c:pt>
                <c:pt idx="1331">
                  <c:v>1.1935824793499032</c:v>
                </c:pt>
                <c:pt idx="1332">
                  <c:v>1.1935824793499032</c:v>
                </c:pt>
                <c:pt idx="1333">
                  <c:v>1.1935824793499032</c:v>
                </c:pt>
                <c:pt idx="1334">
                  <c:v>1.1935824793499032</c:v>
                </c:pt>
                <c:pt idx="1335">
                  <c:v>1.1924547685634379</c:v>
                </c:pt>
                <c:pt idx="1336">
                  <c:v>1.219094721801818</c:v>
                </c:pt>
                <c:pt idx="1337">
                  <c:v>1.2238112294802885</c:v>
                </c:pt>
                <c:pt idx="1338">
                  <c:v>1.2196694016441354</c:v>
                </c:pt>
                <c:pt idx="1339">
                  <c:v>1.2290797840620811</c:v>
                </c:pt>
                <c:pt idx="1340">
                  <c:v>1.2290797840620811</c:v>
                </c:pt>
                <c:pt idx="1341">
                  <c:v>1.2290797840620811</c:v>
                </c:pt>
                <c:pt idx="1342">
                  <c:v>1.2359867666189732</c:v>
                </c:pt>
                <c:pt idx="1343">
                  <c:v>1.2220517644836046</c:v>
                </c:pt>
                <c:pt idx="1344">
                  <c:v>1.2197412366244249</c:v>
                </c:pt>
                <c:pt idx="1345">
                  <c:v>1.2308057916706847</c:v>
                </c:pt>
                <c:pt idx="1346">
                  <c:v>1.226063698930741</c:v>
                </c:pt>
                <c:pt idx="1347">
                  <c:v>1.226063698930741</c:v>
                </c:pt>
                <c:pt idx="1348">
                  <c:v>1.226063698930741</c:v>
                </c:pt>
                <c:pt idx="1349">
                  <c:v>1.2177072242373188</c:v>
                </c:pt>
                <c:pt idx="1350">
                  <c:v>1.2062264199217094</c:v>
                </c:pt>
                <c:pt idx="1351">
                  <c:v>1.2157312702589405</c:v>
                </c:pt>
                <c:pt idx="1352">
                  <c:v>1.2457927334489252</c:v>
                </c:pt>
                <c:pt idx="1353">
                  <c:v>1.2457927334489252</c:v>
                </c:pt>
                <c:pt idx="1354">
                  <c:v>1.2457927334489252</c:v>
                </c:pt>
                <c:pt idx="1355">
                  <c:v>1.2457927334489252</c:v>
                </c:pt>
                <c:pt idx="1356">
                  <c:v>1.2463300197398588</c:v>
                </c:pt>
                <c:pt idx="1357">
                  <c:v>1.2482607078402466</c:v>
                </c:pt>
                <c:pt idx="1358">
                  <c:v>1.2236449265807139</c:v>
                </c:pt>
                <c:pt idx="1359">
                  <c:v>1.2241320267895273</c:v>
                </c:pt>
                <c:pt idx="1360">
                  <c:v>1.2151201809060654</c:v>
                </c:pt>
                <c:pt idx="1361">
                  <c:v>1.2151201809060654</c:v>
                </c:pt>
                <c:pt idx="1362">
                  <c:v>1.2151201809060654</c:v>
                </c:pt>
                <c:pt idx="1363">
                  <c:v>1.1843216711374922</c:v>
                </c:pt>
                <c:pt idx="1364">
                  <c:v>1.1770564977199771</c:v>
                </c:pt>
                <c:pt idx="1365">
                  <c:v>1.1623529596995921</c:v>
                </c:pt>
                <c:pt idx="1366">
                  <c:v>1.1608011273171701</c:v>
                </c:pt>
                <c:pt idx="1367">
                  <c:v>1.1775829595618261</c:v>
                </c:pt>
                <c:pt idx="1368">
                  <c:v>1.1775829595618261</c:v>
                </c:pt>
                <c:pt idx="1369">
                  <c:v>1.1775829595618261</c:v>
                </c:pt>
                <c:pt idx="1370">
                  <c:v>1.1879144041928009</c:v>
                </c:pt>
                <c:pt idx="1371">
                  <c:v>1.1909590265080916</c:v>
                </c:pt>
                <c:pt idx="1372">
                  <c:v>1.208555644556581</c:v>
                </c:pt>
                <c:pt idx="1373">
                  <c:v>1.2131432428868607</c:v>
                </c:pt>
                <c:pt idx="1374">
                  <c:v>1.2222928544859466</c:v>
                </c:pt>
                <c:pt idx="1375">
                  <c:v>1.2222928544859466</c:v>
                </c:pt>
                <c:pt idx="1376">
                  <c:v>1.2222928544859466</c:v>
                </c:pt>
                <c:pt idx="1377">
                  <c:v>1.2492870624216454</c:v>
                </c:pt>
                <c:pt idx="1378">
                  <c:v>1.2465966948036737</c:v>
                </c:pt>
                <c:pt idx="1379">
                  <c:v>1.2259554544398936</c:v>
                </c:pt>
                <c:pt idx="1380">
                  <c:v>1.226725958406562</c:v>
                </c:pt>
                <c:pt idx="1381">
                  <c:v>1.2083076662684582</c:v>
                </c:pt>
                <c:pt idx="1382">
                  <c:v>1.2083076662684582</c:v>
                </c:pt>
                <c:pt idx="1383">
                  <c:v>1.2083076662684582</c:v>
                </c:pt>
                <c:pt idx="1384">
                  <c:v>1.2031758933614636</c:v>
                </c:pt>
                <c:pt idx="1385">
                  <c:v>1.1988205286660929</c:v>
                </c:pt>
                <c:pt idx="1386">
                  <c:v>1.2014971197125024</c:v>
                </c:pt>
                <c:pt idx="1387">
                  <c:v>1.1971220742006143</c:v>
                </c:pt>
                <c:pt idx="1388">
                  <c:v>1.1971220742006143</c:v>
                </c:pt>
                <c:pt idx="1389">
                  <c:v>1.1971220742006143</c:v>
                </c:pt>
                <c:pt idx="1390">
                  <c:v>1.1971220742006143</c:v>
                </c:pt>
                <c:pt idx="1391">
                  <c:v>1.2148013516784784</c:v>
                </c:pt>
                <c:pt idx="1392">
                  <c:v>1.1956322363902232</c:v>
                </c:pt>
                <c:pt idx="1393">
                  <c:v>1.178541415326239</c:v>
                </c:pt>
                <c:pt idx="1394">
                  <c:v>1.2002651005984937</c:v>
                </c:pt>
                <c:pt idx="1395">
                  <c:v>1.2242491276478078</c:v>
                </c:pt>
                <c:pt idx="1396">
                  <c:v>1.2242491276478078</c:v>
                </c:pt>
                <c:pt idx="1397">
                  <c:v>1.2242491276478078</c:v>
                </c:pt>
                <c:pt idx="1398">
                  <c:v>1.2378525080248528</c:v>
                </c:pt>
                <c:pt idx="1399">
                  <c:v>1.2092346327264423</c:v>
                </c:pt>
                <c:pt idx="1400">
                  <c:v>1.1779627993206181</c:v>
                </c:pt>
                <c:pt idx="1401">
                  <c:v>1.1733870094802492</c:v>
                </c:pt>
                <c:pt idx="1402">
                  <c:v>1.1965129529293912</c:v>
                </c:pt>
                <c:pt idx="1403">
                  <c:v>1.1965129529293912</c:v>
                </c:pt>
                <c:pt idx="1404">
                  <c:v>1.1965129529293912</c:v>
                </c:pt>
                <c:pt idx="1405">
                  <c:v>1.2077408587527478</c:v>
                </c:pt>
                <c:pt idx="1406">
                  <c:v>1.208660936924951</c:v>
                </c:pt>
                <c:pt idx="1407">
                  <c:v>1.2215784408463535</c:v>
                </c:pt>
                <c:pt idx="1408">
                  <c:v>1.2101084609798289</c:v>
                </c:pt>
                <c:pt idx="1409">
                  <c:v>1.2133705563176402</c:v>
                </c:pt>
                <c:pt idx="1410">
                  <c:v>1.2133705563176402</c:v>
                </c:pt>
                <c:pt idx="1411">
                  <c:v>1.2133705563176402</c:v>
                </c:pt>
                <c:pt idx="1412">
                  <c:v>1.2201417412405604</c:v>
                </c:pt>
                <c:pt idx="1413">
                  <c:v>1.2231706189026368</c:v>
                </c:pt>
                <c:pt idx="1414">
                  <c:v>1.2420336974940414</c:v>
                </c:pt>
                <c:pt idx="1415">
                  <c:v>1.2439712738802104</c:v>
                </c:pt>
                <c:pt idx="1416">
                  <c:v>1.2295206343520781</c:v>
                </c:pt>
                <c:pt idx="1417">
                  <c:v>1.2295206343520781</c:v>
                </c:pt>
                <c:pt idx="1418">
                  <c:v>1.2295206343520781</c:v>
                </c:pt>
                <c:pt idx="1419">
                  <c:v>1.2517107549758024</c:v>
                </c:pt>
                <c:pt idx="1420">
                  <c:v>1.2592101301098777</c:v>
                </c:pt>
                <c:pt idx="1421">
                  <c:v>1.2558456945261742</c:v>
                </c:pt>
                <c:pt idx="1422">
                  <c:v>1.2638006805626349</c:v>
                </c:pt>
                <c:pt idx="1423">
                  <c:v>1.2793190043868539</c:v>
                </c:pt>
                <c:pt idx="1424">
                  <c:v>1.2793190043868539</c:v>
                </c:pt>
                <c:pt idx="1425">
                  <c:v>1.2793190043868539</c:v>
                </c:pt>
                <c:pt idx="1426">
                  <c:v>1.2624564807944751</c:v>
                </c:pt>
                <c:pt idx="1427">
                  <c:v>1.2676748492941474</c:v>
                </c:pt>
                <c:pt idx="1428">
                  <c:v>1.2574172077251138</c:v>
                </c:pt>
                <c:pt idx="1429">
                  <c:v>1.2442527095564138</c:v>
                </c:pt>
                <c:pt idx="1430">
                  <c:v>1.2528571625379592</c:v>
                </c:pt>
                <c:pt idx="1431">
                  <c:v>1.2528571625379592</c:v>
                </c:pt>
                <c:pt idx="1432">
                  <c:v>1.2528571625379592</c:v>
                </c:pt>
                <c:pt idx="1433">
                  <c:v>1.2564794168180449</c:v>
                </c:pt>
                <c:pt idx="1434">
                  <c:v>1.2898049434274927</c:v>
                </c:pt>
                <c:pt idx="1435">
                  <c:v>1.2963251979398118</c:v>
                </c:pt>
                <c:pt idx="1436">
                  <c:v>1.305422655375126</c:v>
                </c:pt>
                <c:pt idx="1437">
                  <c:v>1.3166928749539957</c:v>
                </c:pt>
                <c:pt idx="1438">
                  <c:v>1.3166928749539957</c:v>
                </c:pt>
                <c:pt idx="1439">
                  <c:v>1.3166928749539957</c:v>
                </c:pt>
                <c:pt idx="1440">
                  <c:v>1.3294322674859134</c:v>
                </c:pt>
                <c:pt idx="1441">
                  <c:v>1.3322456402071208</c:v>
                </c:pt>
                <c:pt idx="1442">
                  <c:v>1.3359426815899738</c:v>
                </c:pt>
                <c:pt idx="1443">
                  <c:v>1.3307922119072872</c:v>
                </c:pt>
                <c:pt idx="1444">
                  <c:v>1.3231678635883244</c:v>
                </c:pt>
                <c:pt idx="1445">
                  <c:v>1.3231678635883244</c:v>
                </c:pt>
                <c:pt idx="1446">
                  <c:v>1.3231678635883244</c:v>
                </c:pt>
                <c:pt idx="1447">
                  <c:v>1.3070551791052705</c:v>
                </c:pt>
                <c:pt idx="1448">
                  <c:v>1.3070384504112307</c:v>
                </c:pt>
                <c:pt idx="1449">
                  <c:v>1.3168011194448435</c:v>
                </c:pt>
                <c:pt idx="1450">
                  <c:v>1.3188292275869942</c:v>
                </c:pt>
                <c:pt idx="1451">
                  <c:v>1.3283055407402742</c:v>
                </c:pt>
                <c:pt idx="1452">
                  <c:v>1.3283055407402742</c:v>
                </c:pt>
                <c:pt idx="1453">
                  <c:v>1.3283055407402742</c:v>
                </c:pt>
                <c:pt idx="1454">
                  <c:v>1.3334963560968216</c:v>
                </c:pt>
                <c:pt idx="1455">
                  <c:v>1.3272870584854823</c:v>
                </c:pt>
                <c:pt idx="1456">
                  <c:v>1.3204479747455757</c:v>
                </c:pt>
                <c:pt idx="1457">
                  <c:v>1.3163533808690655</c:v>
                </c:pt>
                <c:pt idx="1458">
                  <c:v>1.332434576045691</c:v>
                </c:pt>
                <c:pt idx="1459">
                  <c:v>1.332434576045691</c:v>
                </c:pt>
                <c:pt idx="1460">
                  <c:v>1.332434576045691</c:v>
                </c:pt>
                <c:pt idx="1461">
                  <c:v>1.3243191913546106</c:v>
                </c:pt>
                <c:pt idx="1462">
                  <c:v>1.3294184909143509</c:v>
                </c:pt>
                <c:pt idx="1463">
                  <c:v>1.3266444798261787</c:v>
                </c:pt>
                <c:pt idx="1464">
                  <c:v>1.3260087894526567</c:v>
                </c:pt>
                <c:pt idx="1465">
                  <c:v>1.3244707336417971</c:v>
                </c:pt>
                <c:pt idx="1466">
                  <c:v>1.3244707336417971</c:v>
                </c:pt>
                <c:pt idx="1467">
                  <c:v>1.3244707336417971</c:v>
                </c:pt>
                <c:pt idx="1468">
                  <c:v>1.3299744739809765</c:v>
                </c:pt>
                <c:pt idx="1469">
                  <c:v>1.3088815588781144</c:v>
                </c:pt>
                <c:pt idx="1470">
                  <c:v>1.3146883837916667</c:v>
                </c:pt>
                <c:pt idx="1471">
                  <c:v>1.3088599099799449</c:v>
                </c:pt>
                <c:pt idx="1472">
                  <c:v>1.3130283069183972</c:v>
                </c:pt>
                <c:pt idx="1473">
                  <c:v>1.3130283069183972</c:v>
                </c:pt>
                <c:pt idx="1474">
                  <c:v>1.3130283069183972</c:v>
                </c:pt>
                <c:pt idx="1475">
                  <c:v>1.3201763794776318</c:v>
                </c:pt>
                <c:pt idx="1476">
                  <c:v>1.3267113946023392</c:v>
                </c:pt>
                <c:pt idx="1477">
                  <c:v>1.3080047785022504</c:v>
                </c:pt>
                <c:pt idx="1478">
                  <c:v>1.3112806504116241</c:v>
                </c:pt>
                <c:pt idx="1479">
                  <c:v>1.3140713901938361</c:v>
                </c:pt>
                <c:pt idx="1480">
                  <c:v>1.3140713901938361</c:v>
                </c:pt>
                <c:pt idx="1481">
                  <c:v>1.3140713901938361</c:v>
                </c:pt>
                <c:pt idx="1482">
                  <c:v>1.3238045380026724</c:v>
                </c:pt>
                <c:pt idx="1483">
                  <c:v>1.3238045380026724</c:v>
                </c:pt>
                <c:pt idx="1484">
                  <c:v>1.3373410036035571</c:v>
                </c:pt>
                <c:pt idx="1485">
                  <c:v>1.3171681666728987</c:v>
                </c:pt>
                <c:pt idx="1486">
                  <c:v>1.3143567620333432</c:v>
                </c:pt>
                <c:pt idx="1487">
                  <c:v>1.3143567620333432</c:v>
                </c:pt>
                <c:pt idx="1488">
                  <c:v>1.3143567620333432</c:v>
                </c:pt>
                <c:pt idx="1489">
                  <c:v>1.3361060323670708</c:v>
                </c:pt>
                <c:pt idx="1490">
                  <c:v>1.3390965324369375</c:v>
                </c:pt>
                <c:pt idx="1491">
                  <c:v>1.3260540553306472</c:v>
                </c:pt>
                <c:pt idx="1492">
                  <c:v>1.3436683861140031</c:v>
                </c:pt>
                <c:pt idx="1493">
                  <c:v>1.3384175442670765</c:v>
                </c:pt>
                <c:pt idx="1494">
                  <c:v>1.3384175442670765</c:v>
                </c:pt>
                <c:pt idx="1495">
                  <c:v>1.3384175442670765</c:v>
                </c:pt>
                <c:pt idx="1496">
                  <c:v>1.3511707133705559</c:v>
                </c:pt>
                <c:pt idx="1497">
                  <c:v>1.3519205524798812</c:v>
                </c:pt>
                <c:pt idx="1498">
                  <c:v>1.3626239645430409</c:v>
                </c:pt>
                <c:pt idx="1499">
                  <c:v>1.3698546965316494</c:v>
                </c:pt>
                <c:pt idx="1500">
                  <c:v>1.3873706232324166</c:v>
                </c:pt>
                <c:pt idx="1501">
                  <c:v>1.3873706232324166</c:v>
                </c:pt>
                <c:pt idx="1502">
                  <c:v>1.3873706232324166</c:v>
                </c:pt>
                <c:pt idx="1503">
                  <c:v>1.3769909606009734</c:v>
                </c:pt>
                <c:pt idx="1504">
                  <c:v>1.3680666943510149</c:v>
                </c:pt>
                <c:pt idx="1505">
                  <c:v>1.3749392354790013</c:v>
                </c:pt>
                <c:pt idx="1506">
                  <c:v>1.3820754995483251</c:v>
                </c:pt>
                <c:pt idx="1507">
                  <c:v>1.3922898433210196</c:v>
                </c:pt>
                <c:pt idx="1508">
                  <c:v>1.3922898433210196</c:v>
                </c:pt>
                <c:pt idx="1509">
                  <c:v>1.3922898433210196</c:v>
                </c:pt>
                <c:pt idx="1510">
                  <c:v>1.3802117262240972</c:v>
                </c:pt>
                <c:pt idx="1511">
                  <c:v>1.3850591113324107</c:v>
                </c:pt>
                <c:pt idx="1512">
                  <c:v>1.3974609778610492</c:v>
                </c:pt>
                <c:pt idx="1513">
                  <c:v>1.3992863735930674</c:v>
                </c:pt>
                <c:pt idx="1514">
                  <c:v>1.3852736322324537</c:v>
                </c:pt>
                <c:pt idx="1515">
                  <c:v>1.3852736322324537</c:v>
                </c:pt>
                <c:pt idx="1516">
                  <c:v>1.3852736322324537</c:v>
                </c:pt>
                <c:pt idx="1517">
                  <c:v>1.3852736322324537</c:v>
                </c:pt>
                <c:pt idx="1518">
                  <c:v>1.3667205265012032</c:v>
                </c:pt>
                <c:pt idx="1519">
                  <c:v>1.3804597045122207</c:v>
                </c:pt>
                <c:pt idx="1520">
                  <c:v>1.3723364474945337</c:v>
                </c:pt>
                <c:pt idx="1521">
                  <c:v>1.3931056131656789</c:v>
                </c:pt>
                <c:pt idx="1522">
                  <c:v>1.3931056131656789</c:v>
                </c:pt>
                <c:pt idx="1523">
                  <c:v>1.3931056131656789</c:v>
                </c:pt>
                <c:pt idx="1524">
                  <c:v>1.3852480471709807</c:v>
                </c:pt>
                <c:pt idx="1525">
                  <c:v>1.3682438216996744</c:v>
                </c:pt>
                <c:pt idx="1526">
                  <c:v>1.3508056342241526</c:v>
                </c:pt>
                <c:pt idx="1527">
                  <c:v>1.3508056342241526</c:v>
                </c:pt>
                <c:pt idx="1528">
                  <c:v>1.3563999063193131</c:v>
                </c:pt>
                <c:pt idx="1529">
                  <c:v>1.3563999063193131</c:v>
                </c:pt>
                <c:pt idx="1530">
                  <c:v>1.3563999063193131</c:v>
                </c:pt>
                <c:pt idx="1531">
                  <c:v>1.3747689964161232</c:v>
                </c:pt>
                <c:pt idx="1532">
                  <c:v>1.3803662206337615</c:v>
                </c:pt>
                <c:pt idx="1533">
                  <c:v>1.3669448878095052</c:v>
                </c:pt>
                <c:pt idx="1534">
                  <c:v>1.3692436071787746</c:v>
                </c:pt>
                <c:pt idx="1535">
                  <c:v>1.370126291799594</c:v>
                </c:pt>
                <c:pt idx="1536">
                  <c:v>1.370126291799594</c:v>
                </c:pt>
                <c:pt idx="1537">
                  <c:v>1.370126291799594</c:v>
                </c:pt>
                <c:pt idx="1538">
                  <c:v>1.3594258318589119</c:v>
                </c:pt>
                <c:pt idx="1539">
                  <c:v>1.3633186973661162</c:v>
                </c:pt>
                <c:pt idx="1540">
                  <c:v>1.3619046306993183</c:v>
                </c:pt>
                <c:pt idx="1541">
                  <c:v>1.3675943547545899</c:v>
                </c:pt>
                <c:pt idx="1542">
                  <c:v>1.3543068514826542</c:v>
                </c:pt>
                <c:pt idx="1543">
                  <c:v>1.3543068514826542</c:v>
                </c:pt>
                <c:pt idx="1544">
                  <c:v>1.3543068514826542</c:v>
                </c:pt>
                <c:pt idx="1545">
                  <c:v>1.3543068514826542</c:v>
                </c:pt>
                <c:pt idx="1546">
                  <c:v>1.332089177715805</c:v>
                </c:pt>
                <c:pt idx="1547">
                  <c:v>1.3088126760203025</c:v>
                </c:pt>
                <c:pt idx="1548">
                  <c:v>1.3064263770175293</c:v>
                </c:pt>
                <c:pt idx="1549">
                  <c:v>1.2827975887063601</c:v>
                </c:pt>
                <c:pt idx="1550">
                  <c:v>1.2827975887063601</c:v>
                </c:pt>
                <c:pt idx="1551">
                  <c:v>1.2827975887063601</c:v>
                </c:pt>
                <c:pt idx="1552">
                  <c:v>1.2930444058263089</c:v>
                </c:pt>
                <c:pt idx="1553">
                  <c:v>1.3183175263575333</c:v>
                </c:pt>
                <c:pt idx="1554">
                  <c:v>1.3107709172638156</c:v>
                </c:pt>
                <c:pt idx="1555">
                  <c:v>1.3174742033697491</c:v>
                </c:pt>
                <c:pt idx="1556">
                  <c:v>1.3219633976174401</c:v>
                </c:pt>
                <c:pt idx="1557">
                  <c:v>1.3219633976174401</c:v>
                </c:pt>
                <c:pt idx="1558">
                  <c:v>1.3219633976174401</c:v>
                </c:pt>
                <c:pt idx="1559">
                  <c:v>1.3062571219954773</c:v>
                </c:pt>
                <c:pt idx="1560">
                  <c:v>1.317484043778008</c:v>
                </c:pt>
                <c:pt idx="1561">
                  <c:v>1.2808442676669767</c:v>
                </c:pt>
                <c:pt idx="1562">
                  <c:v>1.2506135494549395</c:v>
                </c:pt>
                <c:pt idx="1563">
                  <c:v>1.243802018858158</c:v>
                </c:pt>
                <c:pt idx="1564">
                  <c:v>1.243802018858158</c:v>
                </c:pt>
                <c:pt idx="1565">
                  <c:v>1.243802018858158</c:v>
                </c:pt>
                <c:pt idx="1566">
                  <c:v>1.2573375004182172</c:v>
                </c:pt>
                <c:pt idx="1567">
                  <c:v>1.2591097579456374</c:v>
                </c:pt>
                <c:pt idx="1568">
                  <c:v>1.2457012176521181</c:v>
                </c:pt>
                <c:pt idx="1569">
                  <c:v>1.2593360873355912</c:v>
                </c:pt>
                <c:pt idx="1570">
                  <c:v>1.2768854714244382</c:v>
                </c:pt>
                <c:pt idx="1571">
                  <c:v>1.2768854714244382</c:v>
                </c:pt>
                <c:pt idx="1572">
                  <c:v>1.2768854714244382</c:v>
                </c:pt>
                <c:pt idx="1573">
                  <c:v>1.2878919680619711</c:v>
                </c:pt>
                <c:pt idx="1574">
                  <c:v>1.2915437435668329</c:v>
                </c:pt>
                <c:pt idx="1575">
                  <c:v>1.3080215071962906</c:v>
                </c:pt>
                <c:pt idx="1576">
                  <c:v>1.3076918535196185</c:v>
                </c:pt>
                <c:pt idx="1577">
                  <c:v>1.3150918405302798</c:v>
                </c:pt>
                <c:pt idx="1578">
                  <c:v>1.3150918405302798</c:v>
                </c:pt>
                <c:pt idx="1579">
                  <c:v>1.3150918405302798</c:v>
                </c:pt>
                <c:pt idx="1580">
                  <c:v>1.316734204668683</c:v>
                </c:pt>
                <c:pt idx="1581">
                  <c:v>1.3089258407152795</c:v>
                </c:pt>
                <c:pt idx="1582">
                  <c:v>1.304028269524846</c:v>
                </c:pt>
                <c:pt idx="1583">
                  <c:v>1.2917002060581486</c:v>
                </c:pt>
                <c:pt idx="1584">
                  <c:v>1.2864444440070928</c:v>
                </c:pt>
                <c:pt idx="1585">
                  <c:v>1.2864444440070928</c:v>
                </c:pt>
                <c:pt idx="1586">
                  <c:v>1.2864444440070928</c:v>
                </c:pt>
                <c:pt idx="1587">
                  <c:v>1.2844616017429331</c:v>
                </c:pt>
                <c:pt idx="1588">
                  <c:v>1.2767349131780776</c:v>
                </c:pt>
                <c:pt idx="1589">
                  <c:v>1.2623757894467524</c:v>
                </c:pt>
                <c:pt idx="1590">
                  <c:v>1.2623757894467524</c:v>
                </c:pt>
                <c:pt idx="1591">
                  <c:v>1.2623757894467524</c:v>
                </c:pt>
                <c:pt idx="1592">
                  <c:v>1.2623757894467524</c:v>
                </c:pt>
                <c:pt idx="1593">
                  <c:v>1.2623757894467524</c:v>
                </c:pt>
                <c:pt idx="1594">
                  <c:v>1.2402624240074471</c:v>
                </c:pt>
                <c:pt idx="1595">
                  <c:v>1.2146783465752424</c:v>
                </c:pt>
                <c:pt idx="1596">
                  <c:v>1.2226047954277524</c:v>
                </c:pt>
                <c:pt idx="1597">
                  <c:v>1.2306512972610206</c:v>
                </c:pt>
                <c:pt idx="1598">
                  <c:v>1.2231981720457619</c:v>
                </c:pt>
                <c:pt idx="1599">
                  <c:v>1.2231981720457619</c:v>
                </c:pt>
                <c:pt idx="1600">
                  <c:v>1.2231981720457619</c:v>
                </c:pt>
                <c:pt idx="1601">
                  <c:v>1.2351729648559657</c:v>
                </c:pt>
                <c:pt idx="1602">
                  <c:v>1.2317219336795844</c:v>
                </c:pt>
                <c:pt idx="1603">
                  <c:v>1.2285306892812367</c:v>
                </c:pt>
                <c:pt idx="1604">
                  <c:v>1.2093723984420666</c:v>
                </c:pt>
                <c:pt idx="1605">
                  <c:v>1.2024044053539691</c:v>
                </c:pt>
                <c:pt idx="1606">
                  <c:v>1.2024044053539691</c:v>
                </c:pt>
                <c:pt idx="1607">
                  <c:v>1.2024044053539691</c:v>
                </c:pt>
                <c:pt idx="1608">
                  <c:v>1.2222997427717279</c:v>
                </c:pt>
                <c:pt idx="1609">
                  <c:v>1.2180880480369367</c:v>
                </c:pt>
                <c:pt idx="1610">
                  <c:v>1.2307437970986539</c:v>
                </c:pt>
                <c:pt idx="1611">
                  <c:v>1.2330710536518739</c:v>
                </c:pt>
                <c:pt idx="1612">
                  <c:v>1.234422141705815</c:v>
                </c:pt>
                <c:pt idx="1613">
                  <c:v>1.234422141705815</c:v>
                </c:pt>
                <c:pt idx="1614">
                  <c:v>1.234422141705815</c:v>
                </c:pt>
                <c:pt idx="1615">
                  <c:v>1.2435087746920441</c:v>
                </c:pt>
                <c:pt idx="1616">
                  <c:v>1.2368113928310656</c:v>
                </c:pt>
                <c:pt idx="1617">
                  <c:v>1.2104390986973268</c:v>
                </c:pt>
                <c:pt idx="1618">
                  <c:v>1.2072763914829296</c:v>
                </c:pt>
                <c:pt idx="1619">
                  <c:v>1.2367966322186772</c:v>
                </c:pt>
                <c:pt idx="1620">
                  <c:v>1.2367966322186772</c:v>
                </c:pt>
                <c:pt idx="1621">
                  <c:v>1.2367966322186772</c:v>
                </c:pt>
                <c:pt idx="1622">
                  <c:v>1.2182021967727394</c:v>
                </c:pt>
                <c:pt idx="1623">
                  <c:v>1.2148013516784784</c:v>
                </c:pt>
                <c:pt idx="1624">
                  <c:v>1.2136519919938435</c:v>
                </c:pt>
                <c:pt idx="1625">
                  <c:v>1.2169131032908291</c:v>
                </c:pt>
                <c:pt idx="1626">
                  <c:v>1.2337126482703511</c:v>
                </c:pt>
                <c:pt idx="1627">
                  <c:v>1.2337126482703511</c:v>
                </c:pt>
                <c:pt idx="1628">
                  <c:v>1.2337126482703511</c:v>
                </c:pt>
                <c:pt idx="1629">
                  <c:v>1.2564646562056565</c:v>
                </c:pt>
                <c:pt idx="1630">
                  <c:v>1.245656935814953</c:v>
                </c:pt>
                <c:pt idx="1631">
                  <c:v>1.2219730412175338</c:v>
                </c:pt>
                <c:pt idx="1632">
                  <c:v>1.219111450495858</c:v>
                </c:pt>
                <c:pt idx="1633">
                  <c:v>1.2458429195310452</c:v>
                </c:pt>
                <c:pt idx="1634">
                  <c:v>1.2458429195310452</c:v>
                </c:pt>
                <c:pt idx="1635">
                  <c:v>1.2458429195310452</c:v>
                </c:pt>
                <c:pt idx="1636">
                  <c:v>1.2825043445402462</c:v>
                </c:pt>
                <c:pt idx="1637">
                  <c:v>1.2825043445402462</c:v>
                </c:pt>
                <c:pt idx="1638">
                  <c:v>1.2825584667856698</c:v>
                </c:pt>
                <c:pt idx="1639">
                  <c:v>1.2907712715185127</c:v>
                </c:pt>
                <c:pt idx="1640">
                  <c:v>1.2794095361428355</c:v>
                </c:pt>
                <c:pt idx="1641">
                  <c:v>1.2794095361428355</c:v>
                </c:pt>
                <c:pt idx="1642">
                  <c:v>1.2794095361428355</c:v>
                </c:pt>
                <c:pt idx="1643">
                  <c:v>1.2890423117874312</c:v>
                </c:pt>
                <c:pt idx="1644">
                  <c:v>1.2890423117874312</c:v>
                </c:pt>
                <c:pt idx="1645">
                  <c:v>1.2890924978695515</c:v>
                </c:pt>
                <c:pt idx="1646">
                  <c:v>1.2796309453286596</c:v>
                </c:pt>
                <c:pt idx="1647">
                  <c:v>1.2729729251007165</c:v>
                </c:pt>
                <c:pt idx="1648">
                  <c:v>1.2729729251007165</c:v>
                </c:pt>
                <c:pt idx="1649">
                  <c:v>1.2729729251007165</c:v>
                </c:pt>
                <c:pt idx="1650">
                  <c:v>1.2538549799354073</c:v>
                </c:pt>
                <c:pt idx="1651">
                  <c:v>1.2643979933439478</c:v>
                </c:pt>
                <c:pt idx="1652">
                  <c:v>1.2297971498241518</c:v>
                </c:pt>
                <c:pt idx="1653">
                  <c:v>1.2328358678944871</c:v>
                </c:pt>
                <c:pt idx="1654">
                  <c:v>1.2493244559730292</c:v>
                </c:pt>
                <c:pt idx="1655">
                  <c:v>1.2493244559730292</c:v>
                </c:pt>
                <c:pt idx="1656">
                  <c:v>1.2493244559730292</c:v>
                </c:pt>
                <c:pt idx="1657">
                  <c:v>1.2855115733041531</c:v>
                </c:pt>
                <c:pt idx="1658">
                  <c:v>1.2764278924404016</c:v>
                </c:pt>
                <c:pt idx="1659">
                  <c:v>1.2824049564168316</c:v>
                </c:pt>
                <c:pt idx="1660">
                  <c:v>1.2791959992836182</c:v>
                </c:pt>
                <c:pt idx="1661">
                  <c:v>1.3113918470249493</c:v>
                </c:pt>
                <c:pt idx="1662">
                  <c:v>1.3113918470249493</c:v>
                </c:pt>
                <c:pt idx="1663">
                  <c:v>1.3113918470249493</c:v>
                </c:pt>
                <c:pt idx="1664">
                  <c:v>1.2978101155460735</c:v>
                </c:pt>
                <c:pt idx="1665">
                  <c:v>1.3127075096091585</c:v>
                </c:pt>
                <c:pt idx="1666">
                  <c:v>1.3061390370963708</c:v>
                </c:pt>
                <c:pt idx="1667">
                  <c:v>1.3145329053411765</c:v>
                </c:pt>
                <c:pt idx="1668">
                  <c:v>1.3612886211423136</c:v>
                </c:pt>
                <c:pt idx="1669">
                  <c:v>1.3612886211423136</c:v>
                </c:pt>
                <c:pt idx="1670">
                  <c:v>1.3612886211423136</c:v>
                </c:pt>
                <c:pt idx="1671">
                  <c:v>1.3558449072935135</c:v>
                </c:pt>
                <c:pt idx="1672">
                  <c:v>1.3582233339696796</c:v>
                </c:pt>
                <c:pt idx="1673">
                  <c:v>1.3637506912886801</c:v>
                </c:pt>
                <c:pt idx="1674">
                  <c:v>1.3621024229053214</c:v>
                </c:pt>
                <c:pt idx="1675">
                  <c:v>1.3782859583278388</c:v>
                </c:pt>
                <c:pt idx="1676">
                  <c:v>1.3782859583278388</c:v>
                </c:pt>
                <c:pt idx="1677">
                  <c:v>1.3782859583278388</c:v>
                </c:pt>
                <c:pt idx="1678">
                  <c:v>1.3270075908909309</c:v>
                </c:pt>
                <c:pt idx="1679">
                  <c:v>1.3270695854629613</c:v>
                </c:pt>
                <c:pt idx="1680">
                  <c:v>1.2969530159867273</c:v>
                </c:pt>
                <c:pt idx="1681">
                  <c:v>1.2688458578769513</c:v>
                </c:pt>
                <c:pt idx="1682">
                  <c:v>1.2763668819091964</c:v>
                </c:pt>
                <c:pt idx="1683">
                  <c:v>1.2763668819091964</c:v>
                </c:pt>
                <c:pt idx="1684">
                  <c:v>1.2763668819091964</c:v>
                </c:pt>
                <c:pt idx="1685">
                  <c:v>1.2743535343794341</c:v>
                </c:pt>
                <c:pt idx="1686">
                  <c:v>1.295264401929507</c:v>
                </c:pt>
                <c:pt idx="1687">
                  <c:v>1.2818952232690228</c:v>
                </c:pt>
                <c:pt idx="1688">
                  <c:v>1.288026781655117</c:v>
                </c:pt>
                <c:pt idx="1689">
                  <c:v>1.2943098823283978</c:v>
                </c:pt>
                <c:pt idx="1690">
                  <c:v>1.2943098823283978</c:v>
                </c:pt>
                <c:pt idx="1691">
                  <c:v>1.2943098823283978</c:v>
                </c:pt>
                <c:pt idx="1692">
                  <c:v>1.2879008244294037</c:v>
                </c:pt>
                <c:pt idx="1693">
                  <c:v>1.3141776666030318</c:v>
                </c:pt>
                <c:pt idx="1694">
                  <c:v>1.3249420891973964</c:v>
                </c:pt>
                <c:pt idx="1695">
                  <c:v>1.3188646530567261</c:v>
                </c:pt>
                <c:pt idx="1696">
                  <c:v>1.3326097353126984</c:v>
                </c:pt>
                <c:pt idx="1697">
                  <c:v>1.3326097353126984</c:v>
                </c:pt>
                <c:pt idx="1698">
                  <c:v>1.3326097353126984</c:v>
                </c:pt>
                <c:pt idx="1699">
                  <c:v>1.2806267946444561</c:v>
                </c:pt>
                <c:pt idx="1700">
                  <c:v>1.2589670720258841</c:v>
                </c:pt>
                <c:pt idx="1701">
                  <c:v>1.2734619933911815</c:v>
                </c:pt>
                <c:pt idx="1702">
                  <c:v>1.2347970612604775</c:v>
                </c:pt>
                <c:pt idx="1703">
                  <c:v>1.255512104686199</c:v>
                </c:pt>
                <c:pt idx="1704">
                  <c:v>1.255512104686199</c:v>
                </c:pt>
                <c:pt idx="1705">
                  <c:v>1.255512104686199</c:v>
                </c:pt>
                <c:pt idx="1706">
                  <c:v>1.2323674644613656</c:v>
                </c:pt>
                <c:pt idx="1707">
                  <c:v>1.2661171126667703</c:v>
                </c:pt>
                <c:pt idx="1708">
                  <c:v>1.267875593622628</c:v>
                </c:pt>
                <c:pt idx="1709">
                  <c:v>1.3043569391606917</c:v>
                </c:pt>
                <c:pt idx="1710">
                  <c:v>1.3363077607363771</c:v>
                </c:pt>
                <c:pt idx="1711">
                  <c:v>1.3363077607363771</c:v>
                </c:pt>
                <c:pt idx="1712">
                  <c:v>1.3363077607363771</c:v>
                </c:pt>
                <c:pt idx="1713">
                  <c:v>1.3032715421297396</c:v>
                </c:pt>
                <c:pt idx="1714">
                  <c:v>1.339876876811865</c:v>
                </c:pt>
                <c:pt idx="1715">
                  <c:v>1.3829562160874929</c:v>
                </c:pt>
                <c:pt idx="1716">
                  <c:v>1.3848908403511846</c:v>
                </c:pt>
                <c:pt idx="1717">
                  <c:v>1.3279768711044282</c:v>
                </c:pt>
                <c:pt idx="1718">
                  <c:v>1.3279768711044282</c:v>
                </c:pt>
                <c:pt idx="1719">
                  <c:v>1.3279768711044282</c:v>
                </c:pt>
                <c:pt idx="1720">
                  <c:v>1.3705887909877603</c:v>
                </c:pt>
                <c:pt idx="1721">
                  <c:v>1.3670797014026517</c:v>
                </c:pt>
                <c:pt idx="1722">
                  <c:v>1.3730351164809125</c:v>
                </c:pt>
                <c:pt idx="1723">
                  <c:v>1.3690950170140659</c:v>
                </c:pt>
                <c:pt idx="1724">
                  <c:v>1.3294116026285696</c:v>
                </c:pt>
                <c:pt idx="1725">
                  <c:v>1.3294116026285696</c:v>
                </c:pt>
                <c:pt idx="1726">
                  <c:v>1.3294116026285696</c:v>
                </c:pt>
                <c:pt idx="1727">
                  <c:v>1.314402027911334</c:v>
                </c:pt>
                <c:pt idx="1728">
                  <c:v>1.3010279290467202</c:v>
                </c:pt>
                <c:pt idx="1729">
                  <c:v>1.3216799938595849</c:v>
                </c:pt>
                <c:pt idx="1730">
                  <c:v>1.3261367147600216</c:v>
                </c:pt>
                <c:pt idx="1731">
                  <c:v>1.3488257440824705</c:v>
                </c:pt>
                <c:pt idx="1732">
                  <c:v>1.3488257440824705</c:v>
                </c:pt>
                <c:pt idx="1733">
                  <c:v>1.3488257440824705</c:v>
                </c:pt>
                <c:pt idx="1734">
                  <c:v>1.3488257440824705</c:v>
                </c:pt>
                <c:pt idx="1735">
                  <c:v>1.3676337163876253</c:v>
                </c:pt>
                <c:pt idx="1736">
                  <c:v>1.3604659630118732</c:v>
                </c:pt>
                <c:pt idx="1737">
                  <c:v>1.3658526024927722</c:v>
                </c:pt>
                <c:pt idx="1738">
                  <c:v>1.3928074487954354</c:v>
                </c:pt>
                <c:pt idx="1739">
                  <c:v>1.3928074487954354</c:v>
                </c:pt>
                <c:pt idx="1740">
                  <c:v>1.3928074487954354</c:v>
                </c:pt>
                <c:pt idx="1741">
                  <c:v>1.4104699975792594</c:v>
                </c:pt>
                <c:pt idx="1742">
                  <c:v>1.4291736615568706</c:v>
                </c:pt>
                <c:pt idx="1743">
                  <c:v>1.4318354919908916</c:v>
                </c:pt>
                <c:pt idx="1744">
                  <c:v>1.4086436178064152</c:v>
                </c:pt>
                <c:pt idx="1745">
                  <c:v>1.3893180400268443</c:v>
                </c:pt>
                <c:pt idx="1746">
                  <c:v>1.3893180400268443</c:v>
                </c:pt>
                <c:pt idx="1747">
                  <c:v>1.3893180400268443</c:v>
                </c:pt>
                <c:pt idx="1748">
                  <c:v>1.422439870185334</c:v>
                </c:pt>
                <c:pt idx="1749">
                  <c:v>1.4187300362717445</c:v>
                </c:pt>
                <c:pt idx="1750">
                  <c:v>1.4327457297548358</c:v>
                </c:pt>
                <c:pt idx="1751">
                  <c:v>1.4449429157916902</c:v>
                </c:pt>
                <c:pt idx="1752">
                  <c:v>1.4778945068873015</c:v>
                </c:pt>
                <c:pt idx="1753">
                  <c:v>1.4778945068873015</c:v>
                </c:pt>
                <c:pt idx="1754">
                  <c:v>1.4778945068873015</c:v>
                </c:pt>
                <c:pt idx="1755">
                  <c:v>1.4784042400351103</c:v>
                </c:pt>
                <c:pt idx="1756">
                  <c:v>1.4995286444444005</c:v>
                </c:pt>
                <c:pt idx="1757">
                  <c:v>1.5016177631177561</c:v>
                </c:pt>
                <c:pt idx="1758">
                  <c:v>1.4844836442574327</c:v>
                </c:pt>
                <c:pt idx="1759">
                  <c:v>1.4893900718152995</c:v>
                </c:pt>
                <c:pt idx="1760">
                  <c:v>1.4893900718152995</c:v>
                </c:pt>
                <c:pt idx="1761">
                  <c:v>1.4893900718152995</c:v>
                </c:pt>
                <c:pt idx="1762">
                  <c:v>1.4598304694465163</c:v>
                </c:pt>
                <c:pt idx="1763">
                  <c:v>1.4687439112473897</c:v>
                </c:pt>
                <c:pt idx="1764">
                  <c:v>1.441233081878101</c:v>
                </c:pt>
                <c:pt idx="1765">
                  <c:v>1.4355876396599943</c:v>
                </c:pt>
                <c:pt idx="1766">
                  <c:v>1.4041465512321174</c:v>
                </c:pt>
                <c:pt idx="1767">
                  <c:v>1.4041465512321174</c:v>
                </c:pt>
                <c:pt idx="1768">
                  <c:v>1.4041465512321174</c:v>
                </c:pt>
                <c:pt idx="1769">
                  <c:v>1.4139751510010643</c:v>
                </c:pt>
                <c:pt idx="1770">
                  <c:v>1.4123396751484423</c:v>
                </c:pt>
                <c:pt idx="1771">
                  <c:v>1.4128808976026799</c:v>
                </c:pt>
                <c:pt idx="1772">
                  <c:v>1.3964759529943376</c:v>
                </c:pt>
                <c:pt idx="1773">
                  <c:v>1.3873568466608541</c:v>
                </c:pt>
                <c:pt idx="1774">
                  <c:v>1.3873568466608541</c:v>
                </c:pt>
                <c:pt idx="1775">
                  <c:v>1.3873568466608541</c:v>
                </c:pt>
                <c:pt idx="1776">
                  <c:v>1.3683756831703431</c:v>
                </c:pt>
                <c:pt idx="1777">
                  <c:v>1.3610790204464001</c:v>
                </c:pt>
                <c:pt idx="1778">
                  <c:v>1.3730833344813809</c:v>
                </c:pt>
                <c:pt idx="1779">
                  <c:v>1.3745446351078212</c:v>
                </c:pt>
                <c:pt idx="1780">
                  <c:v>1.3484222873438572</c:v>
                </c:pt>
                <c:pt idx="1781">
                  <c:v>1.3484222873438572</c:v>
                </c:pt>
                <c:pt idx="1782">
                  <c:v>1.3484222873438572</c:v>
                </c:pt>
                <c:pt idx="1783">
                  <c:v>1.3654698106115024</c:v>
                </c:pt>
                <c:pt idx="1784">
                  <c:v>1.3656459539193362</c:v>
                </c:pt>
                <c:pt idx="1785">
                  <c:v>1.3706616100088758</c:v>
                </c:pt>
                <c:pt idx="1786">
                  <c:v>1.3756260959754696</c:v>
                </c:pt>
                <c:pt idx="1787">
                  <c:v>1.3598017354544003</c:v>
                </c:pt>
                <c:pt idx="1788">
                  <c:v>1.3598017354544003</c:v>
                </c:pt>
                <c:pt idx="1789">
                  <c:v>1.3598017354544003</c:v>
                </c:pt>
                <c:pt idx="1790">
                  <c:v>1.3529902048576188</c:v>
                </c:pt>
                <c:pt idx="1791">
                  <c:v>1.3742012048595871</c:v>
                </c:pt>
                <c:pt idx="1792">
                  <c:v>1.3835092470316406</c:v>
                </c:pt>
                <c:pt idx="1793">
                  <c:v>1.3973369887169875</c:v>
                </c:pt>
                <c:pt idx="1794">
                  <c:v>1.3999427288239332</c:v>
                </c:pt>
                <c:pt idx="1795">
                  <c:v>1.3999427288239332</c:v>
                </c:pt>
                <c:pt idx="1796">
                  <c:v>1.3999427288239332</c:v>
                </c:pt>
                <c:pt idx="1797">
                  <c:v>1.4037991848205797</c:v>
                </c:pt>
                <c:pt idx="1798">
                  <c:v>1.3902371341582218</c:v>
                </c:pt>
                <c:pt idx="1799">
                  <c:v>1.3999506011505403</c:v>
                </c:pt>
                <c:pt idx="1800">
                  <c:v>1.3893593697415314</c:v>
                </c:pt>
                <c:pt idx="1801">
                  <c:v>1.3741057528994762</c:v>
                </c:pt>
                <c:pt idx="1802">
                  <c:v>1.3741057528994762</c:v>
                </c:pt>
                <c:pt idx="1803">
                  <c:v>1.3741057528994762</c:v>
                </c:pt>
                <c:pt idx="1804">
                  <c:v>1.3512376281467164</c:v>
                </c:pt>
                <c:pt idx="1805">
                  <c:v>1.354954350346087</c:v>
                </c:pt>
                <c:pt idx="1806">
                  <c:v>1.3669468558911568</c:v>
                </c:pt>
                <c:pt idx="1807">
                  <c:v>1.3634840162248651</c:v>
                </c:pt>
                <c:pt idx="1808">
                  <c:v>1.3459897384222674</c:v>
                </c:pt>
                <c:pt idx="1809">
                  <c:v>1.3459897384222674</c:v>
                </c:pt>
                <c:pt idx="1810">
                  <c:v>1.3459897384222674</c:v>
                </c:pt>
                <c:pt idx="1811">
                  <c:v>1.3443680391412076</c:v>
                </c:pt>
                <c:pt idx="1812">
                  <c:v>1.3268658890120031</c:v>
                </c:pt>
                <c:pt idx="1813">
                  <c:v>1.3268580166853963</c:v>
                </c:pt>
                <c:pt idx="1814">
                  <c:v>1.3287542633568783</c:v>
                </c:pt>
                <c:pt idx="1815">
                  <c:v>1.332208246655737</c:v>
                </c:pt>
                <c:pt idx="1816">
                  <c:v>1.332208246655737</c:v>
                </c:pt>
                <c:pt idx="1817">
                  <c:v>1.332208246655737</c:v>
                </c:pt>
                <c:pt idx="1818">
                  <c:v>1.327326420118518</c:v>
                </c:pt>
                <c:pt idx="1819">
                  <c:v>1.3112471930235441</c:v>
                </c:pt>
                <c:pt idx="1820">
                  <c:v>1.3152109094702118</c:v>
                </c:pt>
                <c:pt idx="1821">
                  <c:v>1.3139365766006899</c:v>
                </c:pt>
                <c:pt idx="1822">
                  <c:v>1.3141973474195496</c:v>
                </c:pt>
                <c:pt idx="1823">
                  <c:v>1.3141973474195496</c:v>
                </c:pt>
                <c:pt idx="1824">
                  <c:v>1.3141973474195496</c:v>
                </c:pt>
                <c:pt idx="1825">
                  <c:v>1.3164567051557834</c:v>
                </c:pt>
                <c:pt idx="1826">
                  <c:v>1.3157806691084</c:v>
                </c:pt>
                <c:pt idx="1827">
                  <c:v>1.3309880360316386</c:v>
                </c:pt>
                <c:pt idx="1828">
                  <c:v>1.3261947731687491</c:v>
                </c:pt>
                <c:pt idx="1829">
                  <c:v>1.3369572276814616</c:v>
                </c:pt>
                <c:pt idx="1830">
                  <c:v>1.3369572276814616</c:v>
                </c:pt>
                <c:pt idx="1831">
                  <c:v>1.3369572276814616</c:v>
                </c:pt>
                <c:pt idx="1832">
                  <c:v>1.3463262803847202</c:v>
                </c:pt>
                <c:pt idx="1833">
                  <c:v>1.3463262803847202</c:v>
                </c:pt>
                <c:pt idx="1834">
                  <c:v>1.3283734395572602</c:v>
                </c:pt>
                <c:pt idx="1835">
                  <c:v>1.3349133748860971</c:v>
                </c:pt>
                <c:pt idx="1836">
                  <c:v>1.3356563257096408</c:v>
                </c:pt>
                <c:pt idx="1837">
                  <c:v>1.3356563257096408</c:v>
                </c:pt>
                <c:pt idx="1838">
                  <c:v>1.3356563257096408</c:v>
                </c:pt>
                <c:pt idx="1839">
                  <c:v>1.338738341576315</c:v>
                </c:pt>
                <c:pt idx="1840">
                  <c:v>1.3387983680666939</c:v>
                </c:pt>
                <c:pt idx="1841">
                  <c:v>1.3280506741663698</c:v>
                </c:pt>
                <c:pt idx="1842">
                  <c:v>1.3230104170561825</c:v>
                </c:pt>
                <c:pt idx="1843">
                  <c:v>1.2962858363067764</c:v>
                </c:pt>
                <c:pt idx="1844">
                  <c:v>1.2962858363067764</c:v>
                </c:pt>
                <c:pt idx="1845">
                  <c:v>1.2962858363067764</c:v>
                </c:pt>
                <c:pt idx="1846">
                  <c:v>1.2758197552100041</c:v>
                </c:pt>
                <c:pt idx="1847">
                  <c:v>1.2806553318284069</c:v>
                </c:pt>
                <c:pt idx="1848">
                  <c:v>1.2847843671338233</c:v>
                </c:pt>
                <c:pt idx="1849">
                  <c:v>1.2728331913034405</c:v>
                </c:pt>
                <c:pt idx="1850">
                  <c:v>1.2675675888441258</c:v>
                </c:pt>
                <c:pt idx="1851">
                  <c:v>1.2675675888441258</c:v>
                </c:pt>
                <c:pt idx="1852">
                  <c:v>1.2675675888441258</c:v>
                </c:pt>
                <c:pt idx="1853">
                  <c:v>1.2766552058711811</c:v>
                </c:pt>
                <c:pt idx="1854">
                  <c:v>1.2816501971033774</c:v>
                </c:pt>
                <c:pt idx="1855">
                  <c:v>1.2745237734423123</c:v>
                </c:pt>
                <c:pt idx="1856">
                  <c:v>1.2914354990759853</c:v>
                </c:pt>
                <c:pt idx="1857">
                  <c:v>1.2856089933459156</c:v>
                </c:pt>
                <c:pt idx="1858">
                  <c:v>1.2856089933459156</c:v>
                </c:pt>
                <c:pt idx="1859">
                  <c:v>1.2856089933459156</c:v>
                </c:pt>
                <c:pt idx="1860">
                  <c:v>1.2898354486930956</c:v>
                </c:pt>
                <c:pt idx="1861">
                  <c:v>1.2757036383925495</c:v>
                </c:pt>
                <c:pt idx="1862">
                  <c:v>1.2759860581095785</c:v>
                </c:pt>
                <c:pt idx="1863">
                  <c:v>1.2952791625418956</c:v>
                </c:pt>
                <c:pt idx="1864">
                  <c:v>1.3121397180526224</c:v>
                </c:pt>
                <c:pt idx="1865">
                  <c:v>1.3121397180526224</c:v>
                </c:pt>
                <c:pt idx="1866">
                  <c:v>1.3121397180526224</c:v>
                </c:pt>
                <c:pt idx="1867">
                  <c:v>1.3096766638654302</c:v>
                </c:pt>
                <c:pt idx="1868">
                  <c:v>1.3204666715212678</c:v>
                </c:pt>
                <c:pt idx="1869">
                  <c:v>1.3093883399034456</c:v>
                </c:pt>
                <c:pt idx="1870">
                  <c:v>1.3142583579507545</c:v>
                </c:pt>
                <c:pt idx="1871">
                  <c:v>1.2984458059195958</c:v>
                </c:pt>
                <c:pt idx="1872">
                  <c:v>1.2984458059195958</c:v>
                </c:pt>
                <c:pt idx="1873">
                  <c:v>1.2984458059195958</c:v>
                </c:pt>
                <c:pt idx="1874">
                  <c:v>1.3041650511996439</c:v>
                </c:pt>
                <c:pt idx="1875">
                  <c:v>1.3167607737709821</c:v>
                </c:pt>
                <c:pt idx="1876">
                  <c:v>1.3144768150141013</c:v>
                </c:pt>
                <c:pt idx="1877">
                  <c:v>1.3067747274698931</c:v>
                </c:pt>
                <c:pt idx="1878">
                  <c:v>1.2923221198601085</c:v>
                </c:pt>
                <c:pt idx="1879">
                  <c:v>1.2923221198601085</c:v>
                </c:pt>
                <c:pt idx="1880">
                  <c:v>1.2923221198601085</c:v>
                </c:pt>
                <c:pt idx="1881">
                  <c:v>1.2754369633287344</c:v>
                </c:pt>
                <c:pt idx="1882">
                  <c:v>1.2754369633287344</c:v>
                </c:pt>
                <c:pt idx="1883">
                  <c:v>1.2823734671104032</c:v>
                </c:pt>
                <c:pt idx="1884">
                  <c:v>1.2741586942959089</c:v>
                </c:pt>
                <c:pt idx="1885">
                  <c:v>1.2797283653704223</c:v>
                </c:pt>
                <c:pt idx="1886">
                  <c:v>1.2797283653704223</c:v>
                </c:pt>
                <c:pt idx="1887">
                  <c:v>1.2797283653704223</c:v>
                </c:pt>
                <c:pt idx="1888">
                  <c:v>1.2864946300892128</c:v>
                </c:pt>
                <c:pt idx="1889">
                  <c:v>1.286339151638723</c:v>
                </c:pt>
                <c:pt idx="1890">
                  <c:v>1.2953834708694394</c:v>
                </c:pt>
                <c:pt idx="1891">
                  <c:v>1.2932028363992765</c:v>
                </c:pt>
                <c:pt idx="1892">
                  <c:v>1.2932028363992765</c:v>
                </c:pt>
                <c:pt idx="1893">
                  <c:v>1.2932028363992765</c:v>
                </c:pt>
                <c:pt idx="1894">
                  <c:v>1.2932028363992765</c:v>
                </c:pt>
                <c:pt idx="1895">
                  <c:v>1.2932028363992765</c:v>
                </c:pt>
                <c:pt idx="1896">
                  <c:v>1.2800855721902187</c:v>
                </c:pt>
                <c:pt idx="1897">
                  <c:v>1.2662332294842249</c:v>
                </c:pt>
                <c:pt idx="1898">
                  <c:v>1.2843563093745631</c:v>
                </c:pt>
                <c:pt idx="1899">
                  <c:v>1.2872700542600108</c:v>
                </c:pt>
                <c:pt idx="1900">
                  <c:v>1.2872700542600108</c:v>
                </c:pt>
                <c:pt idx="1901">
                  <c:v>1.2872700542600108</c:v>
                </c:pt>
                <c:pt idx="1902">
                  <c:v>1.2702550043396199</c:v>
                </c:pt>
                <c:pt idx="1903">
                  <c:v>1.2706781418947508</c:v>
                </c:pt>
                <c:pt idx="1904">
                  <c:v>1.27802597474164</c:v>
                </c:pt>
                <c:pt idx="1905">
                  <c:v>1.2896297841604851</c:v>
                </c:pt>
                <c:pt idx="1906">
                  <c:v>1.2723470751354531</c:v>
                </c:pt>
                <c:pt idx="1907">
                  <c:v>1.2723470751354531</c:v>
                </c:pt>
                <c:pt idx="1908">
                  <c:v>1.2723470751354531</c:v>
                </c:pt>
                <c:pt idx="1909">
                  <c:v>1.2800088170057997</c:v>
                </c:pt>
                <c:pt idx="1910">
                  <c:v>1.2872060916063284</c:v>
                </c:pt>
                <c:pt idx="1911">
                  <c:v>1.2615993812351285</c:v>
                </c:pt>
                <c:pt idx="1912">
                  <c:v>1.2607107923693537</c:v>
                </c:pt>
                <c:pt idx="1913">
                  <c:v>1.246207998677449</c:v>
                </c:pt>
                <c:pt idx="1914">
                  <c:v>1.246207998677449</c:v>
                </c:pt>
                <c:pt idx="1915">
                  <c:v>1.246207998677449</c:v>
                </c:pt>
                <c:pt idx="1916">
                  <c:v>1.2460594085127403</c:v>
                </c:pt>
                <c:pt idx="1917">
                  <c:v>1.2147452613514027</c:v>
                </c:pt>
                <c:pt idx="1918">
                  <c:v>1.2167408961462991</c:v>
                </c:pt>
                <c:pt idx="1919">
                  <c:v>1.2122605582660411</c:v>
                </c:pt>
                <c:pt idx="1920">
                  <c:v>1.2005327597031343</c:v>
                </c:pt>
                <c:pt idx="1921">
                  <c:v>1.2005327597031343</c:v>
                </c:pt>
                <c:pt idx="1922">
                  <c:v>1.2005327597031343</c:v>
                </c:pt>
                <c:pt idx="1923">
                  <c:v>1.2012973594248475</c:v>
                </c:pt>
                <c:pt idx="1924">
                  <c:v>1.1932754586122269</c:v>
                </c:pt>
                <c:pt idx="1925">
                  <c:v>1.1855536902515009</c:v>
                </c:pt>
                <c:pt idx="1926">
                  <c:v>1.1642993924531939</c:v>
                </c:pt>
                <c:pt idx="1927">
                  <c:v>1.1552688497940402</c:v>
                </c:pt>
                <c:pt idx="1928">
                  <c:v>1.1552688497940402</c:v>
                </c:pt>
                <c:pt idx="1929">
                  <c:v>1.1552688497940402</c:v>
                </c:pt>
                <c:pt idx="1930">
                  <c:v>1.1658807460603924</c:v>
                </c:pt>
                <c:pt idx="1931">
                  <c:v>1.1754416867246986</c:v>
                </c:pt>
                <c:pt idx="1932">
                  <c:v>1.1758038137486246</c:v>
                </c:pt>
                <c:pt idx="1933">
                  <c:v>1.1718430494244343</c:v>
                </c:pt>
                <c:pt idx="1934">
                  <c:v>1.1830630829211841</c:v>
                </c:pt>
                <c:pt idx="1935">
                  <c:v>1.1830630829211841</c:v>
                </c:pt>
                <c:pt idx="1936">
                  <c:v>1.1830630829211841</c:v>
                </c:pt>
                <c:pt idx="1937">
                  <c:v>1.2016083163258275</c:v>
                </c:pt>
                <c:pt idx="1938">
                  <c:v>1.1888649876306066</c:v>
                </c:pt>
                <c:pt idx="1939">
                  <c:v>1.1979870460865678</c:v>
                </c:pt>
                <c:pt idx="1940">
                  <c:v>1.1979870460865678</c:v>
                </c:pt>
                <c:pt idx="1941">
                  <c:v>1.1979870460865678</c:v>
                </c:pt>
                <c:pt idx="1942">
                  <c:v>1.1979870460865678</c:v>
                </c:pt>
                <c:pt idx="1943">
                  <c:v>1.1979870460865678</c:v>
                </c:pt>
                <c:pt idx="1944">
                  <c:v>1.2071533863796939</c:v>
                </c:pt>
                <c:pt idx="1945">
                  <c:v>1.191239478143469</c:v>
                </c:pt>
                <c:pt idx="1946">
                  <c:v>1.1882627546451645</c:v>
                </c:pt>
                <c:pt idx="1947">
                  <c:v>1.1992869640175632</c:v>
                </c:pt>
                <c:pt idx="1948">
                  <c:v>1.1974822331428887</c:v>
                </c:pt>
                <c:pt idx="1949">
                  <c:v>1.1974822331428887</c:v>
                </c:pt>
                <c:pt idx="1950">
                  <c:v>1.1974822331428887</c:v>
                </c:pt>
                <c:pt idx="1951">
                  <c:v>1.1919676683546243</c:v>
                </c:pt>
                <c:pt idx="1952">
                  <c:v>1.1900930705813122</c:v>
                </c:pt>
                <c:pt idx="1953">
                  <c:v>1.1752783359476018</c:v>
                </c:pt>
                <c:pt idx="1954">
                  <c:v>1.1971338826905251</c:v>
                </c:pt>
                <c:pt idx="1955">
                  <c:v>1.2065875629048095</c:v>
                </c:pt>
                <c:pt idx="1956">
                  <c:v>1.2065875629048095</c:v>
                </c:pt>
                <c:pt idx="1957">
                  <c:v>1.2065875629048095</c:v>
                </c:pt>
                <c:pt idx="1958">
                  <c:v>1.1969046011780935</c:v>
                </c:pt>
                <c:pt idx="1959">
                  <c:v>1.2013455774253163</c:v>
                </c:pt>
                <c:pt idx="1960">
                  <c:v>1.2105060134734869</c:v>
                </c:pt>
                <c:pt idx="1961">
                  <c:v>1.1929782782828091</c:v>
                </c:pt>
                <c:pt idx="1962">
                  <c:v>1.2044315294552939</c:v>
                </c:pt>
                <c:pt idx="1963">
                  <c:v>1.2044315294552939</c:v>
                </c:pt>
                <c:pt idx="1964">
                  <c:v>1.2044315294552939</c:v>
                </c:pt>
                <c:pt idx="1965">
                  <c:v>1.1994217776107092</c:v>
                </c:pt>
                <c:pt idx="1966">
                  <c:v>1.1714376246041693</c:v>
                </c:pt>
                <c:pt idx="1967">
                  <c:v>1.1788710690029105</c:v>
                </c:pt>
                <c:pt idx="1968">
                  <c:v>1.1609064196855399</c:v>
                </c:pt>
                <c:pt idx="1969">
                  <c:v>1.1929015230983901</c:v>
                </c:pt>
                <c:pt idx="1970">
                  <c:v>1.1929015230983901</c:v>
                </c:pt>
                <c:pt idx="1971">
                  <c:v>1.1929015230983901</c:v>
                </c:pt>
                <c:pt idx="1972">
                  <c:v>1.1835216459460469</c:v>
                </c:pt>
                <c:pt idx="1973">
                  <c:v>1.1937714151884731</c:v>
                </c:pt>
                <c:pt idx="1974">
                  <c:v>1.1974586161630674</c:v>
                </c:pt>
                <c:pt idx="1975">
                  <c:v>1.1922894497046892</c:v>
                </c:pt>
                <c:pt idx="1976">
                  <c:v>1.1984800505403366</c:v>
                </c:pt>
                <c:pt idx="1977">
                  <c:v>1.1984800505403366</c:v>
                </c:pt>
                <c:pt idx="1978">
                  <c:v>1.1984800505403366</c:v>
                </c:pt>
                <c:pt idx="1979">
                  <c:v>1.2100366259995392</c:v>
                </c:pt>
                <c:pt idx="1980">
                  <c:v>1.2357624053106715</c:v>
                </c:pt>
                <c:pt idx="1981">
                  <c:v>1.225813752560966</c:v>
                </c:pt>
                <c:pt idx="1982">
                  <c:v>1.2341072486415314</c:v>
                </c:pt>
                <c:pt idx="1983">
                  <c:v>1.2391839152622763</c:v>
                </c:pt>
                <c:pt idx="1984">
                  <c:v>1.2391839152622763</c:v>
                </c:pt>
                <c:pt idx="1985">
                  <c:v>1.2391839152622763</c:v>
                </c:pt>
                <c:pt idx="1986">
                  <c:v>1.2494681259336087</c:v>
                </c:pt>
                <c:pt idx="1987">
                  <c:v>1.2543273195318327</c:v>
                </c:pt>
                <c:pt idx="1988">
                  <c:v>1.2488826216422064</c:v>
                </c:pt>
                <c:pt idx="1989">
                  <c:v>1.2401030093936536</c:v>
                </c:pt>
                <c:pt idx="1990">
                  <c:v>1.2462572007187434</c:v>
                </c:pt>
                <c:pt idx="1991">
                  <c:v>1.2462572007187434</c:v>
                </c:pt>
                <c:pt idx="1992">
                  <c:v>1.2462572007187434</c:v>
                </c:pt>
                <c:pt idx="1993">
                  <c:v>1.2358578572707823</c:v>
                </c:pt>
                <c:pt idx="1994">
                  <c:v>1.2612913764566263</c:v>
                </c:pt>
                <c:pt idx="1995">
                  <c:v>1.2545585691259156</c:v>
                </c:pt>
                <c:pt idx="1996">
                  <c:v>1.2570668891910985</c:v>
                </c:pt>
                <c:pt idx="1997">
                  <c:v>1.2633076761088662</c:v>
                </c:pt>
                <c:pt idx="1998">
                  <c:v>1.2633076761088662</c:v>
                </c:pt>
                <c:pt idx="1999">
                  <c:v>1.2633076761088662</c:v>
                </c:pt>
                <c:pt idx="2000">
                  <c:v>1.2680281199506402</c:v>
                </c:pt>
                <c:pt idx="2001">
                  <c:v>1.291887173815067</c:v>
                </c:pt>
                <c:pt idx="2002">
                  <c:v>1.291887173815067</c:v>
                </c:pt>
                <c:pt idx="2003">
                  <c:v>1.2919836098160038</c:v>
                </c:pt>
                <c:pt idx="2004">
                  <c:v>1.2840335439836728</c:v>
                </c:pt>
                <c:pt idx="2005">
                  <c:v>1.2840335439836728</c:v>
                </c:pt>
                <c:pt idx="2006">
                  <c:v>1.2840335439836728</c:v>
                </c:pt>
                <c:pt idx="2007">
                  <c:v>1.2804486832549709</c:v>
                </c:pt>
                <c:pt idx="2008">
                  <c:v>1.2849034360737557</c:v>
                </c:pt>
                <c:pt idx="2009">
                  <c:v>1.2849034360737557</c:v>
                </c:pt>
                <c:pt idx="2010">
                  <c:v>1.2850166007687323</c:v>
                </c:pt>
                <c:pt idx="2011">
                  <c:v>1.2783920379288696</c:v>
                </c:pt>
                <c:pt idx="2012">
                  <c:v>1.2783920379288696</c:v>
                </c:pt>
                <c:pt idx="2013">
                  <c:v>1.2783920379288696</c:v>
                </c:pt>
                <c:pt idx="2014">
                  <c:v>1.2885886689666981</c:v>
                </c:pt>
                <c:pt idx="2015">
                  <c:v>1.2694638355156078</c:v>
                </c:pt>
                <c:pt idx="2016">
                  <c:v>1.2631895912097599</c:v>
                </c:pt>
                <c:pt idx="2017">
                  <c:v>1.2614665357236339</c:v>
                </c:pt>
                <c:pt idx="2018">
                  <c:v>1.2578039357696871</c:v>
                </c:pt>
                <c:pt idx="2019">
                  <c:v>1.2578039357696871</c:v>
                </c:pt>
                <c:pt idx="2020">
                  <c:v>1.2578039357696871</c:v>
                </c:pt>
                <c:pt idx="2021">
                  <c:v>1.2641037651370077</c:v>
                </c:pt>
                <c:pt idx="2022">
                  <c:v>1.2680379603588994</c:v>
                </c:pt>
                <c:pt idx="2023">
                  <c:v>1.2856709879179464</c:v>
                </c:pt>
                <c:pt idx="2024">
                  <c:v>1.2949111312730142</c:v>
                </c:pt>
                <c:pt idx="2025">
                  <c:v>1.2874088040164609</c:v>
                </c:pt>
                <c:pt idx="2026">
                  <c:v>1.2874088040164609</c:v>
                </c:pt>
                <c:pt idx="2027">
                  <c:v>1.2874088040164609</c:v>
                </c:pt>
                <c:pt idx="2028">
                  <c:v>1.2846121599892932</c:v>
                </c:pt>
                <c:pt idx="2029">
                  <c:v>1.2773637152658186</c:v>
                </c:pt>
                <c:pt idx="2030">
                  <c:v>1.2848867073797157</c:v>
                </c:pt>
                <c:pt idx="2031">
                  <c:v>1.3086119316918217</c:v>
                </c:pt>
                <c:pt idx="2032">
                  <c:v>1.3322554806153797</c:v>
                </c:pt>
                <c:pt idx="2033">
                  <c:v>1.3322554806153797</c:v>
                </c:pt>
                <c:pt idx="2034">
                  <c:v>1.3322554806153797</c:v>
                </c:pt>
                <c:pt idx="2035">
                  <c:v>1.3214930261026669</c:v>
                </c:pt>
                <c:pt idx="2036">
                  <c:v>1.3200268052720969</c:v>
                </c:pt>
                <c:pt idx="2037">
                  <c:v>1.314219980358545</c:v>
                </c:pt>
                <c:pt idx="2038">
                  <c:v>1.3254655989167679</c:v>
                </c:pt>
                <c:pt idx="2039">
                  <c:v>1.33698871698789</c:v>
                </c:pt>
                <c:pt idx="2040">
                  <c:v>1.33698871698789</c:v>
                </c:pt>
                <c:pt idx="2041">
                  <c:v>1.33698871698789</c:v>
                </c:pt>
                <c:pt idx="2042">
                  <c:v>1.3323538846979681</c:v>
                </c:pt>
                <c:pt idx="2043">
                  <c:v>1.3393120373778067</c:v>
                </c:pt>
                <c:pt idx="2044">
                  <c:v>1.3394222499503059</c:v>
                </c:pt>
                <c:pt idx="2045">
                  <c:v>1.3615198707363971</c:v>
                </c:pt>
                <c:pt idx="2046">
                  <c:v>1.3455223190299717</c:v>
                </c:pt>
                <c:pt idx="2047">
                  <c:v>1.3455223190299717</c:v>
                </c:pt>
                <c:pt idx="2048">
                  <c:v>1.3455223190299717</c:v>
                </c:pt>
                <c:pt idx="2049">
                  <c:v>1.3455223190299717</c:v>
                </c:pt>
                <c:pt idx="2050">
                  <c:v>1.3217026267985803</c:v>
                </c:pt>
                <c:pt idx="2051">
                  <c:v>1.3117726708245669</c:v>
                </c:pt>
                <c:pt idx="2052">
                  <c:v>1.3251221686685335</c:v>
                </c:pt>
                <c:pt idx="2053">
                  <c:v>1.3163592851140207</c:v>
                </c:pt>
                <c:pt idx="2054">
                  <c:v>1.3163592851140207</c:v>
                </c:pt>
                <c:pt idx="2055">
                  <c:v>1.3163592851140207</c:v>
                </c:pt>
                <c:pt idx="2056">
                  <c:v>1.3264978577431219</c:v>
                </c:pt>
                <c:pt idx="2057">
                  <c:v>1.3381233160601367</c:v>
                </c:pt>
                <c:pt idx="2058">
                  <c:v>1.3404427002867494</c:v>
                </c:pt>
                <c:pt idx="2059">
                  <c:v>1.3566970866487307</c:v>
                </c:pt>
                <c:pt idx="2060">
                  <c:v>1.3542350165023642</c:v>
                </c:pt>
                <c:pt idx="2061">
                  <c:v>1.3542350165023642</c:v>
                </c:pt>
                <c:pt idx="2062">
                  <c:v>1.3542350165023642</c:v>
                </c:pt>
                <c:pt idx="2063">
                  <c:v>1.3626377411146031</c:v>
                </c:pt>
                <c:pt idx="2064">
                  <c:v>1.3590430399776425</c:v>
                </c:pt>
                <c:pt idx="2065">
                  <c:v>1.3524568547299891</c:v>
                </c:pt>
                <c:pt idx="2066">
                  <c:v>1.3574203566557568</c:v>
                </c:pt>
                <c:pt idx="2067">
                  <c:v>1.3416422460535042</c:v>
                </c:pt>
                <c:pt idx="2068">
                  <c:v>1.3416422460535042</c:v>
                </c:pt>
                <c:pt idx="2069">
                  <c:v>1.3416422460535042</c:v>
                </c:pt>
                <c:pt idx="2070">
                  <c:v>1.3428496641468661</c:v>
                </c:pt>
                <c:pt idx="2071">
                  <c:v>1.3475218899881716</c:v>
                </c:pt>
                <c:pt idx="2072">
                  <c:v>1.3647799979925563</c:v>
                </c:pt>
                <c:pt idx="2073">
                  <c:v>1.3549021961823149</c:v>
                </c:pt>
                <c:pt idx="2074">
                  <c:v>1.3468606145531765</c:v>
                </c:pt>
                <c:pt idx="2075">
                  <c:v>1.3468606145531765</c:v>
                </c:pt>
                <c:pt idx="2076">
                  <c:v>1.3468606145531765</c:v>
                </c:pt>
                <c:pt idx="2077">
                  <c:v>1.3454672127437219</c:v>
                </c:pt>
                <c:pt idx="2078">
                  <c:v>1.344529421836653</c:v>
                </c:pt>
                <c:pt idx="2079">
                  <c:v>1.338220736101899</c:v>
                </c:pt>
                <c:pt idx="2080">
                  <c:v>1.33809379483536</c:v>
                </c:pt>
                <c:pt idx="2081">
                  <c:v>1.3258867683902467</c:v>
                </c:pt>
                <c:pt idx="2082">
                  <c:v>1.3258867683902467</c:v>
                </c:pt>
                <c:pt idx="2083">
                  <c:v>1.3258867683902467</c:v>
                </c:pt>
                <c:pt idx="2084">
                  <c:v>1.3221464292110547</c:v>
                </c:pt>
                <c:pt idx="2085">
                  <c:v>1.3192543332237767</c:v>
                </c:pt>
                <c:pt idx="2086">
                  <c:v>1.3161752694795801</c:v>
                </c:pt>
                <c:pt idx="2087">
                  <c:v>1.321467441041194</c:v>
                </c:pt>
                <c:pt idx="2088">
                  <c:v>1.3211997819365531</c:v>
                </c:pt>
                <c:pt idx="2089">
                  <c:v>1.3211997819365531</c:v>
                </c:pt>
                <c:pt idx="2090">
                  <c:v>1.3211997819365531</c:v>
                </c:pt>
                <c:pt idx="2091">
                  <c:v>1.3158839933951179</c:v>
                </c:pt>
                <c:pt idx="2092">
                  <c:v>1.3261928050870972</c:v>
                </c:pt>
                <c:pt idx="2093">
                  <c:v>1.3279955678801199</c:v>
                </c:pt>
                <c:pt idx="2094">
                  <c:v>1.310739427957387</c:v>
                </c:pt>
                <c:pt idx="2095">
                  <c:v>1.3286568433151151</c:v>
                </c:pt>
                <c:pt idx="2096">
                  <c:v>1.3286568433151151</c:v>
                </c:pt>
                <c:pt idx="2097">
                  <c:v>1.3286568433151151</c:v>
                </c:pt>
                <c:pt idx="2098">
                  <c:v>1.3259595874113623</c:v>
                </c:pt>
                <c:pt idx="2099">
                  <c:v>1.3275822707332481</c:v>
                </c:pt>
                <c:pt idx="2100">
                  <c:v>1.3270715535446136</c:v>
                </c:pt>
                <c:pt idx="2101">
                  <c:v>1.3301427449622027</c:v>
                </c:pt>
                <c:pt idx="2102">
                  <c:v>1.3225459497863647</c:v>
                </c:pt>
                <c:pt idx="2103">
                  <c:v>1.3225459497863647</c:v>
                </c:pt>
                <c:pt idx="2104">
                  <c:v>1.3225459497863647</c:v>
                </c:pt>
                <c:pt idx="2105">
                  <c:v>1.3440698747709643</c:v>
                </c:pt>
                <c:pt idx="2106">
                  <c:v>1.3463931951608807</c:v>
                </c:pt>
                <c:pt idx="2107">
                  <c:v>1.3181453192130033</c:v>
                </c:pt>
                <c:pt idx="2108">
                  <c:v>1.3180725001918878</c:v>
                </c:pt>
                <c:pt idx="2109">
                  <c:v>1.3145250330145695</c:v>
                </c:pt>
                <c:pt idx="2110">
                  <c:v>1.3145250330145695</c:v>
                </c:pt>
                <c:pt idx="2111">
                  <c:v>1.3145250330145695</c:v>
                </c:pt>
                <c:pt idx="2112">
                  <c:v>1.3059983192582691</c:v>
                </c:pt>
                <c:pt idx="2113">
                  <c:v>1.3105780452619415</c:v>
                </c:pt>
                <c:pt idx="2114">
                  <c:v>1.3167804545874997</c:v>
                </c:pt>
                <c:pt idx="2115">
                  <c:v>1.3086316125083395</c:v>
                </c:pt>
                <c:pt idx="2116">
                  <c:v>1.2818105957579966</c:v>
                </c:pt>
                <c:pt idx="2117">
                  <c:v>1.2818105957579966</c:v>
                </c:pt>
                <c:pt idx="2118">
                  <c:v>1.2818105957579966</c:v>
                </c:pt>
                <c:pt idx="2119">
                  <c:v>1.2686746347732474</c:v>
                </c:pt>
                <c:pt idx="2120">
                  <c:v>1.2642966371388813</c:v>
                </c:pt>
                <c:pt idx="2121">
                  <c:v>1.260380154651856</c:v>
                </c:pt>
                <c:pt idx="2122">
                  <c:v>1.2756987181884198</c:v>
                </c:pt>
                <c:pt idx="2123">
                  <c:v>1.2561104015083375</c:v>
                </c:pt>
                <c:pt idx="2124">
                  <c:v>1.2561104015083375</c:v>
                </c:pt>
                <c:pt idx="2125">
                  <c:v>1.2561104015083375</c:v>
                </c:pt>
                <c:pt idx="2126">
                  <c:v>1.2442448372298067</c:v>
                </c:pt>
                <c:pt idx="2127">
                  <c:v>1.2346917688921077</c:v>
                </c:pt>
                <c:pt idx="2128">
                  <c:v>1.2359247720469424</c:v>
                </c:pt>
                <c:pt idx="2129">
                  <c:v>1.2584691473679859</c:v>
                </c:pt>
                <c:pt idx="2130">
                  <c:v>1.2668610475311397</c:v>
                </c:pt>
                <c:pt idx="2131">
                  <c:v>1.2668610475311397</c:v>
                </c:pt>
                <c:pt idx="2132">
                  <c:v>1.2668610475311397</c:v>
                </c:pt>
                <c:pt idx="2133">
                  <c:v>1.2510819528880612</c:v>
                </c:pt>
                <c:pt idx="2134">
                  <c:v>1.2380630927615923</c:v>
                </c:pt>
                <c:pt idx="2135">
                  <c:v>1.239830430084883</c:v>
                </c:pt>
                <c:pt idx="2136">
                  <c:v>1.2614655516828079</c:v>
                </c:pt>
                <c:pt idx="2137">
                  <c:v>1.2616357907456861</c:v>
                </c:pt>
                <c:pt idx="2138">
                  <c:v>1.2616357907456861</c:v>
                </c:pt>
                <c:pt idx="2139">
                  <c:v>1.2616357907456861</c:v>
                </c:pt>
                <c:pt idx="2140">
                  <c:v>1.2531287578059038</c:v>
                </c:pt>
                <c:pt idx="2141">
                  <c:v>1.2590733484350798</c:v>
                </c:pt>
                <c:pt idx="2142">
                  <c:v>1.2621809493632272</c:v>
                </c:pt>
                <c:pt idx="2143">
                  <c:v>1.2571416762938659</c:v>
                </c:pt>
                <c:pt idx="2144">
                  <c:v>1.2538077459757648</c:v>
                </c:pt>
                <c:pt idx="2145">
                  <c:v>1.2538077459757648</c:v>
                </c:pt>
                <c:pt idx="2146">
                  <c:v>1.2538077459757648</c:v>
                </c:pt>
                <c:pt idx="2147">
                  <c:v>1.2398737278812222</c:v>
                </c:pt>
                <c:pt idx="2148">
                  <c:v>1.2145848626967835</c:v>
                </c:pt>
                <c:pt idx="2149">
                  <c:v>1.2164417477352298</c:v>
                </c:pt>
                <c:pt idx="2150">
                  <c:v>1.236058601599263</c:v>
                </c:pt>
                <c:pt idx="2151">
                  <c:v>1.2367651429122488</c:v>
                </c:pt>
                <c:pt idx="2152">
                  <c:v>1.2367651429122488</c:v>
                </c:pt>
                <c:pt idx="2153">
                  <c:v>1.2367651429122488</c:v>
                </c:pt>
                <c:pt idx="2154">
                  <c:v>1.2440539333095848</c:v>
                </c:pt>
                <c:pt idx="2155">
                  <c:v>1.221497749498631</c:v>
                </c:pt>
                <c:pt idx="2156">
                  <c:v>1.2198583374827054</c:v>
                </c:pt>
                <c:pt idx="2157">
                  <c:v>1.2276086430273818</c:v>
                </c:pt>
                <c:pt idx="2158">
                  <c:v>1.2318213218029987</c:v>
                </c:pt>
                <c:pt idx="2159">
                  <c:v>1.2318213218029987</c:v>
                </c:pt>
                <c:pt idx="2160">
                  <c:v>1.2318213218029987</c:v>
                </c:pt>
                <c:pt idx="2161">
                  <c:v>1.2231253530246462</c:v>
                </c:pt>
                <c:pt idx="2162">
                  <c:v>1.2137415397089995</c:v>
                </c:pt>
                <c:pt idx="2163">
                  <c:v>1.2200384169538425</c:v>
                </c:pt>
                <c:pt idx="2164">
                  <c:v>1.2141440124067866</c:v>
                </c:pt>
                <c:pt idx="2165">
                  <c:v>1.1960110921081892</c:v>
                </c:pt>
                <c:pt idx="2166">
                  <c:v>1.1960110921081892</c:v>
                </c:pt>
                <c:pt idx="2167">
                  <c:v>1.1960110921081892</c:v>
                </c:pt>
                <c:pt idx="2168">
                  <c:v>1.2032890580564406</c:v>
                </c:pt>
                <c:pt idx="2169">
                  <c:v>1.2000722285966199</c:v>
                </c:pt>
                <c:pt idx="2170">
                  <c:v>1.1944523714399862</c:v>
                </c:pt>
                <c:pt idx="2171">
                  <c:v>1.1918633600270807</c:v>
                </c:pt>
                <c:pt idx="2172">
                  <c:v>1.1708442479861603</c:v>
                </c:pt>
                <c:pt idx="2173">
                  <c:v>1.1708442479861603</c:v>
                </c:pt>
                <c:pt idx="2174">
                  <c:v>1.1708442479861603</c:v>
                </c:pt>
                <c:pt idx="2175">
                  <c:v>1.1842144106874704</c:v>
                </c:pt>
                <c:pt idx="2176">
                  <c:v>1.1590278857489238</c:v>
                </c:pt>
                <c:pt idx="2177">
                  <c:v>1.1551301000375902</c:v>
                </c:pt>
                <c:pt idx="2178">
                  <c:v>1.1552255519977013</c:v>
                </c:pt>
                <c:pt idx="2179">
                  <c:v>1.1546813774209863</c:v>
                </c:pt>
                <c:pt idx="2180">
                  <c:v>1.1546813774209863</c:v>
                </c:pt>
                <c:pt idx="2181">
                  <c:v>1.1546813774209863</c:v>
                </c:pt>
                <c:pt idx="2182">
                  <c:v>1.1677838810176555</c:v>
                </c:pt>
                <c:pt idx="2183">
                  <c:v>1.1566632356443203</c:v>
                </c:pt>
                <c:pt idx="2184">
                  <c:v>1.1624661243945689</c:v>
                </c:pt>
                <c:pt idx="2185">
                  <c:v>1.2040280727166806</c:v>
                </c:pt>
                <c:pt idx="2186">
                  <c:v>1.2012530775876828</c:v>
                </c:pt>
                <c:pt idx="2187">
                  <c:v>1.2012530775876828</c:v>
                </c:pt>
                <c:pt idx="2188">
                  <c:v>1.2012530775876828</c:v>
                </c:pt>
                <c:pt idx="2189">
                  <c:v>1.1973169142841398</c:v>
                </c:pt>
                <c:pt idx="2190">
                  <c:v>1.1713982629711339</c:v>
                </c:pt>
                <c:pt idx="2191">
                  <c:v>1.1625970018244116</c:v>
                </c:pt>
                <c:pt idx="2192">
                  <c:v>1.1415188473339379</c:v>
                </c:pt>
                <c:pt idx="2193">
                  <c:v>1.1716314806468688</c:v>
                </c:pt>
                <c:pt idx="2194">
                  <c:v>1.1716314806468688</c:v>
                </c:pt>
                <c:pt idx="2195">
                  <c:v>1.1716314806468688</c:v>
                </c:pt>
                <c:pt idx="2196">
                  <c:v>1.1820022869108791</c:v>
                </c:pt>
                <c:pt idx="2197">
                  <c:v>1.184380713587045</c:v>
                </c:pt>
                <c:pt idx="2198">
                  <c:v>1.2104292582890679</c:v>
                </c:pt>
                <c:pt idx="2199">
                  <c:v>1.2048369542755588</c:v>
                </c:pt>
                <c:pt idx="2200">
                  <c:v>1.2027793249086318</c:v>
                </c:pt>
                <c:pt idx="2201">
                  <c:v>1.2027793249086318</c:v>
                </c:pt>
                <c:pt idx="2202">
                  <c:v>1.2027793249086318</c:v>
                </c:pt>
                <c:pt idx="2203">
                  <c:v>1.2124573664312184</c:v>
                </c:pt>
                <c:pt idx="2204">
                  <c:v>1.1998941172071345</c:v>
                </c:pt>
                <c:pt idx="2205">
                  <c:v>1.2117153996485006</c:v>
                </c:pt>
                <c:pt idx="2206">
                  <c:v>1.2408311996048089</c:v>
                </c:pt>
                <c:pt idx="2207">
                  <c:v>1.2514529362794202</c:v>
                </c:pt>
                <c:pt idx="2208">
                  <c:v>1.2514529362794202</c:v>
                </c:pt>
                <c:pt idx="2209">
                  <c:v>1.2514529362794202</c:v>
                </c:pt>
                <c:pt idx="2210">
                  <c:v>1.269536654536723</c:v>
                </c:pt>
                <c:pt idx="2211">
                  <c:v>1.2724976333818134</c:v>
                </c:pt>
                <c:pt idx="2212">
                  <c:v>1.2952368487863821</c:v>
                </c:pt>
                <c:pt idx="2213">
                  <c:v>1.2982489977544187</c:v>
                </c:pt>
                <c:pt idx="2214">
                  <c:v>1.3004089673672379</c:v>
                </c:pt>
                <c:pt idx="2215">
                  <c:v>1.3004089673672379</c:v>
                </c:pt>
                <c:pt idx="2216">
                  <c:v>1.3004089673672379</c:v>
                </c:pt>
                <c:pt idx="2217">
                  <c:v>1.31670861960721</c:v>
                </c:pt>
                <c:pt idx="2218">
                  <c:v>1.31670861960721</c:v>
                </c:pt>
                <c:pt idx="2219">
                  <c:v>1.3304674784347452</c:v>
                </c:pt>
                <c:pt idx="2220">
                  <c:v>1.3312114132991146</c:v>
                </c:pt>
                <c:pt idx="2221">
                  <c:v>1.3312025569316819</c:v>
                </c:pt>
                <c:pt idx="2222">
                  <c:v>1.3312025569316819</c:v>
                </c:pt>
                <c:pt idx="2223">
                  <c:v>1.3312025569316819</c:v>
                </c:pt>
                <c:pt idx="2224">
                  <c:v>1.3335967282610619</c:v>
                </c:pt>
                <c:pt idx="2225">
                  <c:v>1.3392362662342132</c:v>
                </c:pt>
                <c:pt idx="2226">
                  <c:v>1.3403029664894734</c:v>
                </c:pt>
                <c:pt idx="2227">
                  <c:v>1.335653373587163</c:v>
                </c:pt>
                <c:pt idx="2228">
                  <c:v>1.3285613913550043</c:v>
                </c:pt>
                <c:pt idx="2229">
                  <c:v>1.3285613913550043</c:v>
                </c:pt>
                <c:pt idx="2230">
                  <c:v>1.3285613913550043</c:v>
                </c:pt>
                <c:pt idx="2231">
                  <c:v>1.3209262185869566</c:v>
                </c:pt>
                <c:pt idx="2232">
                  <c:v>1.3267222190514238</c:v>
                </c:pt>
                <c:pt idx="2233">
                  <c:v>1.3242463723334952</c:v>
                </c:pt>
                <c:pt idx="2234">
                  <c:v>1.323747463634771</c:v>
                </c:pt>
                <c:pt idx="2235">
                  <c:v>1.3307558023967294</c:v>
                </c:pt>
                <c:pt idx="2236">
                  <c:v>1.3307558023967294</c:v>
                </c:pt>
                <c:pt idx="2237">
                  <c:v>1.3307558023967294</c:v>
                </c:pt>
                <c:pt idx="2238">
                  <c:v>1.329821947652964</c:v>
                </c:pt>
                <c:pt idx="2239">
                  <c:v>1.3244067709881149</c:v>
                </c:pt>
                <c:pt idx="2240">
                  <c:v>1.3299705378176727</c:v>
                </c:pt>
                <c:pt idx="2241">
                  <c:v>1.3212450478145434</c:v>
                </c:pt>
                <c:pt idx="2242">
                  <c:v>1.3247246161748756</c:v>
                </c:pt>
                <c:pt idx="2243">
                  <c:v>1.3247246161748756</c:v>
                </c:pt>
                <c:pt idx="2244">
                  <c:v>1.3247246161748756</c:v>
                </c:pt>
                <c:pt idx="2245">
                  <c:v>1.3217941425953876</c:v>
                </c:pt>
                <c:pt idx="2246">
                  <c:v>1.3281225091466595</c:v>
                </c:pt>
                <c:pt idx="2247">
                  <c:v>1.3281225091466595</c:v>
                </c:pt>
                <c:pt idx="2248">
                  <c:v>1.3053793575787871</c:v>
                </c:pt>
                <c:pt idx="2249">
                  <c:v>1.298245061591115</c:v>
                </c:pt>
                <c:pt idx="2250">
                  <c:v>1.298245061591115</c:v>
                </c:pt>
                <c:pt idx="2251">
                  <c:v>1.298245061591115</c:v>
                </c:pt>
                <c:pt idx="2252">
                  <c:v>1.3183568879905687</c:v>
                </c:pt>
                <c:pt idx="2253">
                  <c:v>1.3220293283527746</c:v>
                </c:pt>
                <c:pt idx="2254">
                  <c:v>1.3259162896150236</c:v>
                </c:pt>
                <c:pt idx="2255">
                  <c:v>1.3093607867603207</c:v>
                </c:pt>
                <c:pt idx="2256">
                  <c:v>1.3017039650941036</c:v>
                </c:pt>
                <c:pt idx="2257">
                  <c:v>1.3017039650941036</c:v>
                </c:pt>
                <c:pt idx="2258">
                  <c:v>1.3017039650941036</c:v>
                </c:pt>
                <c:pt idx="2259">
                  <c:v>1.2987872680861785</c:v>
                </c:pt>
                <c:pt idx="2260">
                  <c:v>1.2952860508276764</c:v>
                </c:pt>
                <c:pt idx="2261">
                  <c:v>1.3081356559320931</c:v>
                </c:pt>
                <c:pt idx="2262">
                  <c:v>1.2879382179807877</c:v>
                </c:pt>
                <c:pt idx="2263">
                  <c:v>1.3188252914236904</c:v>
                </c:pt>
                <c:pt idx="2264">
                  <c:v>1.3188252914236904</c:v>
                </c:pt>
                <c:pt idx="2265">
                  <c:v>1.3188252914236904</c:v>
                </c:pt>
                <c:pt idx="2266">
                  <c:v>1.3282248493925513</c:v>
                </c:pt>
                <c:pt idx="2267">
                  <c:v>1.3383014274496219</c:v>
                </c:pt>
                <c:pt idx="2268">
                  <c:v>1.3327219159668495</c:v>
                </c:pt>
                <c:pt idx="2269">
                  <c:v>1.3272900106079601</c:v>
                </c:pt>
                <c:pt idx="2270">
                  <c:v>1.3224928115817667</c:v>
                </c:pt>
                <c:pt idx="2271">
                  <c:v>1.3224928115817667</c:v>
                </c:pt>
                <c:pt idx="2272">
                  <c:v>1.3224928115817667</c:v>
                </c:pt>
                <c:pt idx="2273">
                  <c:v>1.3114489213928509</c:v>
                </c:pt>
                <c:pt idx="2274">
                  <c:v>1.3245543771119974</c:v>
                </c:pt>
                <c:pt idx="2275">
                  <c:v>1.3178245219037643</c:v>
                </c:pt>
                <c:pt idx="2276">
                  <c:v>1.3280782273094942</c:v>
                </c:pt>
                <c:pt idx="2277">
                  <c:v>1.333881116059743</c:v>
                </c:pt>
                <c:pt idx="2278">
                  <c:v>1.333881116059743</c:v>
                </c:pt>
                <c:pt idx="2279">
                  <c:v>1.333881116059743</c:v>
                </c:pt>
                <c:pt idx="2280">
                  <c:v>1.333881116059743</c:v>
                </c:pt>
                <c:pt idx="2281">
                  <c:v>1.3301427449622027</c:v>
                </c:pt>
                <c:pt idx="2282">
                  <c:v>1.3201370178445961</c:v>
                </c:pt>
                <c:pt idx="2283">
                  <c:v>1.3123680155242277</c:v>
                </c:pt>
                <c:pt idx="2284">
                  <c:v>1.3072962691076127</c:v>
                </c:pt>
                <c:pt idx="2285">
                  <c:v>1.3072962691076127</c:v>
                </c:pt>
                <c:pt idx="2286">
                  <c:v>1.3072962691076127</c:v>
                </c:pt>
                <c:pt idx="2287">
                  <c:v>1.3238389794315786</c:v>
                </c:pt>
                <c:pt idx="2288">
                  <c:v>1.3268629368895255</c:v>
                </c:pt>
                <c:pt idx="2289">
                  <c:v>1.3252983119763673</c:v>
                </c:pt>
                <c:pt idx="2290">
                  <c:v>1.3279532541246071</c:v>
                </c:pt>
                <c:pt idx="2291">
                  <c:v>1.3241066385362195</c:v>
                </c:pt>
                <c:pt idx="2292">
                  <c:v>1.3241066385362195</c:v>
                </c:pt>
                <c:pt idx="2293">
                  <c:v>1.3241066385362195</c:v>
                </c:pt>
                <c:pt idx="2294">
                  <c:v>1.3378241676490672</c:v>
                </c:pt>
                <c:pt idx="2295">
                  <c:v>1.3413598263364748</c:v>
                </c:pt>
                <c:pt idx="2296">
                  <c:v>1.3434951949286471</c:v>
                </c:pt>
                <c:pt idx="2297">
                  <c:v>1.3545144840969161</c:v>
                </c:pt>
                <c:pt idx="2298">
                  <c:v>1.3558990295389373</c:v>
                </c:pt>
                <c:pt idx="2299">
                  <c:v>1.3558990295389373</c:v>
                </c:pt>
                <c:pt idx="2300">
                  <c:v>1.3558990295389373</c:v>
                </c:pt>
                <c:pt idx="2301">
                  <c:v>1.3562050662357878</c:v>
                </c:pt>
                <c:pt idx="2302">
                  <c:v>1.3664902609479461</c:v>
                </c:pt>
                <c:pt idx="2303">
                  <c:v>1.3520563501138534</c:v>
                </c:pt>
                <c:pt idx="2304">
                  <c:v>1.3506540919369661</c:v>
                </c:pt>
                <c:pt idx="2305">
                  <c:v>1.3536839536398686</c:v>
                </c:pt>
                <c:pt idx="2306">
                  <c:v>1.3536839536398686</c:v>
                </c:pt>
                <c:pt idx="2307">
                  <c:v>1.3536839536398686</c:v>
                </c:pt>
                <c:pt idx="2308">
                  <c:v>1.3574331491864933</c:v>
                </c:pt>
                <c:pt idx="2309">
                  <c:v>1.3488414887356845</c:v>
                </c:pt>
                <c:pt idx="2310">
                  <c:v>1.3475396027230377</c:v>
                </c:pt>
                <c:pt idx="2311">
                  <c:v>1.3436349287259228</c:v>
                </c:pt>
                <c:pt idx="2312">
                  <c:v>1.3504681082208736</c:v>
                </c:pt>
                <c:pt idx="2313">
                  <c:v>1.3504681082208736</c:v>
                </c:pt>
                <c:pt idx="2314">
                  <c:v>1.3504681082208736</c:v>
                </c:pt>
                <c:pt idx="2315">
                  <c:v>1.3389479422722288</c:v>
                </c:pt>
                <c:pt idx="2316">
                  <c:v>1.3377050987091348</c:v>
                </c:pt>
                <c:pt idx="2317">
                  <c:v>1.3470505344325725</c:v>
                </c:pt>
                <c:pt idx="2318">
                  <c:v>1.3475632197028589</c:v>
                </c:pt>
                <c:pt idx="2319">
                  <c:v>1.3535028901279054</c:v>
                </c:pt>
                <c:pt idx="2320">
                  <c:v>1.3535028901279054</c:v>
                </c:pt>
                <c:pt idx="2321">
                  <c:v>1.3535028901279054</c:v>
                </c:pt>
                <c:pt idx="2322">
                  <c:v>1.3539279957646881</c:v>
                </c:pt>
                <c:pt idx="2323">
                  <c:v>1.355591024760435</c:v>
                </c:pt>
                <c:pt idx="2324">
                  <c:v>1.3548992440598375</c:v>
                </c:pt>
                <c:pt idx="2325">
                  <c:v>1.3548992440598375</c:v>
                </c:pt>
                <c:pt idx="2326">
                  <c:v>1.3548992440598375</c:v>
                </c:pt>
                <c:pt idx="2327">
                  <c:v>1.3548992440598375</c:v>
                </c:pt>
                <c:pt idx="2328">
                  <c:v>1.3548992440598375</c:v>
                </c:pt>
                <c:pt idx="2329">
                  <c:v>1.3519126801532737</c:v>
                </c:pt>
                <c:pt idx="2330">
                  <c:v>1.3556402268017294</c:v>
                </c:pt>
                <c:pt idx="2331">
                  <c:v>1.3572520856745303</c:v>
                </c:pt>
                <c:pt idx="2332">
                  <c:v>1.3560800930509003</c:v>
                </c:pt>
                <c:pt idx="2333">
                  <c:v>1.3633501866725448</c:v>
                </c:pt>
                <c:pt idx="2334">
                  <c:v>1.3633501866725448</c:v>
                </c:pt>
                <c:pt idx="2335">
                  <c:v>1.3633501866725448</c:v>
                </c:pt>
                <c:pt idx="2336">
                  <c:v>1.3553056529209284</c:v>
                </c:pt>
                <c:pt idx="2337">
                  <c:v>1.3464355089163937</c:v>
                </c:pt>
                <c:pt idx="2338">
                  <c:v>1.3545440053216928</c:v>
                </c:pt>
                <c:pt idx="2339">
                  <c:v>1.3428349035344778</c:v>
                </c:pt>
                <c:pt idx="2340">
                  <c:v>1.3564264754216122</c:v>
                </c:pt>
                <c:pt idx="2341">
                  <c:v>1.3564264754216122</c:v>
                </c:pt>
                <c:pt idx="2342">
                  <c:v>1.3564264754216122</c:v>
                </c:pt>
                <c:pt idx="2343">
                  <c:v>1.3565209433408969</c:v>
                </c:pt>
                <c:pt idx="2344">
                  <c:v>1.367386722140328</c:v>
                </c:pt>
                <c:pt idx="2345">
                  <c:v>1.3628591503004275</c:v>
                </c:pt>
                <c:pt idx="2346">
                  <c:v>1.3688244057869472</c:v>
                </c:pt>
                <c:pt idx="2347">
                  <c:v>1.3679554977376898</c:v>
                </c:pt>
                <c:pt idx="2348">
                  <c:v>1.3679554977376898</c:v>
                </c:pt>
                <c:pt idx="2349">
                  <c:v>1.3679554977376898</c:v>
                </c:pt>
                <c:pt idx="2350">
                  <c:v>1.3740575348990078</c:v>
                </c:pt>
                <c:pt idx="2351">
                  <c:v>1.3642535361507078</c:v>
                </c:pt>
                <c:pt idx="2352">
                  <c:v>1.3611862808964217</c:v>
                </c:pt>
                <c:pt idx="2353">
                  <c:v>1.370083978044081</c:v>
                </c:pt>
                <c:pt idx="2354">
                  <c:v>1.3625009594398048</c:v>
                </c:pt>
                <c:pt idx="2355">
                  <c:v>1.3625009594398048</c:v>
                </c:pt>
                <c:pt idx="2356">
                  <c:v>1.3625009594398048</c:v>
                </c:pt>
                <c:pt idx="2357">
                  <c:v>1.3620079549860362</c:v>
                </c:pt>
                <c:pt idx="2358">
                  <c:v>1.3704480731496584</c:v>
                </c:pt>
                <c:pt idx="2359">
                  <c:v>1.3644090146011976</c:v>
                </c:pt>
                <c:pt idx="2360">
                  <c:v>1.3769063330899471</c:v>
                </c:pt>
                <c:pt idx="2361">
                  <c:v>1.3861543487716217</c:v>
                </c:pt>
                <c:pt idx="2362">
                  <c:v>1.3861543487716217</c:v>
                </c:pt>
                <c:pt idx="2363">
                  <c:v>1.3861543487716217</c:v>
                </c:pt>
                <c:pt idx="2364">
                  <c:v>1.3932266501872628</c:v>
                </c:pt>
                <c:pt idx="2365">
                  <c:v>1.3911217868606931</c:v>
                </c:pt>
                <c:pt idx="2366">
                  <c:v>1.3680096199831135</c:v>
                </c:pt>
                <c:pt idx="2367">
                  <c:v>1.3680096199831135</c:v>
                </c:pt>
                <c:pt idx="2368">
                  <c:v>1.3680381571670643</c:v>
                </c:pt>
                <c:pt idx="2369">
                  <c:v>1.3680381571670643</c:v>
                </c:pt>
                <c:pt idx="2370">
                  <c:v>1.3680381571670643</c:v>
                </c:pt>
                <c:pt idx="2371">
                  <c:v>1.3579468184976056</c:v>
                </c:pt>
                <c:pt idx="2372">
                  <c:v>1.3621693376814819</c:v>
                </c:pt>
                <c:pt idx="2373">
                  <c:v>1.362525560460452</c:v>
                </c:pt>
                <c:pt idx="2374">
                  <c:v>1.362525560460452</c:v>
                </c:pt>
                <c:pt idx="2375">
                  <c:v>1.3624999753989793</c:v>
                </c:pt>
                <c:pt idx="2376">
                  <c:v>1.3624999753989793</c:v>
                </c:pt>
                <c:pt idx="2377">
                  <c:v>1.3624999753989793</c:v>
                </c:pt>
                <c:pt idx="2378">
                  <c:v>1.3696017980393966</c:v>
                </c:pt>
                <c:pt idx="2379">
                  <c:v>1.3639671802703748</c:v>
                </c:pt>
                <c:pt idx="2380">
                  <c:v>1.3564225392583085</c:v>
                </c:pt>
                <c:pt idx="2381">
                  <c:v>1.3348513803140662</c:v>
                </c:pt>
                <c:pt idx="2382">
                  <c:v>1.3296054586712693</c:v>
                </c:pt>
                <c:pt idx="2383">
                  <c:v>1.3296054586712693</c:v>
                </c:pt>
                <c:pt idx="2384">
                  <c:v>1.3296054586712693</c:v>
                </c:pt>
                <c:pt idx="2385">
                  <c:v>1.3231353902410703</c:v>
                </c:pt>
                <c:pt idx="2386">
                  <c:v>1.3271020588102158</c:v>
                </c:pt>
                <c:pt idx="2387">
                  <c:v>1.3328085115595274</c:v>
                </c:pt>
                <c:pt idx="2388">
                  <c:v>1.3288379068270784</c:v>
                </c:pt>
                <c:pt idx="2389">
                  <c:v>1.3281677750246499</c:v>
                </c:pt>
                <c:pt idx="2390">
                  <c:v>1.3281677750246499</c:v>
                </c:pt>
                <c:pt idx="2391">
                  <c:v>1.3281677750246499</c:v>
                </c:pt>
                <c:pt idx="2392">
                  <c:v>1.3247226480932242</c:v>
                </c:pt>
                <c:pt idx="2393">
                  <c:v>1.3201340657221183</c:v>
                </c:pt>
                <c:pt idx="2394">
                  <c:v>1.3119773513163511</c:v>
                </c:pt>
                <c:pt idx="2395">
                  <c:v>1.3135862580666744</c:v>
                </c:pt>
                <c:pt idx="2396">
                  <c:v>1.3042201574858934</c:v>
                </c:pt>
                <c:pt idx="2397">
                  <c:v>1.3042201574858934</c:v>
                </c:pt>
                <c:pt idx="2398">
                  <c:v>1.3042201574858934</c:v>
                </c:pt>
                <c:pt idx="2399">
                  <c:v>1.3087270644684506</c:v>
                </c:pt>
                <c:pt idx="2400">
                  <c:v>1.2947989506188631</c:v>
                </c:pt>
                <c:pt idx="2401">
                  <c:v>1.3031957709861464</c:v>
                </c:pt>
                <c:pt idx="2402">
                  <c:v>1.3030570212296966</c:v>
                </c:pt>
                <c:pt idx="2403">
                  <c:v>1.3184779250121528</c:v>
                </c:pt>
                <c:pt idx="2404">
                  <c:v>1.3184779250121528</c:v>
                </c:pt>
                <c:pt idx="2405">
                  <c:v>1.3184779250121528</c:v>
                </c:pt>
                <c:pt idx="2406">
                  <c:v>1.3071427587387743</c:v>
                </c:pt>
                <c:pt idx="2407">
                  <c:v>1.3012985402738388</c:v>
                </c:pt>
                <c:pt idx="2408">
                  <c:v>1.3015543908885689</c:v>
                </c:pt>
                <c:pt idx="2409">
                  <c:v>1.3016518109303317</c:v>
                </c:pt>
                <c:pt idx="2410">
                  <c:v>1.2831439710770718</c:v>
                </c:pt>
                <c:pt idx="2411">
                  <c:v>1.2831439710770718</c:v>
                </c:pt>
                <c:pt idx="2412">
                  <c:v>1.2831439710770718</c:v>
                </c:pt>
                <c:pt idx="2413">
                  <c:v>1.2868931666236967</c:v>
                </c:pt>
                <c:pt idx="2414">
                  <c:v>1.2868931666236967</c:v>
                </c:pt>
                <c:pt idx="2415">
                  <c:v>1.3024892296731605</c:v>
                </c:pt>
                <c:pt idx="2416">
                  <c:v>1.3014992846023192</c:v>
                </c:pt>
                <c:pt idx="2417">
                  <c:v>1.3058172557463064</c:v>
                </c:pt>
                <c:pt idx="2418">
                  <c:v>1.3058172557463064</c:v>
                </c:pt>
                <c:pt idx="2419">
                  <c:v>1.3058172557463064</c:v>
                </c:pt>
                <c:pt idx="2420">
                  <c:v>1.3039524983812527</c:v>
                </c:pt>
                <c:pt idx="2421">
                  <c:v>1.3072716680869652</c:v>
                </c:pt>
                <c:pt idx="2422">
                  <c:v>1.316252024663999</c:v>
                </c:pt>
                <c:pt idx="2423">
                  <c:v>1.300107850874517</c:v>
                </c:pt>
                <c:pt idx="2424">
                  <c:v>1.2913243024626604</c:v>
                </c:pt>
                <c:pt idx="2425">
                  <c:v>1.2913243024626604</c:v>
                </c:pt>
                <c:pt idx="2426">
                  <c:v>1.2913243024626604</c:v>
                </c:pt>
                <c:pt idx="2427">
                  <c:v>1.2913243024626604</c:v>
                </c:pt>
                <c:pt idx="2428">
                  <c:v>1.2746015126675574</c:v>
                </c:pt>
                <c:pt idx="2429">
                  <c:v>1.272916834773641</c:v>
                </c:pt>
                <c:pt idx="2430">
                  <c:v>1.2630852828822161</c:v>
                </c:pt>
                <c:pt idx="2431">
                  <c:v>1.2589385348419335</c:v>
                </c:pt>
                <c:pt idx="2432">
                  <c:v>1.2589385348419335</c:v>
                </c:pt>
                <c:pt idx="2433">
                  <c:v>1.2589385348419335</c:v>
                </c:pt>
                <c:pt idx="2434">
                  <c:v>1.2558279817913085</c:v>
                </c:pt>
                <c:pt idx="2435">
                  <c:v>1.2549079036191053</c:v>
                </c:pt>
                <c:pt idx="2436">
                  <c:v>1.2560513590587845</c:v>
                </c:pt>
                <c:pt idx="2437">
                  <c:v>1.2637583668071222</c:v>
                </c:pt>
                <c:pt idx="2438">
                  <c:v>1.2583648390404418</c:v>
                </c:pt>
                <c:pt idx="2439">
                  <c:v>1.2583648390404418</c:v>
                </c:pt>
                <c:pt idx="2440">
                  <c:v>1.2583648390404418</c:v>
                </c:pt>
                <c:pt idx="2441">
                  <c:v>1.2653731778024007</c:v>
                </c:pt>
                <c:pt idx="2442">
                  <c:v>1.2633647504767678</c:v>
                </c:pt>
                <c:pt idx="2443">
                  <c:v>1.2663021123420366</c:v>
                </c:pt>
                <c:pt idx="2444">
                  <c:v>1.2706988067520943</c:v>
                </c:pt>
                <c:pt idx="2445">
                  <c:v>1.2786124630738676</c:v>
                </c:pt>
                <c:pt idx="2446">
                  <c:v>1.2786124630738676</c:v>
                </c:pt>
                <c:pt idx="2447">
                  <c:v>1.2786124630738676</c:v>
                </c:pt>
                <c:pt idx="2448">
                  <c:v>1.2786124630738676</c:v>
                </c:pt>
                <c:pt idx="2449">
                  <c:v>1.2702264671556691</c:v>
                </c:pt>
                <c:pt idx="2450">
                  <c:v>1.2702638607070529</c:v>
                </c:pt>
                <c:pt idx="2451">
                  <c:v>1.2744676831152371</c:v>
                </c:pt>
                <c:pt idx="2452">
                  <c:v>1.2640457067282804</c:v>
                </c:pt>
                <c:pt idx="2453">
                  <c:v>1.2640457067282804</c:v>
                </c:pt>
                <c:pt idx="2454">
                  <c:v>1.2640457067282804</c:v>
                </c:pt>
                <c:pt idx="2455">
                  <c:v>1.2584435623065131</c:v>
                </c:pt>
                <c:pt idx="2456">
                  <c:v>1.2547937548833026</c:v>
                </c:pt>
                <c:pt idx="2457">
                  <c:v>1.2616003652759544</c:v>
                </c:pt>
                <c:pt idx="2458">
                  <c:v>1.2710786465108863</c:v>
                </c:pt>
                <c:pt idx="2459">
                  <c:v>1.2531228535609482</c:v>
                </c:pt>
                <c:pt idx="2460">
                  <c:v>1.2531228535609482</c:v>
                </c:pt>
                <c:pt idx="2461">
                  <c:v>1.2531228535609482</c:v>
                </c:pt>
                <c:pt idx="2462">
                  <c:v>1.251482457504197</c:v>
                </c:pt>
                <c:pt idx="2463">
                  <c:v>1.2463831579444566</c:v>
                </c:pt>
                <c:pt idx="2464">
                  <c:v>1.2462611368820466</c:v>
                </c:pt>
                <c:pt idx="2465">
                  <c:v>1.2569369958020815</c:v>
                </c:pt>
                <c:pt idx="2466">
                  <c:v>1.2668315263063632</c:v>
                </c:pt>
                <c:pt idx="2467">
                  <c:v>1.2668315263063632</c:v>
                </c:pt>
                <c:pt idx="2468">
                  <c:v>1.2668315263063632</c:v>
                </c:pt>
                <c:pt idx="2469">
                  <c:v>1.2633804951299819</c:v>
                </c:pt>
                <c:pt idx="2470">
                  <c:v>1.2603703142435974</c:v>
                </c:pt>
                <c:pt idx="2471">
                  <c:v>1.2584652112046824</c:v>
                </c:pt>
                <c:pt idx="2472">
                  <c:v>1.2553152965210219</c:v>
                </c:pt>
                <c:pt idx="2473">
                  <c:v>1.2546914146374102</c:v>
                </c:pt>
                <c:pt idx="2474">
                  <c:v>1.2546914146374102</c:v>
                </c:pt>
                <c:pt idx="2475">
                  <c:v>1.2546914146374102</c:v>
                </c:pt>
                <c:pt idx="2476">
                  <c:v>1.2657028314790721</c:v>
                </c:pt>
                <c:pt idx="2477">
                  <c:v>1.2353550124087547</c:v>
                </c:pt>
                <c:pt idx="2478">
                  <c:v>1.2464235036183178</c:v>
                </c:pt>
                <c:pt idx="2479">
                  <c:v>1.2333928350019383</c:v>
                </c:pt>
                <c:pt idx="2480">
                  <c:v>1.2348826728123294</c:v>
                </c:pt>
                <c:pt idx="2481">
                  <c:v>1.2348826728123294</c:v>
                </c:pt>
                <c:pt idx="2482">
                  <c:v>1.2348826728123294</c:v>
                </c:pt>
                <c:pt idx="2483">
                  <c:v>1.2348826728123294</c:v>
                </c:pt>
                <c:pt idx="2484">
                  <c:v>1.2030824094830044</c:v>
                </c:pt>
                <c:pt idx="2485">
                  <c:v>1.1861391945429032</c:v>
                </c:pt>
                <c:pt idx="2486">
                  <c:v>1.1955269440218534</c:v>
                </c:pt>
                <c:pt idx="2487">
                  <c:v>1.20785992769268</c:v>
                </c:pt>
                <c:pt idx="2488">
                  <c:v>1.20785992769268</c:v>
                </c:pt>
                <c:pt idx="2489">
                  <c:v>1.20785992769268</c:v>
                </c:pt>
                <c:pt idx="2490">
                  <c:v>1.1898490284564922</c:v>
                </c:pt>
                <c:pt idx="2491">
                  <c:v>1.1786801650826886</c:v>
                </c:pt>
                <c:pt idx="2492">
                  <c:v>1.1862631836869646</c:v>
                </c:pt>
                <c:pt idx="2493">
                  <c:v>1.1808007730624728</c:v>
                </c:pt>
                <c:pt idx="2494">
                  <c:v>1.1815082984162846</c:v>
                </c:pt>
                <c:pt idx="2495">
                  <c:v>1.1815082984162846</c:v>
                </c:pt>
                <c:pt idx="2496">
                  <c:v>1.1815082984162846</c:v>
                </c:pt>
                <c:pt idx="2497">
                  <c:v>1.1813685646190089</c:v>
                </c:pt>
                <c:pt idx="2498">
                  <c:v>1.2011999393830848</c:v>
                </c:pt>
                <c:pt idx="2499">
                  <c:v>1.1961429535788579</c:v>
                </c:pt>
                <c:pt idx="2500">
                  <c:v>1.2004314034980681</c:v>
                </c:pt>
                <c:pt idx="2501">
                  <c:v>1.2057845855908869</c:v>
                </c:pt>
                <c:pt idx="2502">
                  <c:v>1.2057845855908869</c:v>
                </c:pt>
                <c:pt idx="2503">
                  <c:v>1.2057845855908869</c:v>
                </c:pt>
                <c:pt idx="2504">
                  <c:v>1.2083608044730558</c:v>
                </c:pt>
                <c:pt idx="2505">
                  <c:v>1.1945133819711911</c:v>
                </c:pt>
                <c:pt idx="2506">
                  <c:v>1.1860998329098678</c:v>
                </c:pt>
                <c:pt idx="2507">
                  <c:v>1.1844131869342993</c:v>
                </c:pt>
                <c:pt idx="2508">
                  <c:v>1.1862710560135716</c:v>
                </c:pt>
                <c:pt idx="2509">
                  <c:v>1.1862710560135716</c:v>
                </c:pt>
                <c:pt idx="2510">
                  <c:v>1.1862710560135716</c:v>
                </c:pt>
                <c:pt idx="2511">
                  <c:v>1.1726824362489148</c:v>
                </c:pt>
                <c:pt idx="2512">
                  <c:v>1.186588901200333</c:v>
                </c:pt>
                <c:pt idx="2513">
                  <c:v>1.180865719756981</c:v>
                </c:pt>
                <c:pt idx="2514">
                  <c:v>1.1783829847532714</c:v>
                </c:pt>
                <c:pt idx="2515">
                  <c:v>1.1621541834527631</c:v>
                </c:pt>
                <c:pt idx="2516">
                  <c:v>1.1621541834527631</c:v>
                </c:pt>
                <c:pt idx="2517">
                  <c:v>1.1621541834527631</c:v>
                </c:pt>
                <c:pt idx="2518">
                  <c:v>1.1489257226303804</c:v>
                </c:pt>
                <c:pt idx="2519">
                  <c:v>1.1521966743356247</c:v>
                </c:pt>
                <c:pt idx="2520">
                  <c:v>1.1515590158804507</c:v>
                </c:pt>
                <c:pt idx="2521">
                  <c:v>1.1593211299150379</c:v>
                </c:pt>
                <c:pt idx="2522">
                  <c:v>1.1513425268987556</c:v>
                </c:pt>
                <c:pt idx="2523">
                  <c:v>1.1513425268987556</c:v>
                </c:pt>
                <c:pt idx="2524">
                  <c:v>1.1513425268987556</c:v>
                </c:pt>
                <c:pt idx="2525">
                  <c:v>1.1099075198431831</c:v>
                </c:pt>
                <c:pt idx="2526">
                  <c:v>1.0849748774377148</c:v>
                </c:pt>
                <c:pt idx="2527">
                  <c:v>1.0834515822392436</c:v>
                </c:pt>
                <c:pt idx="2528">
                  <c:v>1.0883934352668423</c:v>
                </c:pt>
                <c:pt idx="2529">
                  <c:v>1.1005994776711294</c:v>
                </c:pt>
                <c:pt idx="2530">
                  <c:v>1.1005994776711294</c:v>
                </c:pt>
                <c:pt idx="2531">
                  <c:v>1.1005994776711294</c:v>
                </c:pt>
                <c:pt idx="2532">
                  <c:v>1.1142924057633301</c:v>
                </c:pt>
                <c:pt idx="2533">
                  <c:v>1.1079541988037998</c:v>
                </c:pt>
                <c:pt idx="2534">
                  <c:v>1.1008750091023776</c:v>
                </c:pt>
                <c:pt idx="2535">
                  <c:v>1.0943409780184958</c:v>
                </c:pt>
                <c:pt idx="2536">
                  <c:v>1.1015264441291139</c:v>
                </c:pt>
                <c:pt idx="2537">
                  <c:v>1.1015264441291139</c:v>
                </c:pt>
                <c:pt idx="2538">
                  <c:v>1.1015264441291139</c:v>
                </c:pt>
                <c:pt idx="2539">
                  <c:v>1.0861626147145593</c:v>
                </c:pt>
                <c:pt idx="2540">
                  <c:v>1.0850742655611294</c:v>
                </c:pt>
                <c:pt idx="2541">
                  <c:v>1.0906321281457325</c:v>
                </c:pt>
                <c:pt idx="2542">
                  <c:v>1.114733256053327</c:v>
                </c:pt>
                <c:pt idx="2543">
                  <c:v>1.1149034951162051</c:v>
                </c:pt>
                <c:pt idx="2544">
                  <c:v>1.1149034951162051</c:v>
                </c:pt>
                <c:pt idx="2545">
                  <c:v>1.1149034951162051</c:v>
                </c:pt>
                <c:pt idx="2546">
                  <c:v>1.1285767423918882</c:v>
                </c:pt>
                <c:pt idx="2547">
                  <c:v>1.1206001074572578</c:v>
                </c:pt>
                <c:pt idx="2548">
                  <c:v>1.1188967327876498</c:v>
                </c:pt>
                <c:pt idx="2549">
                  <c:v>1.1084363788084837</c:v>
                </c:pt>
                <c:pt idx="2550">
                  <c:v>1.1076019121881326</c:v>
                </c:pt>
                <c:pt idx="2551">
                  <c:v>1.1076019121881326</c:v>
                </c:pt>
                <c:pt idx="2552">
                  <c:v>1.1076019121881326</c:v>
                </c:pt>
                <c:pt idx="2553">
                  <c:v>1.0764648923754547</c:v>
                </c:pt>
                <c:pt idx="2554">
                  <c:v>1.0771291199329276</c:v>
                </c:pt>
                <c:pt idx="2555">
                  <c:v>1.09385682993216</c:v>
                </c:pt>
                <c:pt idx="2556">
                  <c:v>1.0914429777862622</c:v>
                </c:pt>
                <c:pt idx="2557">
                  <c:v>1.1216687757941701</c:v>
                </c:pt>
                <c:pt idx="2558">
                  <c:v>1.1216687757941701</c:v>
                </c:pt>
                <c:pt idx="2559">
                  <c:v>1.1216687757941701</c:v>
                </c:pt>
                <c:pt idx="2560">
                  <c:v>1.1210507981555136</c:v>
                </c:pt>
                <c:pt idx="2561">
                  <c:v>1.1485419467082851</c:v>
                </c:pt>
                <c:pt idx="2562">
                  <c:v>1.1577594571243572</c:v>
                </c:pt>
                <c:pt idx="2563">
                  <c:v>1.1427341377539069</c:v>
                </c:pt>
                <c:pt idx="2564">
                  <c:v>1.1379900769323115</c:v>
                </c:pt>
                <c:pt idx="2565">
                  <c:v>1.1379900769323115</c:v>
                </c:pt>
                <c:pt idx="2566">
                  <c:v>1.1379900769323115</c:v>
                </c:pt>
                <c:pt idx="2567">
                  <c:v>1.1279558126307543</c:v>
                </c:pt>
                <c:pt idx="2568">
                  <c:v>1.1326546075743589</c:v>
                </c:pt>
                <c:pt idx="2569">
                  <c:v>1.1222149184525367</c:v>
                </c:pt>
                <c:pt idx="2570">
                  <c:v>1.0978175942563504</c:v>
                </c:pt>
                <c:pt idx="2571">
                  <c:v>1.1130328335061963</c:v>
                </c:pt>
                <c:pt idx="2572">
                  <c:v>1.1130328335061963</c:v>
                </c:pt>
                <c:pt idx="2573">
                  <c:v>1.1130328335061963</c:v>
                </c:pt>
                <c:pt idx="2574">
                  <c:v>1.1166324548472866</c:v>
                </c:pt>
                <c:pt idx="2575">
                  <c:v>1.1166324548472866</c:v>
                </c:pt>
                <c:pt idx="2576">
                  <c:v>1.0945692754901011</c:v>
                </c:pt>
                <c:pt idx="2577">
                  <c:v>1.102179847237502</c:v>
                </c:pt>
                <c:pt idx="2578">
                  <c:v>1.1017360448250277</c:v>
                </c:pt>
                <c:pt idx="2579">
                  <c:v>1.1017360448250277</c:v>
                </c:pt>
                <c:pt idx="2580">
                  <c:v>1.1017360448250277</c:v>
                </c:pt>
                <c:pt idx="2581">
                  <c:v>1.1249948337856639</c:v>
                </c:pt>
                <c:pt idx="2582">
                  <c:v>1.1084885329722558</c:v>
                </c:pt>
                <c:pt idx="2583">
                  <c:v>1.1095945948605515</c:v>
                </c:pt>
                <c:pt idx="2584">
                  <c:v>1.1116738731256481</c:v>
                </c:pt>
                <c:pt idx="2585">
                  <c:v>1.0968433938387236</c:v>
                </c:pt>
                <c:pt idx="2586">
                  <c:v>1.0968433938387236</c:v>
                </c:pt>
                <c:pt idx="2587">
                  <c:v>1.0968433938387236</c:v>
                </c:pt>
                <c:pt idx="2588">
                  <c:v>1.0909735903123146</c:v>
                </c:pt>
                <c:pt idx="2589">
                  <c:v>1.1003780684853053</c:v>
                </c:pt>
                <c:pt idx="2590">
                  <c:v>1.1157861797370248</c:v>
                </c:pt>
                <c:pt idx="2591">
                  <c:v>1.1347319177578037</c:v>
                </c:pt>
                <c:pt idx="2592">
                  <c:v>1.1038891261520656</c:v>
                </c:pt>
                <c:pt idx="2593">
                  <c:v>1.1038891261520656</c:v>
                </c:pt>
                <c:pt idx="2594">
                  <c:v>1.1038891261520656</c:v>
                </c:pt>
                <c:pt idx="2595">
                  <c:v>1.1006831211413297</c:v>
                </c:pt>
                <c:pt idx="2596">
                  <c:v>1.1314737585832959</c:v>
                </c:pt>
                <c:pt idx="2597">
                  <c:v>1.1393116437614763</c:v>
                </c:pt>
                <c:pt idx="2598">
                  <c:v>1.1482447663788673</c:v>
                </c:pt>
                <c:pt idx="2599">
                  <c:v>1.1794742860291787</c:v>
                </c:pt>
                <c:pt idx="2600">
                  <c:v>1.1794742860291787</c:v>
                </c:pt>
                <c:pt idx="2601">
                  <c:v>1.1794742860291787</c:v>
                </c:pt>
                <c:pt idx="2602">
                  <c:v>1.1701603396121696</c:v>
                </c:pt>
                <c:pt idx="2603">
                  <c:v>1.163108703053872</c:v>
                </c:pt>
                <c:pt idx="2604">
                  <c:v>1.1683044386145491</c:v>
                </c:pt>
                <c:pt idx="2605">
                  <c:v>1.184303958402626</c:v>
                </c:pt>
                <c:pt idx="2606">
                  <c:v>1.1753728038668867</c:v>
                </c:pt>
                <c:pt idx="2607">
                  <c:v>1.1753728038668867</c:v>
                </c:pt>
                <c:pt idx="2608">
                  <c:v>1.1753728038668867</c:v>
                </c:pt>
                <c:pt idx="2609">
                  <c:v>1.1813606922924018</c:v>
                </c:pt>
                <c:pt idx="2610">
                  <c:v>1.1770191041685936</c:v>
                </c:pt>
                <c:pt idx="2611">
                  <c:v>1.1714287682367364</c:v>
                </c:pt>
                <c:pt idx="2612">
                  <c:v>1.1714287682367364</c:v>
                </c:pt>
                <c:pt idx="2613">
                  <c:v>1.1684992786980744</c:v>
                </c:pt>
                <c:pt idx="2614">
                  <c:v>1.1684992786980744</c:v>
                </c:pt>
                <c:pt idx="2615">
                  <c:v>1.1684992786980744</c:v>
                </c:pt>
                <c:pt idx="2616">
                  <c:v>1.1623893692101497</c:v>
                </c:pt>
                <c:pt idx="2617">
                  <c:v>1.1578716377785079</c:v>
                </c:pt>
                <c:pt idx="2618">
                  <c:v>1.1600749051876662</c:v>
                </c:pt>
                <c:pt idx="2619">
                  <c:v>1.1465837054647723</c:v>
                </c:pt>
                <c:pt idx="2620">
                  <c:v>1.1633724259952094</c:v>
                </c:pt>
                <c:pt idx="2621">
                  <c:v>1.1633724259952094</c:v>
                </c:pt>
                <c:pt idx="2622">
                  <c:v>1.1633724259952094</c:v>
                </c:pt>
                <c:pt idx="2623">
                  <c:v>1.1614407538539957</c:v>
                </c:pt>
                <c:pt idx="2624">
                  <c:v>1.169209756174364</c:v>
                </c:pt>
                <c:pt idx="2625">
                  <c:v>1.1554430250202217</c:v>
                </c:pt>
                <c:pt idx="2626">
                  <c:v>1.1435105459655308</c:v>
                </c:pt>
                <c:pt idx="2627">
                  <c:v>1.1404393545479414</c:v>
                </c:pt>
                <c:pt idx="2628">
                  <c:v>1.1404393545479414</c:v>
                </c:pt>
                <c:pt idx="2629">
                  <c:v>1.1404393545479414</c:v>
                </c:pt>
                <c:pt idx="2630">
                  <c:v>1.1519742811089744</c:v>
                </c:pt>
                <c:pt idx="2631">
                  <c:v>1.1425265051396452</c:v>
                </c:pt>
                <c:pt idx="2632">
                  <c:v>1.149093009570781</c:v>
                </c:pt>
                <c:pt idx="2633">
                  <c:v>1.1675595197093538</c:v>
                </c:pt>
                <c:pt idx="2634">
                  <c:v>1.1797193121948242</c:v>
                </c:pt>
                <c:pt idx="2635">
                  <c:v>1.1797193121948242</c:v>
                </c:pt>
                <c:pt idx="2636">
                  <c:v>1.1797193121948242</c:v>
                </c:pt>
                <c:pt idx="2637">
                  <c:v>1.1797193121948242</c:v>
                </c:pt>
                <c:pt idx="2638">
                  <c:v>1.1782324265069108</c:v>
                </c:pt>
                <c:pt idx="2639">
                  <c:v>1.19336795844986</c:v>
                </c:pt>
                <c:pt idx="2640">
                  <c:v>1.2027419313572478</c:v>
                </c:pt>
                <c:pt idx="2641">
                  <c:v>1.1913624832467049</c:v>
                </c:pt>
                <c:pt idx="2642">
                  <c:v>1.1913624832467049</c:v>
                </c:pt>
                <c:pt idx="2643">
                  <c:v>1.1913624832467049</c:v>
                </c:pt>
                <c:pt idx="2644">
                  <c:v>1.1952287796516101</c:v>
                </c:pt>
                <c:pt idx="2645">
                  <c:v>1.197477312938759</c:v>
                </c:pt>
                <c:pt idx="2646">
                  <c:v>1.2146212722073413</c:v>
                </c:pt>
                <c:pt idx="2647">
                  <c:v>1.2199370607487763</c:v>
                </c:pt>
                <c:pt idx="2648">
                  <c:v>1.1968239098303708</c:v>
                </c:pt>
                <c:pt idx="2649">
                  <c:v>1.1968239098303708</c:v>
                </c:pt>
                <c:pt idx="2650">
                  <c:v>1.1968239098303708</c:v>
                </c:pt>
                <c:pt idx="2651">
                  <c:v>1.1909482020590068</c:v>
                </c:pt>
                <c:pt idx="2652">
                  <c:v>1.2079789966326122</c:v>
                </c:pt>
                <c:pt idx="2653">
                  <c:v>1.205697989998209</c:v>
                </c:pt>
                <c:pt idx="2654">
                  <c:v>1.2128175253734925</c:v>
                </c:pt>
                <c:pt idx="2655">
                  <c:v>1.2077241300587078</c:v>
                </c:pt>
                <c:pt idx="2656">
                  <c:v>1.2077241300587078</c:v>
                </c:pt>
                <c:pt idx="2657">
                  <c:v>1.2077241300587078</c:v>
                </c:pt>
                <c:pt idx="2658">
                  <c:v>1.2158404987906137</c:v>
                </c:pt>
                <c:pt idx="2659">
                  <c:v>1.2142857142857144</c:v>
                </c:pt>
                <c:pt idx="2660">
                  <c:v>1.2097296052618629</c:v>
                </c:pt>
                <c:pt idx="2661">
                  <c:v>1.1892635241650904</c:v>
                </c:pt>
                <c:pt idx="2662">
                  <c:v>1.191955859864714</c:v>
                </c:pt>
                <c:pt idx="2663">
                  <c:v>1.191955859864714</c:v>
                </c:pt>
                <c:pt idx="2664">
                  <c:v>1.191955859864714</c:v>
                </c:pt>
                <c:pt idx="2665">
                  <c:v>1.1876024632509952</c:v>
                </c:pt>
                <c:pt idx="2666">
                  <c:v>1.1698237976497166</c:v>
                </c:pt>
                <c:pt idx="2667">
                  <c:v>1.1531580822225151</c:v>
                </c:pt>
                <c:pt idx="2668">
                  <c:v>1.1779588631573146</c:v>
                </c:pt>
                <c:pt idx="2669">
                  <c:v>1.1880452816226437</c:v>
                </c:pt>
                <c:pt idx="2670">
                  <c:v>1.1880452816226437</c:v>
                </c:pt>
                <c:pt idx="2671">
                  <c:v>1.1880452816226437</c:v>
                </c:pt>
                <c:pt idx="2672">
                  <c:v>1.1724659472672199</c:v>
                </c:pt>
                <c:pt idx="2673">
                  <c:v>1.159394932976979</c:v>
                </c:pt>
                <c:pt idx="2674">
                  <c:v>1.1533135606730049</c:v>
                </c:pt>
                <c:pt idx="2675">
                  <c:v>1.1476622142099429</c:v>
                </c:pt>
                <c:pt idx="2676">
                  <c:v>1.156899405442533</c:v>
                </c:pt>
                <c:pt idx="2677">
                  <c:v>1.156899405442533</c:v>
                </c:pt>
                <c:pt idx="2678">
                  <c:v>1.156899405442533</c:v>
                </c:pt>
                <c:pt idx="2679">
                  <c:v>1.1521750254374552</c:v>
                </c:pt>
                <c:pt idx="2680">
                  <c:v>1.1582367169249117</c:v>
                </c:pt>
                <c:pt idx="2681">
                  <c:v>1.1625989699060633</c:v>
                </c:pt>
                <c:pt idx="2682">
                  <c:v>1.1625989699060633</c:v>
                </c:pt>
                <c:pt idx="2683">
                  <c:v>1.1625989699060633</c:v>
                </c:pt>
                <c:pt idx="2684">
                  <c:v>1.1625989699060633</c:v>
                </c:pt>
                <c:pt idx="2685">
                  <c:v>1.1625989699060633</c:v>
                </c:pt>
                <c:pt idx="2686">
                  <c:v>1.1503466775829596</c:v>
                </c:pt>
                <c:pt idx="2687">
                  <c:v>1.1393529734761634</c:v>
                </c:pt>
                <c:pt idx="2688">
                  <c:v>1.1276340312806894</c:v>
                </c:pt>
                <c:pt idx="2689">
                  <c:v>1.1409658163897902</c:v>
                </c:pt>
                <c:pt idx="2690">
                  <c:v>1.11763617648969</c:v>
                </c:pt>
                <c:pt idx="2691">
                  <c:v>1.11763617648969</c:v>
                </c:pt>
                <c:pt idx="2692">
                  <c:v>1.11763617648969</c:v>
                </c:pt>
                <c:pt idx="2693">
                  <c:v>1.1382852891800774</c:v>
                </c:pt>
                <c:pt idx="2694">
                  <c:v>1.1403527589552633</c:v>
                </c:pt>
                <c:pt idx="2695">
                  <c:v>1.1452375376149606</c:v>
                </c:pt>
                <c:pt idx="2696">
                  <c:v>1.1358301073194923</c:v>
                </c:pt>
                <c:pt idx="2697">
                  <c:v>1.1369371532486137</c:v>
                </c:pt>
                <c:pt idx="2698">
                  <c:v>1.1369371532486137</c:v>
                </c:pt>
                <c:pt idx="2699">
                  <c:v>1.1369371532486137</c:v>
                </c:pt>
                <c:pt idx="2700">
                  <c:v>1.1220309028180959</c:v>
                </c:pt>
                <c:pt idx="2701">
                  <c:v>1.1223792532704595</c:v>
                </c:pt>
                <c:pt idx="2702">
                  <c:v>1.0944462703868656</c:v>
                </c:pt>
                <c:pt idx="2703">
                  <c:v>1.0898527678116308</c:v>
                </c:pt>
                <c:pt idx="2704">
                  <c:v>1.0947129454506808</c:v>
                </c:pt>
                <c:pt idx="2705">
                  <c:v>1.0947129454506808</c:v>
                </c:pt>
                <c:pt idx="2706">
                  <c:v>1.0947129454506808</c:v>
                </c:pt>
                <c:pt idx="2707">
                  <c:v>1.1004941853027597</c:v>
                </c:pt>
                <c:pt idx="2708">
                  <c:v>1.0931306078026564</c:v>
                </c:pt>
                <c:pt idx="2709">
                  <c:v>1.0932988787838827</c:v>
                </c:pt>
                <c:pt idx="2710">
                  <c:v>1.094418717243741</c:v>
                </c:pt>
                <c:pt idx="2711">
                  <c:v>1.0939867233211771</c:v>
                </c:pt>
                <c:pt idx="2712">
                  <c:v>1.0939867233211771</c:v>
                </c:pt>
                <c:pt idx="2713">
                  <c:v>1.0939867233211771</c:v>
                </c:pt>
                <c:pt idx="2714">
                  <c:v>1.0878059628937884</c:v>
                </c:pt>
                <c:pt idx="2715">
                  <c:v>1.0844415273100849</c:v>
                </c:pt>
                <c:pt idx="2716">
                  <c:v>1.0664168515023351</c:v>
                </c:pt>
                <c:pt idx="2717">
                  <c:v>1.0629471235502619</c:v>
                </c:pt>
                <c:pt idx="2718">
                  <c:v>1.0502569330596387</c:v>
                </c:pt>
                <c:pt idx="2719">
                  <c:v>1.0502569330596387</c:v>
                </c:pt>
                <c:pt idx="2720">
                  <c:v>1.0502569330596387</c:v>
                </c:pt>
                <c:pt idx="2721">
                  <c:v>1.0552420838835761</c:v>
                </c:pt>
                <c:pt idx="2722">
                  <c:v>1.0526944021853577</c:v>
                </c:pt>
                <c:pt idx="2723">
                  <c:v>1.0482977077753002</c:v>
                </c:pt>
                <c:pt idx="2724">
                  <c:v>1.0371504932996658</c:v>
                </c:pt>
                <c:pt idx="2725">
                  <c:v>1.0294238047348108</c:v>
                </c:pt>
                <c:pt idx="2726">
                  <c:v>1.0294238047348108</c:v>
                </c:pt>
                <c:pt idx="2727">
                  <c:v>1.0294238047348108</c:v>
                </c:pt>
                <c:pt idx="2728">
                  <c:v>1.027568887778016</c:v>
                </c:pt>
                <c:pt idx="2729">
                  <c:v>1.03533887413921</c:v>
                </c:pt>
                <c:pt idx="2730">
                  <c:v>1.0307926055236178</c:v>
                </c:pt>
                <c:pt idx="2731">
                  <c:v>1.0069158389243251</c:v>
                </c:pt>
                <c:pt idx="2732">
                  <c:v>1</c:v>
                </c:pt>
              </c:numCache>
            </c:numRef>
          </c:val>
          <c:smooth val="0"/>
        </c:ser>
        <c:ser>
          <c:idx val="0"/>
          <c:order val="1"/>
          <c:tx>
            <c:strRef>
              <c:f>Sheet2!$Q$1</c:f>
              <c:strCache>
                <c:ptCount val="1"/>
                <c:pt idx="0">
                  <c:v>Ibovespa</c:v>
                </c:pt>
              </c:strCache>
            </c:strRef>
          </c:tx>
          <c:spPr>
            <a:ln w="25400" cap="rnd">
              <a:solidFill>
                <a:schemeClr val="tx1">
                  <a:lumMod val="50000"/>
                  <a:lumOff val="50000"/>
                </a:schemeClr>
              </a:solidFill>
              <a:round/>
            </a:ln>
            <a:effectLst/>
          </c:spPr>
          <c:marker>
            <c:symbol val="none"/>
          </c:marker>
          <c:cat>
            <c:numRef>
              <c:f>Sheet2!$O$3:$O$2735</c:f>
              <c:numCache>
                <c:formatCode>m/d/yyyy</c:formatCode>
                <c:ptCount val="2733"/>
                <c:pt idx="0">
                  <c:v>43640</c:v>
                </c:pt>
                <c:pt idx="1">
                  <c:v>43639</c:v>
                </c:pt>
                <c:pt idx="2">
                  <c:v>43638</c:v>
                </c:pt>
                <c:pt idx="3">
                  <c:v>43637</c:v>
                </c:pt>
                <c:pt idx="4">
                  <c:v>43636</c:v>
                </c:pt>
                <c:pt idx="5">
                  <c:v>43635</c:v>
                </c:pt>
                <c:pt idx="6">
                  <c:v>43634</c:v>
                </c:pt>
                <c:pt idx="7">
                  <c:v>43633</c:v>
                </c:pt>
                <c:pt idx="8">
                  <c:v>43632</c:v>
                </c:pt>
                <c:pt idx="9">
                  <c:v>43631</c:v>
                </c:pt>
                <c:pt idx="10">
                  <c:v>43630</c:v>
                </c:pt>
                <c:pt idx="11">
                  <c:v>43629</c:v>
                </c:pt>
                <c:pt idx="12">
                  <c:v>43628</c:v>
                </c:pt>
                <c:pt idx="13">
                  <c:v>43627</c:v>
                </c:pt>
                <c:pt idx="14">
                  <c:v>43626</c:v>
                </c:pt>
                <c:pt idx="15">
                  <c:v>43625</c:v>
                </c:pt>
                <c:pt idx="16">
                  <c:v>43624</c:v>
                </c:pt>
                <c:pt idx="17">
                  <c:v>43623</c:v>
                </c:pt>
                <c:pt idx="18">
                  <c:v>43622</c:v>
                </c:pt>
                <c:pt idx="19">
                  <c:v>43621</c:v>
                </c:pt>
                <c:pt idx="20">
                  <c:v>43620</c:v>
                </c:pt>
                <c:pt idx="21">
                  <c:v>43619</c:v>
                </c:pt>
                <c:pt idx="22">
                  <c:v>43618</c:v>
                </c:pt>
                <c:pt idx="23">
                  <c:v>43617</c:v>
                </c:pt>
                <c:pt idx="24">
                  <c:v>43616</c:v>
                </c:pt>
                <c:pt idx="25">
                  <c:v>43615</c:v>
                </c:pt>
                <c:pt idx="26">
                  <c:v>43614</c:v>
                </c:pt>
                <c:pt idx="27">
                  <c:v>43613</c:v>
                </c:pt>
                <c:pt idx="28">
                  <c:v>43612</c:v>
                </c:pt>
                <c:pt idx="29">
                  <c:v>43611</c:v>
                </c:pt>
                <c:pt idx="30">
                  <c:v>43610</c:v>
                </c:pt>
                <c:pt idx="31">
                  <c:v>43609</c:v>
                </c:pt>
                <c:pt idx="32">
                  <c:v>43608</c:v>
                </c:pt>
                <c:pt idx="33">
                  <c:v>43607</c:v>
                </c:pt>
                <c:pt idx="34">
                  <c:v>43606</c:v>
                </c:pt>
                <c:pt idx="35">
                  <c:v>43605</c:v>
                </c:pt>
                <c:pt idx="36">
                  <c:v>43604</c:v>
                </c:pt>
                <c:pt idx="37">
                  <c:v>43603</c:v>
                </c:pt>
                <c:pt idx="38">
                  <c:v>43602</c:v>
                </c:pt>
                <c:pt idx="39">
                  <c:v>43601</c:v>
                </c:pt>
                <c:pt idx="40">
                  <c:v>43600</c:v>
                </c:pt>
                <c:pt idx="41">
                  <c:v>43599</c:v>
                </c:pt>
                <c:pt idx="42">
                  <c:v>43598</c:v>
                </c:pt>
                <c:pt idx="43">
                  <c:v>43597</c:v>
                </c:pt>
                <c:pt idx="44">
                  <c:v>43596</c:v>
                </c:pt>
                <c:pt idx="45">
                  <c:v>43595</c:v>
                </c:pt>
                <c:pt idx="46">
                  <c:v>43594</c:v>
                </c:pt>
                <c:pt idx="47">
                  <c:v>43593</c:v>
                </c:pt>
                <c:pt idx="48">
                  <c:v>43592</c:v>
                </c:pt>
                <c:pt idx="49">
                  <c:v>43591</c:v>
                </c:pt>
                <c:pt idx="50">
                  <c:v>43590</c:v>
                </c:pt>
                <c:pt idx="51">
                  <c:v>43589</c:v>
                </c:pt>
                <c:pt idx="52">
                  <c:v>43588</c:v>
                </c:pt>
                <c:pt idx="53">
                  <c:v>43587</c:v>
                </c:pt>
                <c:pt idx="54">
                  <c:v>43586</c:v>
                </c:pt>
                <c:pt idx="55">
                  <c:v>43585</c:v>
                </c:pt>
                <c:pt idx="56">
                  <c:v>43584</c:v>
                </c:pt>
                <c:pt idx="57">
                  <c:v>43583</c:v>
                </c:pt>
                <c:pt idx="58">
                  <c:v>43582</c:v>
                </c:pt>
                <c:pt idx="59">
                  <c:v>43581</c:v>
                </c:pt>
                <c:pt idx="60">
                  <c:v>43580</c:v>
                </c:pt>
                <c:pt idx="61">
                  <c:v>43579</c:v>
                </c:pt>
                <c:pt idx="62">
                  <c:v>43578</c:v>
                </c:pt>
                <c:pt idx="63">
                  <c:v>43577</c:v>
                </c:pt>
                <c:pt idx="64">
                  <c:v>43576</c:v>
                </c:pt>
                <c:pt idx="65">
                  <c:v>43575</c:v>
                </c:pt>
                <c:pt idx="66">
                  <c:v>43574</c:v>
                </c:pt>
                <c:pt idx="67">
                  <c:v>43573</c:v>
                </c:pt>
                <c:pt idx="68">
                  <c:v>43572</c:v>
                </c:pt>
                <c:pt idx="69">
                  <c:v>43571</c:v>
                </c:pt>
                <c:pt idx="70">
                  <c:v>43570</c:v>
                </c:pt>
                <c:pt idx="71">
                  <c:v>43569</c:v>
                </c:pt>
                <c:pt idx="72">
                  <c:v>43568</c:v>
                </c:pt>
                <c:pt idx="73">
                  <c:v>43567</c:v>
                </c:pt>
                <c:pt idx="74">
                  <c:v>43567</c:v>
                </c:pt>
                <c:pt idx="75">
                  <c:v>43566</c:v>
                </c:pt>
                <c:pt idx="76">
                  <c:v>43565</c:v>
                </c:pt>
                <c:pt idx="77">
                  <c:v>43564</c:v>
                </c:pt>
                <c:pt idx="78">
                  <c:v>43563</c:v>
                </c:pt>
                <c:pt idx="79">
                  <c:v>43562</c:v>
                </c:pt>
                <c:pt idx="80">
                  <c:v>43561</c:v>
                </c:pt>
                <c:pt idx="81">
                  <c:v>43560</c:v>
                </c:pt>
                <c:pt idx="82">
                  <c:v>43559</c:v>
                </c:pt>
                <c:pt idx="83">
                  <c:v>43558</c:v>
                </c:pt>
                <c:pt idx="84">
                  <c:v>43557</c:v>
                </c:pt>
                <c:pt idx="85">
                  <c:v>43556</c:v>
                </c:pt>
                <c:pt idx="86">
                  <c:v>43555</c:v>
                </c:pt>
                <c:pt idx="87">
                  <c:v>43554</c:v>
                </c:pt>
                <c:pt idx="88">
                  <c:v>43553</c:v>
                </c:pt>
                <c:pt idx="89">
                  <c:v>43552</c:v>
                </c:pt>
                <c:pt idx="90">
                  <c:v>43551</c:v>
                </c:pt>
                <c:pt idx="91">
                  <c:v>43550</c:v>
                </c:pt>
                <c:pt idx="92">
                  <c:v>43549</c:v>
                </c:pt>
                <c:pt idx="93">
                  <c:v>43548</c:v>
                </c:pt>
                <c:pt idx="94">
                  <c:v>43547</c:v>
                </c:pt>
                <c:pt idx="95">
                  <c:v>43546</c:v>
                </c:pt>
                <c:pt idx="96">
                  <c:v>43545</c:v>
                </c:pt>
                <c:pt idx="97">
                  <c:v>43544</c:v>
                </c:pt>
                <c:pt idx="98">
                  <c:v>43543</c:v>
                </c:pt>
                <c:pt idx="99">
                  <c:v>43542</c:v>
                </c:pt>
                <c:pt idx="100">
                  <c:v>43541</c:v>
                </c:pt>
                <c:pt idx="101">
                  <c:v>43540</c:v>
                </c:pt>
                <c:pt idx="102">
                  <c:v>43539</c:v>
                </c:pt>
                <c:pt idx="103">
                  <c:v>43538</c:v>
                </c:pt>
                <c:pt idx="104">
                  <c:v>43537</c:v>
                </c:pt>
                <c:pt idx="105">
                  <c:v>43536</c:v>
                </c:pt>
                <c:pt idx="106">
                  <c:v>43535</c:v>
                </c:pt>
                <c:pt idx="107">
                  <c:v>43534</c:v>
                </c:pt>
                <c:pt idx="108">
                  <c:v>43533</c:v>
                </c:pt>
                <c:pt idx="109">
                  <c:v>43532</c:v>
                </c:pt>
                <c:pt idx="110">
                  <c:v>43531</c:v>
                </c:pt>
                <c:pt idx="111">
                  <c:v>43530</c:v>
                </c:pt>
                <c:pt idx="112">
                  <c:v>43529</c:v>
                </c:pt>
                <c:pt idx="113">
                  <c:v>43528</c:v>
                </c:pt>
                <c:pt idx="114">
                  <c:v>43527</c:v>
                </c:pt>
                <c:pt idx="115">
                  <c:v>43526</c:v>
                </c:pt>
                <c:pt idx="116">
                  <c:v>43525</c:v>
                </c:pt>
                <c:pt idx="117">
                  <c:v>43524</c:v>
                </c:pt>
                <c:pt idx="118">
                  <c:v>43523</c:v>
                </c:pt>
                <c:pt idx="119">
                  <c:v>43522</c:v>
                </c:pt>
                <c:pt idx="120">
                  <c:v>43521</c:v>
                </c:pt>
                <c:pt idx="121">
                  <c:v>43520</c:v>
                </c:pt>
                <c:pt idx="122">
                  <c:v>43519</c:v>
                </c:pt>
                <c:pt idx="123">
                  <c:v>43518</c:v>
                </c:pt>
                <c:pt idx="124">
                  <c:v>43517</c:v>
                </c:pt>
                <c:pt idx="125">
                  <c:v>43516</c:v>
                </c:pt>
                <c:pt idx="126">
                  <c:v>43515</c:v>
                </c:pt>
                <c:pt idx="127">
                  <c:v>43514</c:v>
                </c:pt>
                <c:pt idx="128">
                  <c:v>43513</c:v>
                </c:pt>
                <c:pt idx="129">
                  <c:v>43512</c:v>
                </c:pt>
                <c:pt idx="130">
                  <c:v>43511</c:v>
                </c:pt>
                <c:pt idx="131">
                  <c:v>43510</c:v>
                </c:pt>
                <c:pt idx="132">
                  <c:v>43509</c:v>
                </c:pt>
                <c:pt idx="133">
                  <c:v>43508</c:v>
                </c:pt>
                <c:pt idx="134">
                  <c:v>43507</c:v>
                </c:pt>
                <c:pt idx="135">
                  <c:v>43506</c:v>
                </c:pt>
                <c:pt idx="136">
                  <c:v>43505</c:v>
                </c:pt>
                <c:pt idx="137">
                  <c:v>43504</c:v>
                </c:pt>
                <c:pt idx="138">
                  <c:v>43503</c:v>
                </c:pt>
                <c:pt idx="139">
                  <c:v>43502</c:v>
                </c:pt>
                <c:pt idx="140">
                  <c:v>43501</c:v>
                </c:pt>
                <c:pt idx="141">
                  <c:v>43500</c:v>
                </c:pt>
                <c:pt idx="142">
                  <c:v>43499</c:v>
                </c:pt>
                <c:pt idx="143">
                  <c:v>43498</c:v>
                </c:pt>
                <c:pt idx="144">
                  <c:v>43497</c:v>
                </c:pt>
                <c:pt idx="145">
                  <c:v>43496</c:v>
                </c:pt>
                <c:pt idx="146">
                  <c:v>43495</c:v>
                </c:pt>
                <c:pt idx="147">
                  <c:v>43494</c:v>
                </c:pt>
                <c:pt idx="148">
                  <c:v>43493</c:v>
                </c:pt>
                <c:pt idx="149">
                  <c:v>43492</c:v>
                </c:pt>
                <c:pt idx="150">
                  <c:v>43491</c:v>
                </c:pt>
                <c:pt idx="151">
                  <c:v>43490</c:v>
                </c:pt>
                <c:pt idx="152">
                  <c:v>43489</c:v>
                </c:pt>
                <c:pt idx="153">
                  <c:v>43488</c:v>
                </c:pt>
                <c:pt idx="154">
                  <c:v>43487</c:v>
                </c:pt>
                <c:pt idx="155">
                  <c:v>43486</c:v>
                </c:pt>
                <c:pt idx="156">
                  <c:v>43485</c:v>
                </c:pt>
                <c:pt idx="157">
                  <c:v>43484</c:v>
                </c:pt>
                <c:pt idx="158">
                  <c:v>43483</c:v>
                </c:pt>
                <c:pt idx="159">
                  <c:v>43482</c:v>
                </c:pt>
                <c:pt idx="160">
                  <c:v>43481</c:v>
                </c:pt>
                <c:pt idx="161">
                  <c:v>43480</c:v>
                </c:pt>
                <c:pt idx="162">
                  <c:v>43479</c:v>
                </c:pt>
                <c:pt idx="163">
                  <c:v>43478</c:v>
                </c:pt>
                <c:pt idx="164">
                  <c:v>43477</c:v>
                </c:pt>
                <c:pt idx="165">
                  <c:v>43476</c:v>
                </c:pt>
                <c:pt idx="166">
                  <c:v>43475</c:v>
                </c:pt>
                <c:pt idx="167">
                  <c:v>43474</c:v>
                </c:pt>
                <c:pt idx="168">
                  <c:v>43473</c:v>
                </c:pt>
                <c:pt idx="169">
                  <c:v>43472</c:v>
                </c:pt>
                <c:pt idx="170">
                  <c:v>43471</c:v>
                </c:pt>
                <c:pt idx="171">
                  <c:v>43470</c:v>
                </c:pt>
                <c:pt idx="172">
                  <c:v>43469</c:v>
                </c:pt>
                <c:pt idx="173">
                  <c:v>43468</c:v>
                </c:pt>
                <c:pt idx="174">
                  <c:v>43467</c:v>
                </c:pt>
                <c:pt idx="175">
                  <c:v>43466</c:v>
                </c:pt>
                <c:pt idx="176">
                  <c:v>43465</c:v>
                </c:pt>
                <c:pt idx="177">
                  <c:v>43464</c:v>
                </c:pt>
                <c:pt idx="178">
                  <c:v>43463</c:v>
                </c:pt>
                <c:pt idx="179">
                  <c:v>43462</c:v>
                </c:pt>
                <c:pt idx="180">
                  <c:v>43461</c:v>
                </c:pt>
                <c:pt idx="181">
                  <c:v>43460</c:v>
                </c:pt>
                <c:pt idx="182">
                  <c:v>43459</c:v>
                </c:pt>
                <c:pt idx="183">
                  <c:v>43458</c:v>
                </c:pt>
                <c:pt idx="184">
                  <c:v>43457</c:v>
                </c:pt>
                <c:pt idx="185">
                  <c:v>43456</c:v>
                </c:pt>
                <c:pt idx="186">
                  <c:v>43455</c:v>
                </c:pt>
                <c:pt idx="187">
                  <c:v>43454</c:v>
                </c:pt>
                <c:pt idx="188">
                  <c:v>43453</c:v>
                </c:pt>
                <c:pt idx="189">
                  <c:v>43452</c:v>
                </c:pt>
                <c:pt idx="190">
                  <c:v>43451</c:v>
                </c:pt>
                <c:pt idx="191">
                  <c:v>43450</c:v>
                </c:pt>
                <c:pt idx="192">
                  <c:v>43449</c:v>
                </c:pt>
                <c:pt idx="193">
                  <c:v>43448</c:v>
                </c:pt>
                <c:pt idx="194">
                  <c:v>43447</c:v>
                </c:pt>
                <c:pt idx="195">
                  <c:v>43446</c:v>
                </c:pt>
                <c:pt idx="196">
                  <c:v>43445</c:v>
                </c:pt>
                <c:pt idx="197">
                  <c:v>43444</c:v>
                </c:pt>
                <c:pt idx="198">
                  <c:v>43443</c:v>
                </c:pt>
                <c:pt idx="199">
                  <c:v>43442</c:v>
                </c:pt>
                <c:pt idx="200">
                  <c:v>43441</c:v>
                </c:pt>
                <c:pt idx="201">
                  <c:v>43440</c:v>
                </c:pt>
                <c:pt idx="202">
                  <c:v>43439</c:v>
                </c:pt>
                <c:pt idx="203">
                  <c:v>43438</c:v>
                </c:pt>
                <c:pt idx="204">
                  <c:v>43437</c:v>
                </c:pt>
                <c:pt idx="205">
                  <c:v>43436</c:v>
                </c:pt>
                <c:pt idx="206">
                  <c:v>43435</c:v>
                </c:pt>
                <c:pt idx="207">
                  <c:v>43434</c:v>
                </c:pt>
                <c:pt idx="208">
                  <c:v>43433</c:v>
                </c:pt>
                <c:pt idx="209">
                  <c:v>43432</c:v>
                </c:pt>
                <c:pt idx="210">
                  <c:v>43431</c:v>
                </c:pt>
                <c:pt idx="211">
                  <c:v>43430</c:v>
                </c:pt>
                <c:pt idx="212">
                  <c:v>43429</c:v>
                </c:pt>
                <c:pt idx="213">
                  <c:v>43428</c:v>
                </c:pt>
                <c:pt idx="214">
                  <c:v>43427</c:v>
                </c:pt>
                <c:pt idx="215">
                  <c:v>43426</c:v>
                </c:pt>
                <c:pt idx="216">
                  <c:v>43425</c:v>
                </c:pt>
                <c:pt idx="217">
                  <c:v>43424</c:v>
                </c:pt>
                <c:pt idx="218">
                  <c:v>43423</c:v>
                </c:pt>
                <c:pt idx="219">
                  <c:v>43422</c:v>
                </c:pt>
                <c:pt idx="220">
                  <c:v>43421</c:v>
                </c:pt>
                <c:pt idx="221">
                  <c:v>43420</c:v>
                </c:pt>
                <c:pt idx="222">
                  <c:v>43419</c:v>
                </c:pt>
                <c:pt idx="223">
                  <c:v>43418</c:v>
                </c:pt>
                <c:pt idx="224">
                  <c:v>43417</c:v>
                </c:pt>
                <c:pt idx="225">
                  <c:v>43416</c:v>
                </c:pt>
                <c:pt idx="226">
                  <c:v>43415</c:v>
                </c:pt>
                <c:pt idx="227">
                  <c:v>43414</c:v>
                </c:pt>
                <c:pt idx="228">
                  <c:v>43413</c:v>
                </c:pt>
                <c:pt idx="229">
                  <c:v>43412</c:v>
                </c:pt>
                <c:pt idx="230">
                  <c:v>43411</c:v>
                </c:pt>
                <c:pt idx="231">
                  <c:v>43410</c:v>
                </c:pt>
                <c:pt idx="232">
                  <c:v>43409</c:v>
                </c:pt>
                <c:pt idx="233">
                  <c:v>43408</c:v>
                </c:pt>
                <c:pt idx="234">
                  <c:v>43407</c:v>
                </c:pt>
                <c:pt idx="235">
                  <c:v>43406</c:v>
                </c:pt>
                <c:pt idx="236">
                  <c:v>43405</c:v>
                </c:pt>
                <c:pt idx="237">
                  <c:v>43404</c:v>
                </c:pt>
                <c:pt idx="238">
                  <c:v>43403</c:v>
                </c:pt>
                <c:pt idx="239">
                  <c:v>43402</c:v>
                </c:pt>
                <c:pt idx="240">
                  <c:v>43401</c:v>
                </c:pt>
                <c:pt idx="241">
                  <c:v>43400</c:v>
                </c:pt>
                <c:pt idx="242">
                  <c:v>43399</c:v>
                </c:pt>
                <c:pt idx="243">
                  <c:v>43398</c:v>
                </c:pt>
                <c:pt idx="244">
                  <c:v>43397</c:v>
                </c:pt>
                <c:pt idx="245">
                  <c:v>43396</c:v>
                </c:pt>
                <c:pt idx="246">
                  <c:v>43395</c:v>
                </c:pt>
                <c:pt idx="247">
                  <c:v>43394</c:v>
                </c:pt>
                <c:pt idx="248">
                  <c:v>43393</c:v>
                </c:pt>
                <c:pt idx="249">
                  <c:v>43392</c:v>
                </c:pt>
                <c:pt idx="250">
                  <c:v>43391</c:v>
                </c:pt>
                <c:pt idx="251">
                  <c:v>43390</c:v>
                </c:pt>
                <c:pt idx="252">
                  <c:v>43389</c:v>
                </c:pt>
                <c:pt idx="253">
                  <c:v>43388</c:v>
                </c:pt>
                <c:pt idx="254">
                  <c:v>43387</c:v>
                </c:pt>
                <c:pt idx="255">
                  <c:v>43386</c:v>
                </c:pt>
                <c:pt idx="256">
                  <c:v>43385</c:v>
                </c:pt>
                <c:pt idx="257">
                  <c:v>43384</c:v>
                </c:pt>
                <c:pt idx="258">
                  <c:v>43383</c:v>
                </c:pt>
                <c:pt idx="259">
                  <c:v>43382</c:v>
                </c:pt>
                <c:pt idx="260">
                  <c:v>43381</c:v>
                </c:pt>
                <c:pt idx="261">
                  <c:v>43380</c:v>
                </c:pt>
                <c:pt idx="262">
                  <c:v>43379</c:v>
                </c:pt>
                <c:pt idx="263">
                  <c:v>43378</c:v>
                </c:pt>
                <c:pt idx="264">
                  <c:v>43377</c:v>
                </c:pt>
                <c:pt idx="265">
                  <c:v>43376</c:v>
                </c:pt>
                <c:pt idx="266">
                  <c:v>43375</c:v>
                </c:pt>
                <c:pt idx="267">
                  <c:v>43374</c:v>
                </c:pt>
                <c:pt idx="268">
                  <c:v>43373</c:v>
                </c:pt>
                <c:pt idx="269">
                  <c:v>43372</c:v>
                </c:pt>
                <c:pt idx="270">
                  <c:v>43371</c:v>
                </c:pt>
                <c:pt idx="271">
                  <c:v>43370</c:v>
                </c:pt>
                <c:pt idx="272">
                  <c:v>43369</c:v>
                </c:pt>
                <c:pt idx="273">
                  <c:v>43368</c:v>
                </c:pt>
                <c:pt idx="274">
                  <c:v>43367</c:v>
                </c:pt>
                <c:pt idx="275">
                  <c:v>43366</c:v>
                </c:pt>
                <c:pt idx="276">
                  <c:v>43365</c:v>
                </c:pt>
                <c:pt idx="277">
                  <c:v>43364</c:v>
                </c:pt>
                <c:pt idx="278">
                  <c:v>43363</c:v>
                </c:pt>
                <c:pt idx="279">
                  <c:v>43362</c:v>
                </c:pt>
                <c:pt idx="280">
                  <c:v>43361</c:v>
                </c:pt>
                <c:pt idx="281">
                  <c:v>43360</c:v>
                </c:pt>
                <c:pt idx="282">
                  <c:v>43359</c:v>
                </c:pt>
                <c:pt idx="283">
                  <c:v>43358</c:v>
                </c:pt>
                <c:pt idx="284">
                  <c:v>43357</c:v>
                </c:pt>
                <c:pt idx="285">
                  <c:v>43356</c:v>
                </c:pt>
                <c:pt idx="286">
                  <c:v>43355</c:v>
                </c:pt>
                <c:pt idx="287">
                  <c:v>43354</c:v>
                </c:pt>
                <c:pt idx="288">
                  <c:v>43353</c:v>
                </c:pt>
                <c:pt idx="289">
                  <c:v>43352</c:v>
                </c:pt>
                <c:pt idx="290">
                  <c:v>43351</c:v>
                </c:pt>
                <c:pt idx="291">
                  <c:v>43350</c:v>
                </c:pt>
                <c:pt idx="292">
                  <c:v>43349</c:v>
                </c:pt>
                <c:pt idx="293">
                  <c:v>43348</c:v>
                </c:pt>
                <c:pt idx="294">
                  <c:v>43347</c:v>
                </c:pt>
                <c:pt idx="295">
                  <c:v>43346</c:v>
                </c:pt>
                <c:pt idx="296">
                  <c:v>43345</c:v>
                </c:pt>
                <c:pt idx="297">
                  <c:v>43344</c:v>
                </c:pt>
                <c:pt idx="298">
                  <c:v>43343</c:v>
                </c:pt>
                <c:pt idx="299">
                  <c:v>43342</c:v>
                </c:pt>
                <c:pt idx="300">
                  <c:v>43341</c:v>
                </c:pt>
                <c:pt idx="301">
                  <c:v>43340</c:v>
                </c:pt>
                <c:pt idx="302">
                  <c:v>43339</c:v>
                </c:pt>
                <c:pt idx="303">
                  <c:v>43338</c:v>
                </c:pt>
                <c:pt idx="304">
                  <c:v>43337</c:v>
                </c:pt>
                <c:pt idx="305">
                  <c:v>43336</c:v>
                </c:pt>
                <c:pt idx="306">
                  <c:v>43335</c:v>
                </c:pt>
                <c:pt idx="307">
                  <c:v>43334</c:v>
                </c:pt>
                <c:pt idx="308">
                  <c:v>43333</c:v>
                </c:pt>
                <c:pt idx="309">
                  <c:v>43332</c:v>
                </c:pt>
                <c:pt idx="310">
                  <c:v>43331</c:v>
                </c:pt>
                <c:pt idx="311">
                  <c:v>43330</c:v>
                </c:pt>
                <c:pt idx="312">
                  <c:v>43329</c:v>
                </c:pt>
                <c:pt idx="313">
                  <c:v>43328</c:v>
                </c:pt>
                <c:pt idx="314">
                  <c:v>43327</c:v>
                </c:pt>
                <c:pt idx="315">
                  <c:v>43326</c:v>
                </c:pt>
                <c:pt idx="316">
                  <c:v>43325</c:v>
                </c:pt>
                <c:pt idx="317">
                  <c:v>43324</c:v>
                </c:pt>
                <c:pt idx="318">
                  <c:v>43323</c:v>
                </c:pt>
                <c:pt idx="319">
                  <c:v>43322</c:v>
                </c:pt>
                <c:pt idx="320">
                  <c:v>43321</c:v>
                </c:pt>
                <c:pt idx="321">
                  <c:v>43320</c:v>
                </c:pt>
                <c:pt idx="322">
                  <c:v>43319</c:v>
                </c:pt>
                <c:pt idx="323">
                  <c:v>43318</c:v>
                </c:pt>
                <c:pt idx="324">
                  <c:v>43317</c:v>
                </c:pt>
                <c:pt idx="325">
                  <c:v>43316</c:v>
                </c:pt>
                <c:pt idx="326">
                  <c:v>43315</c:v>
                </c:pt>
                <c:pt idx="327">
                  <c:v>43314</c:v>
                </c:pt>
                <c:pt idx="328">
                  <c:v>43313</c:v>
                </c:pt>
                <c:pt idx="329">
                  <c:v>43312</c:v>
                </c:pt>
                <c:pt idx="330">
                  <c:v>43311</c:v>
                </c:pt>
                <c:pt idx="331">
                  <c:v>43310</c:v>
                </c:pt>
                <c:pt idx="332">
                  <c:v>43309</c:v>
                </c:pt>
                <c:pt idx="333">
                  <c:v>43308</c:v>
                </c:pt>
                <c:pt idx="334">
                  <c:v>43307</c:v>
                </c:pt>
                <c:pt idx="335">
                  <c:v>43306</c:v>
                </c:pt>
                <c:pt idx="336">
                  <c:v>43305</c:v>
                </c:pt>
                <c:pt idx="337">
                  <c:v>43304</c:v>
                </c:pt>
                <c:pt idx="338">
                  <c:v>43303</c:v>
                </c:pt>
                <c:pt idx="339">
                  <c:v>43302</c:v>
                </c:pt>
                <c:pt idx="340">
                  <c:v>43301</c:v>
                </c:pt>
                <c:pt idx="341">
                  <c:v>43300</c:v>
                </c:pt>
                <c:pt idx="342">
                  <c:v>43299</c:v>
                </c:pt>
                <c:pt idx="343">
                  <c:v>43298</c:v>
                </c:pt>
                <c:pt idx="344">
                  <c:v>43297</c:v>
                </c:pt>
                <c:pt idx="345">
                  <c:v>43296</c:v>
                </c:pt>
                <c:pt idx="346">
                  <c:v>43295</c:v>
                </c:pt>
                <c:pt idx="347">
                  <c:v>43294</c:v>
                </c:pt>
                <c:pt idx="348">
                  <c:v>43293</c:v>
                </c:pt>
                <c:pt idx="349">
                  <c:v>43292</c:v>
                </c:pt>
                <c:pt idx="350">
                  <c:v>43291</c:v>
                </c:pt>
                <c:pt idx="351">
                  <c:v>43290</c:v>
                </c:pt>
                <c:pt idx="352">
                  <c:v>43289</c:v>
                </c:pt>
                <c:pt idx="353">
                  <c:v>43288</c:v>
                </c:pt>
                <c:pt idx="354">
                  <c:v>43287</c:v>
                </c:pt>
                <c:pt idx="355">
                  <c:v>43286</c:v>
                </c:pt>
                <c:pt idx="356">
                  <c:v>43285</c:v>
                </c:pt>
                <c:pt idx="357">
                  <c:v>43284</c:v>
                </c:pt>
                <c:pt idx="358">
                  <c:v>43283</c:v>
                </c:pt>
                <c:pt idx="359">
                  <c:v>43282</c:v>
                </c:pt>
                <c:pt idx="360">
                  <c:v>43281</c:v>
                </c:pt>
                <c:pt idx="361">
                  <c:v>43280</c:v>
                </c:pt>
                <c:pt idx="362">
                  <c:v>43279</c:v>
                </c:pt>
                <c:pt idx="363">
                  <c:v>43278</c:v>
                </c:pt>
                <c:pt idx="364">
                  <c:v>43277</c:v>
                </c:pt>
                <c:pt idx="365">
                  <c:v>43276</c:v>
                </c:pt>
                <c:pt idx="366">
                  <c:v>43275</c:v>
                </c:pt>
                <c:pt idx="367">
                  <c:v>43274</c:v>
                </c:pt>
                <c:pt idx="368">
                  <c:v>43273</c:v>
                </c:pt>
                <c:pt idx="369">
                  <c:v>43272</c:v>
                </c:pt>
                <c:pt idx="370">
                  <c:v>43271</c:v>
                </c:pt>
                <c:pt idx="371">
                  <c:v>43270</c:v>
                </c:pt>
                <c:pt idx="372">
                  <c:v>43269</c:v>
                </c:pt>
                <c:pt idx="373">
                  <c:v>43268</c:v>
                </c:pt>
                <c:pt idx="374">
                  <c:v>43267</c:v>
                </c:pt>
                <c:pt idx="375">
                  <c:v>43266</c:v>
                </c:pt>
                <c:pt idx="376">
                  <c:v>43265</c:v>
                </c:pt>
                <c:pt idx="377">
                  <c:v>43264</c:v>
                </c:pt>
                <c:pt idx="378">
                  <c:v>43263</c:v>
                </c:pt>
                <c:pt idx="379">
                  <c:v>43262</c:v>
                </c:pt>
                <c:pt idx="380">
                  <c:v>43261</c:v>
                </c:pt>
                <c:pt idx="381">
                  <c:v>43260</c:v>
                </c:pt>
                <c:pt idx="382">
                  <c:v>43259</c:v>
                </c:pt>
                <c:pt idx="383">
                  <c:v>43258</c:v>
                </c:pt>
                <c:pt idx="384">
                  <c:v>43257</c:v>
                </c:pt>
                <c:pt idx="385">
                  <c:v>43256</c:v>
                </c:pt>
                <c:pt idx="386">
                  <c:v>43255</c:v>
                </c:pt>
                <c:pt idx="387">
                  <c:v>43254</c:v>
                </c:pt>
                <c:pt idx="388">
                  <c:v>43253</c:v>
                </c:pt>
                <c:pt idx="389">
                  <c:v>43252</c:v>
                </c:pt>
                <c:pt idx="390">
                  <c:v>43251</c:v>
                </c:pt>
                <c:pt idx="391">
                  <c:v>43250</c:v>
                </c:pt>
                <c:pt idx="392">
                  <c:v>43249</c:v>
                </c:pt>
                <c:pt idx="393">
                  <c:v>43248</c:v>
                </c:pt>
                <c:pt idx="394">
                  <c:v>43247</c:v>
                </c:pt>
                <c:pt idx="395">
                  <c:v>43246</c:v>
                </c:pt>
                <c:pt idx="396">
                  <c:v>43245</c:v>
                </c:pt>
                <c:pt idx="397">
                  <c:v>43244</c:v>
                </c:pt>
                <c:pt idx="398">
                  <c:v>43243</c:v>
                </c:pt>
                <c:pt idx="399">
                  <c:v>43242</c:v>
                </c:pt>
                <c:pt idx="400">
                  <c:v>43241</c:v>
                </c:pt>
                <c:pt idx="401">
                  <c:v>43240</c:v>
                </c:pt>
                <c:pt idx="402">
                  <c:v>43239</c:v>
                </c:pt>
                <c:pt idx="403">
                  <c:v>43238</c:v>
                </c:pt>
                <c:pt idx="404">
                  <c:v>43237</c:v>
                </c:pt>
                <c:pt idx="405">
                  <c:v>43236</c:v>
                </c:pt>
                <c:pt idx="406">
                  <c:v>43235</c:v>
                </c:pt>
                <c:pt idx="407">
                  <c:v>43234</c:v>
                </c:pt>
                <c:pt idx="408">
                  <c:v>43233</c:v>
                </c:pt>
                <c:pt idx="409">
                  <c:v>43232</c:v>
                </c:pt>
                <c:pt idx="410">
                  <c:v>43231</c:v>
                </c:pt>
                <c:pt idx="411">
                  <c:v>43230</c:v>
                </c:pt>
                <c:pt idx="412">
                  <c:v>43229</c:v>
                </c:pt>
                <c:pt idx="413">
                  <c:v>43228</c:v>
                </c:pt>
                <c:pt idx="414">
                  <c:v>43227</c:v>
                </c:pt>
                <c:pt idx="415">
                  <c:v>43226</c:v>
                </c:pt>
                <c:pt idx="416">
                  <c:v>43225</c:v>
                </c:pt>
                <c:pt idx="417">
                  <c:v>43224</c:v>
                </c:pt>
                <c:pt idx="418">
                  <c:v>43223</c:v>
                </c:pt>
                <c:pt idx="419">
                  <c:v>43222</c:v>
                </c:pt>
                <c:pt idx="420">
                  <c:v>43221</c:v>
                </c:pt>
                <c:pt idx="421">
                  <c:v>43220</c:v>
                </c:pt>
                <c:pt idx="422">
                  <c:v>43219</c:v>
                </c:pt>
                <c:pt idx="423">
                  <c:v>43218</c:v>
                </c:pt>
                <c:pt idx="424">
                  <c:v>43217</c:v>
                </c:pt>
                <c:pt idx="425">
                  <c:v>43216</c:v>
                </c:pt>
                <c:pt idx="426">
                  <c:v>43215</c:v>
                </c:pt>
                <c:pt idx="427">
                  <c:v>43214</c:v>
                </c:pt>
                <c:pt idx="428">
                  <c:v>43213</c:v>
                </c:pt>
                <c:pt idx="429">
                  <c:v>43212</c:v>
                </c:pt>
                <c:pt idx="430">
                  <c:v>43211</c:v>
                </c:pt>
                <c:pt idx="431">
                  <c:v>43210</c:v>
                </c:pt>
                <c:pt idx="432">
                  <c:v>43209</c:v>
                </c:pt>
                <c:pt idx="433">
                  <c:v>43208</c:v>
                </c:pt>
                <c:pt idx="434">
                  <c:v>43207</c:v>
                </c:pt>
                <c:pt idx="435">
                  <c:v>43206</c:v>
                </c:pt>
                <c:pt idx="436">
                  <c:v>43205</c:v>
                </c:pt>
                <c:pt idx="437">
                  <c:v>43204</c:v>
                </c:pt>
                <c:pt idx="438">
                  <c:v>43203</c:v>
                </c:pt>
                <c:pt idx="439">
                  <c:v>43202</c:v>
                </c:pt>
                <c:pt idx="440">
                  <c:v>43201</c:v>
                </c:pt>
                <c:pt idx="441">
                  <c:v>43200</c:v>
                </c:pt>
                <c:pt idx="442">
                  <c:v>43199</c:v>
                </c:pt>
                <c:pt idx="443">
                  <c:v>43198</c:v>
                </c:pt>
                <c:pt idx="444">
                  <c:v>43197</c:v>
                </c:pt>
                <c:pt idx="445">
                  <c:v>43196</c:v>
                </c:pt>
                <c:pt idx="446">
                  <c:v>43195</c:v>
                </c:pt>
                <c:pt idx="447">
                  <c:v>43194</c:v>
                </c:pt>
                <c:pt idx="448">
                  <c:v>43193</c:v>
                </c:pt>
                <c:pt idx="449">
                  <c:v>43192</c:v>
                </c:pt>
                <c:pt idx="450">
                  <c:v>43191</c:v>
                </c:pt>
                <c:pt idx="451">
                  <c:v>43190</c:v>
                </c:pt>
                <c:pt idx="452">
                  <c:v>43189</c:v>
                </c:pt>
                <c:pt idx="453">
                  <c:v>43188</c:v>
                </c:pt>
                <c:pt idx="454">
                  <c:v>43187</c:v>
                </c:pt>
                <c:pt idx="455">
                  <c:v>43186</c:v>
                </c:pt>
                <c:pt idx="456">
                  <c:v>43185</c:v>
                </c:pt>
                <c:pt idx="457">
                  <c:v>43184</c:v>
                </c:pt>
                <c:pt idx="458">
                  <c:v>43183</c:v>
                </c:pt>
                <c:pt idx="459">
                  <c:v>43182</c:v>
                </c:pt>
                <c:pt idx="460">
                  <c:v>43181</c:v>
                </c:pt>
                <c:pt idx="461">
                  <c:v>43180</c:v>
                </c:pt>
                <c:pt idx="462">
                  <c:v>43179</c:v>
                </c:pt>
                <c:pt idx="463">
                  <c:v>43178</c:v>
                </c:pt>
                <c:pt idx="464">
                  <c:v>43177</c:v>
                </c:pt>
                <c:pt idx="465">
                  <c:v>43176</c:v>
                </c:pt>
                <c:pt idx="466">
                  <c:v>43175</c:v>
                </c:pt>
                <c:pt idx="467">
                  <c:v>43174</c:v>
                </c:pt>
                <c:pt idx="468">
                  <c:v>43173</c:v>
                </c:pt>
                <c:pt idx="469">
                  <c:v>43172</c:v>
                </c:pt>
                <c:pt idx="470">
                  <c:v>43171</c:v>
                </c:pt>
                <c:pt idx="471">
                  <c:v>43170</c:v>
                </c:pt>
                <c:pt idx="472">
                  <c:v>43169</c:v>
                </c:pt>
                <c:pt idx="473">
                  <c:v>43168</c:v>
                </c:pt>
                <c:pt idx="474">
                  <c:v>43167</c:v>
                </c:pt>
                <c:pt idx="475">
                  <c:v>43166</c:v>
                </c:pt>
                <c:pt idx="476">
                  <c:v>43165</c:v>
                </c:pt>
                <c:pt idx="477">
                  <c:v>43164</c:v>
                </c:pt>
                <c:pt idx="478">
                  <c:v>43163</c:v>
                </c:pt>
                <c:pt idx="479">
                  <c:v>43162</c:v>
                </c:pt>
                <c:pt idx="480">
                  <c:v>43161</c:v>
                </c:pt>
                <c:pt idx="481">
                  <c:v>43160</c:v>
                </c:pt>
                <c:pt idx="482">
                  <c:v>43159</c:v>
                </c:pt>
                <c:pt idx="483">
                  <c:v>43158</c:v>
                </c:pt>
                <c:pt idx="484">
                  <c:v>43157</c:v>
                </c:pt>
                <c:pt idx="485">
                  <c:v>43156</c:v>
                </c:pt>
                <c:pt idx="486">
                  <c:v>43155</c:v>
                </c:pt>
                <c:pt idx="487">
                  <c:v>43154</c:v>
                </c:pt>
                <c:pt idx="488">
                  <c:v>43153</c:v>
                </c:pt>
                <c:pt idx="489">
                  <c:v>43152</c:v>
                </c:pt>
                <c:pt idx="490">
                  <c:v>43151</c:v>
                </c:pt>
                <c:pt idx="491">
                  <c:v>43150</c:v>
                </c:pt>
                <c:pt idx="492">
                  <c:v>43149</c:v>
                </c:pt>
                <c:pt idx="493">
                  <c:v>43148</c:v>
                </c:pt>
                <c:pt idx="494">
                  <c:v>43147</c:v>
                </c:pt>
                <c:pt idx="495">
                  <c:v>43146</c:v>
                </c:pt>
                <c:pt idx="496">
                  <c:v>43145</c:v>
                </c:pt>
                <c:pt idx="497">
                  <c:v>43144</c:v>
                </c:pt>
                <c:pt idx="498">
                  <c:v>43143</c:v>
                </c:pt>
                <c:pt idx="499">
                  <c:v>43142</c:v>
                </c:pt>
                <c:pt idx="500">
                  <c:v>43141</c:v>
                </c:pt>
                <c:pt idx="501">
                  <c:v>43140</c:v>
                </c:pt>
                <c:pt idx="502">
                  <c:v>43139</c:v>
                </c:pt>
                <c:pt idx="503">
                  <c:v>43138</c:v>
                </c:pt>
                <c:pt idx="504">
                  <c:v>43137</c:v>
                </c:pt>
                <c:pt idx="505">
                  <c:v>43136</c:v>
                </c:pt>
                <c:pt idx="506">
                  <c:v>43135</c:v>
                </c:pt>
                <c:pt idx="507">
                  <c:v>43134</c:v>
                </c:pt>
                <c:pt idx="508">
                  <c:v>43133</c:v>
                </c:pt>
                <c:pt idx="509">
                  <c:v>43132</c:v>
                </c:pt>
                <c:pt idx="510">
                  <c:v>43131</c:v>
                </c:pt>
                <c:pt idx="511">
                  <c:v>43130</c:v>
                </c:pt>
                <c:pt idx="512">
                  <c:v>43129</c:v>
                </c:pt>
                <c:pt idx="513">
                  <c:v>43128</c:v>
                </c:pt>
                <c:pt idx="514">
                  <c:v>43127</c:v>
                </c:pt>
                <c:pt idx="515">
                  <c:v>43126</c:v>
                </c:pt>
                <c:pt idx="516">
                  <c:v>43125</c:v>
                </c:pt>
                <c:pt idx="517">
                  <c:v>43124</c:v>
                </c:pt>
                <c:pt idx="518">
                  <c:v>43123</c:v>
                </c:pt>
                <c:pt idx="519">
                  <c:v>43122</c:v>
                </c:pt>
                <c:pt idx="520">
                  <c:v>43121</c:v>
                </c:pt>
                <c:pt idx="521">
                  <c:v>43120</c:v>
                </c:pt>
                <c:pt idx="522">
                  <c:v>43119</c:v>
                </c:pt>
                <c:pt idx="523">
                  <c:v>43118</c:v>
                </c:pt>
                <c:pt idx="524">
                  <c:v>43117</c:v>
                </c:pt>
                <c:pt idx="525">
                  <c:v>43116</c:v>
                </c:pt>
                <c:pt idx="526">
                  <c:v>43115</c:v>
                </c:pt>
                <c:pt idx="527">
                  <c:v>43114</c:v>
                </c:pt>
                <c:pt idx="528">
                  <c:v>43113</c:v>
                </c:pt>
                <c:pt idx="529">
                  <c:v>43112</c:v>
                </c:pt>
                <c:pt idx="530">
                  <c:v>43111</c:v>
                </c:pt>
                <c:pt idx="531">
                  <c:v>43110</c:v>
                </c:pt>
                <c:pt idx="532">
                  <c:v>43109</c:v>
                </c:pt>
                <c:pt idx="533">
                  <c:v>43108</c:v>
                </c:pt>
                <c:pt idx="534">
                  <c:v>43107</c:v>
                </c:pt>
                <c:pt idx="535">
                  <c:v>43106</c:v>
                </c:pt>
                <c:pt idx="536">
                  <c:v>43105</c:v>
                </c:pt>
                <c:pt idx="537">
                  <c:v>43104</c:v>
                </c:pt>
                <c:pt idx="538">
                  <c:v>43103</c:v>
                </c:pt>
                <c:pt idx="539">
                  <c:v>43102</c:v>
                </c:pt>
                <c:pt idx="540">
                  <c:v>43101</c:v>
                </c:pt>
                <c:pt idx="541">
                  <c:v>43100</c:v>
                </c:pt>
                <c:pt idx="542">
                  <c:v>43099</c:v>
                </c:pt>
                <c:pt idx="543">
                  <c:v>43098</c:v>
                </c:pt>
                <c:pt idx="544">
                  <c:v>43097</c:v>
                </c:pt>
                <c:pt idx="545">
                  <c:v>43096</c:v>
                </c:pt>
                <c:pt idx="546">
                  <c:v>43095</c:v>
                </c:pt>
                <c:pt idx="547">
                  <c:v>43094</c:v>
                </c:pt>
                <c:pt idx="548">
                  <c:v>43093</c:v>
                </c:pt>
                <c:pt idx="549">
                  <c:v>43092</c:v>
                </c:pt>
                <c:pt idx="550">
                  <c:v>43091</c:v>
                </c:pt>
                <c:pt idx="551">
                  <c:v>43090</c:v>
                </c:pt>
                <c:pt idx="552">
                  <c:v>43089</c:v>
                </c:pt>
                <c:pt idx="553">
                  <c:v>43088</c:v>
                </c:pt>
                <c:pt idx="554">
                  <c:v>43087</c:v>
                </c:pt>
                <c:pt idx="555">
                  <c:v>43086</c:v>
                </c:pt>
                <c:pt idx="556">
                  <c:v>43085</c:v>
                </c:pt>
                <c:pt idx="557">
                  <c:v>43084</c:v>
                </c:pt>
                <c:pt idx="558">
                  <c:v>43083</c:v>
                </c:pt>
                <c:pt idx="559">
                  <c:v>43082</c:v>
                </c:pt>
                <c:pt idx="560">
                  <c:v>43081</c:v>
                </c:pt>
                <c:pt idx="561">
                  <c:v>43080</c:v>
                </c:pt>
                <c:pt idx="562">
                  <c:v>43079</c:v>
                </c:pt>
                <c:pt idx="563">
                  <c:v>43078</c:v>
                </c:pt>
                <c:pt idx="564">
                  <c:v>43077</c:v>
                </c:pt>
                <c:pt idx="565">
                  <c:v>43076</c:v>
                </c:pt>
                <c:pt idx="566">
                  <c:v>43075</c:v>
                </c:pt>
                <c:pt idx="567">
                  <c:v>43074</c:v>
                </c:pt>
                <c:pt idx="568">
                  <c:v>43073</c:v>
                </c:pt>
                <c:pt idx="569">
                  <c:v>43072</c:v>
                </c:pt>
                <c:pt idx="570">
                  <c:v>43071</c:v>
                </c:pt>
                <c:pt idx="571">
                  <c:v>43070</c:v>
                </c:pt>
                <c:pt idx="572">
                  <c:v>43069</c:v>
                </c:pt>
                <c:pt idx="573">
                  <c:v>43068</c:v>
                </c:pt>
                <c:pt idx="574">
                  <c:v>43067</c:v>
                </c:pt>
                <c:pt idx="575">
                  <c:v>43066</c:v>
                </c:pt>
                <c:pt idx="576">
                  <c:v>43065</c:v>
                </c:pt>
                <c:pt idx="577">
                  <c:v>43064</c:v>
                </c:pt>
                <c:pt idx="578">
                  <c:v>43063</c:v>
                </c:pt>
                <c:pt idx="579">
                  <c:v>43062</c:v>
                </c:pt>
                <c:pt idx="580">
                  <c:v>43061</c:v>
                </c:pt>
                <c:pt idx="581">
                  <c:v>43060</c:v>
                </c:pt>
                <c:pt idx="582">
                  <c:v>43059</c:v>
                </c:pt>
                <c:pt idx="583">
                  <c:v>43058</c:v>
                </c:pt>
                <c:pt idx="584">
                  <c:v>43057</c:v>
                </c:pt>
                <c:pt idx="585">
                  <c:v>43056</c:v>
                </c:pt>
                <c:pt idx="586">
                  <c:v>43055</c:v>
                </c:pt>
                <c:pt idx="587">
                  <c:v>43054</c:v>
                </c:pt>
                <c:pt idx="588">
                  <c:v>43053</c:v>
                </c:pt>
                <c:pt idx="589">
                  <c:v>43052</c:v>
                </c:pt>
                <c:pt idx="590">
                  <c:v>43051</c:v>
                </c:pt>
                <c:pt idx="591">
                  <c:v>43050</c:v>
                </c:pt>
                <c:pt idx="592">
                  <c:v>43049</c:v>
                </c:pt>
                <c:pt idx="593">
                  <c:v>43048</c:v>
                </c:pt>
                <c:pt idx="594">
                  <c:v>43047</c:v>
                </c:pt>
                <c:pt idx="595">
                  <c:v>43046</c:v>
                </c:pt>
                <c:pt idx="596">
                  <c:v>43045</c:v>
                </c:pt>
                <c:pt idx="597">
                  <c:v>43044</c:v>
                </c:pt>
                <c:pt idx="598">
                  <c:v>43043</c:v>
                </c:pt>
                <c:pt idx="599">
                  <c:v>43042</c:v>
                </c:pt>
                <c:pt idx="600">
                  <c:v>43041</c:v>
                </c:pt>
                <c:pt idx="601">
                  <c:v>43040</c:v>
                </c:pt>
                <c:pt idx="602">
                  <c:v>43039</c:v>
                </c:pt>
                <c:pt idx="603">
                  <c:v>43038</c:v>
                </c:pt>
                <c:pt idx="604">
                  <c:v>43037</c:v>
                </c:pt>
                <c:pt idx="605">
                  <c:v>43036</c:v>
                </c:pt>
                <c:pt idx="606">
                  <c:v>43035</c:v>
                </c:pt>
                <c:pt idx="607">
                  <c:v>43034</c:v>
                </c:pt>
                <c:pt idx="608">
                  <c:v>43033</c:v>
                </c:pt>
                <c:pt idx="609">
                  <c:v>43032</c:v>
                </c:pt>
                <c:pt idx="610">
                  <c:v>43031</c:v>
                </c:pt>
                <c:pt idx="611">
                  <c:v>43030</c:v>
                </c:pt>
                <c:pt idx="612">
                  <c:v>43029</c:v>
                </c:pt>
                <c:pt idx="613">
                  <c:v>43028</c:v>
                </c:pt>
                <c:pt idx="614">
                  <c:v>43027</c:v>
                </c:pt>
                <c:pt idx="615">
                  <c:v>43026</c:v>
                </c:pt>
                <c:pt idx="616">
                  <c:v>43025</c:v>
                </c:pt>
                <c:pt idx="617">
                  <c:v>43024</c:v>
                </c:pt>
                <c:pt idx="618">
                  <c:v>43023</c:v>
                </c:pt>
                <c:pt idx="619">
                  <c:v>43022</c:v>
                </c:pt>
                <c:pt idx="620">
                  <c:v>43021</c:v>
                </c:pt>
                <c:pt idx="621">
                  <c:v>43020</c:v>
                </c:pt>
                <c:pt idx="622">
                  <c:v>43019</c:v>
                </c:pt>
                <c:pt idx="623">
                  <c:v>43018</c:v>
                </c:pt>
                <c:pt idx="624">
                  <c:v>43017</c:v>
                </c:pt>
                <c:pt idx="625">
                  <c:v>43016</c:v>
                </c:pt>
                <c:pt idx="626">
                  <c:v>43015</c:v>
                </c:pt>
                <c:pt idx="627">
                  <c:v>43014</c:v>
                </c:pt>
                <c:pt idx="628">
                  <c:v>43013</c:v>
                </c:pt>
                <c:pt idx="629">
                  <c:v>43012</c:v>
                </c:pt>
                <c:pt idx="630">
                  <c:v>43011</c:v>
                </c:pt>
                <c:pt idx="631">
                  <c:v>43010</c:v>
                </c:pt>
                <c:pt idx="632">
                  <c:v>43009</c:v>
                </c:pt>
                <c:pt idx="633">
                  <c:v>43008</c:v>
                </c:pt>
                <c:pt idx="634">
                  <c:v>43007</c:v>
                </c:pt>
                <c:pt idx="635">
                  <c:v>43006</c:v>
                </c:pt>
                <c:pt idx="636">
                  <c:v>43005</c:v>
                </c:pt>
                <c:pt idx="637">
                  <c:v>43004</c:v>
                </c:pt>
                <c:pt idx="638">
                  <c:v>43003</c:v>
                </c:pt>
                <c:pt idx="639">
                  <c:v>43002</c:v>
                </c:pt>
                <c:pt idx="640">
                  <c:v>43001</c:v>
                </c:pt>
                <c:pt idx="641">
                  <c:v>43000</c:v>
                </c:pt>
                <c:pt idx="642">
                  <c:v>42999</c:v>
                </c:pt>
                <c:pt idx="643">
                  <c:v>42998</c:v>
                </c:pt>
                <c:pt idx="644">
                  <c:v>42997</c:v>
                </c:pt>
                <c:pt idx="645">
                  <c:v>42996</c:v>
                </c:pt>
                <c:pt idx="646">
                  <c:v>42995</c:v>
                </c:pt>
                <c:pt idx="647">
                  <c:v>42994</c:v>
                </c:pt>
                <c:pt idx="648">
                  <c:v>42993</c:v>
                </c:pt>
                <c:pt idx="649">
                  <c:v>42992</c:v>
                </c:pt>
                <c:pt idx="650">
                  <c:v>42991</c:v>
                </c:pt>
                <c:pt idx="651">
                  <c:v>42990</c:v>
                </c:pt>
                <c:pt idx="652">
                  <c:v>42989</c:v>
                </c:pt>
                <c:pt idx="653">
                  <c:v>42988</c:v>
                </c:pt>
                <c:pt idx="654">
                  <c:v>42987</c:v>
                </c:pt>
                <c:pt idx="655">
                  <c:v>42986</c:v>
                </c:pt>
                <c:pt idx="656">
                  <c:v>42985</c:v>
                </c:pt>
                <c:pt idx="657">
                  <c:v>42984</c:v>
                </c:pt>
                <c:pt idx="658">
                  <c:v>42983</c:v>
                </c:pt>
                <c:pt idx="659">
                  <c:v>42982</c:v>
                </c:pt>
                <c:pt idx="660">
                  <c:v>42981</c:v>
                </c:pt>
                <c:pt idx="661">
                  <c:v>42980</c:v>
                </c:pt>
                <c:pt idx="662">
                  <c:v>42979</c:v>
                </c:pt>
                <c:pt idx="663">
                  <c:v>42978</c:v>
                </c:pt>
                <c:pt idx="664">
                  <c:v>42977</c:v>
                </c:pt>
                <c:pt idx="665">
                  <c:v>42976</c:v>
                </c:pt>
                <c:pt idx="666">
                  <c:v>42975</c:v>
                </c:pt>
                <c:pt idx="667">
                  <c:v>42974</c:v>
                </c:pt>
                <c:pt idx="668">
                  <c:v>42973</c:v>
                </c:pt>
                <c:pt idx="669">
                  <c:v>42972</c:v>
                </c:pt>
                <c:pt idx="670">
                  <c:v>42971</c:v>
                </c:pt>
                <c:pt idx="671">
                  <c:v>42970</c:v>
                </c:pt>
                <c:pt idx="672">
                  <c:v>42969</c:v>
                </c:pt>
                <c:pt idx="673">
                  <c:v>42968</c:v>
                </c:pt>
                <c:pt idx="674">
                  <c:v>42967</c:v>
                </c:pt>
                <c:pt idx="675">
                  <c:v>42966</c:v>
                </c:pt>
                <c:pt idx="676">
                  <c:v>42965</c:v>
                </c:pt>
                <c:pt idx="677">
                  <c:v>42964</c:v>
                </c:pt>
                <c:pt idx="678">
                  <c:v>42963</c:v>
                </c:pt>
                <c:pt idx="679">
                  <c:v>42962</c:v>
                </c:pt>
                <c:pt idx="680">
                  <c:v>42961</c:v>
                </c:pt>
                <c:pt idx="681">
                  <c:v>42960</c:v>
                </c:pt>
                <c:pt idx="682">
                  <c:v>42959</c:v>
                </c:pt>
                <c:pt idx="683">
                  <c:v>42958</c:v>
                </c:pt>
                <c:pt idx="684">
                  <c:v>42957</c:v>
                </c:pt>
                <c:pt idx="685">
                  <c:v>42956</c:v>
                </c:pt>
                <c:pt idx="686">
                  <c:v>42955</c:v>
                </c:pt>
                <c:pt idx="687">
                  <c:v>42954</c:v>
                </c:pt>
                <c:pt idx="688">
                  <c:v>42953</c:v>
                </c:pt>
                <c:pt idx="689">
                  <c:v>42952</c:v>
                </c:pt>
                <c:pt idx="690">
                  <c:v>42951</c:v>
                </c:pt>
                <c:pt idx="691">
                  <c:v>42950</c:v>
                </c:pt>
                <c:pt idx="692">
                  <c:v>42949</c:v>
                </c:pt>
                <c:pt idx="693">
                  <c:v>42948</c:v>
                </c:pt>
                <c:pt idx="694">
                  <c:v>42947</c:v>
                </c:pt>
                <c:pt idx="695">
                  <c:v>42946</c:v>
                </c:pt>
                <c:pt idx="696">
                  <c:v>42945</c:v>
                </c:pt>
                <c:pt idx="697">
                  <c:v>42944</c:v>
                </c:pt>
                <c:pt idx="698">
                  <c:v>42943</c:v>
                </c:pt>
                <c:pt idx="699">
                  <c:v>42942</c:v>
                </c:pt>
                <c:pt idx="700">
                  <c:v>42941</c:v>
                </c:pt>
                <c:pt idx="701">
                  <c:v>42940</c:v>
                </c:pt>
                <c:pt idx="702">
                  <c:v>42939</c:v>
                </c:pt>
                <c:pt idx="703">
                  <c:v>42938</c:v>
                </c:pt>
                <c:pt idx="704">
                  <c:v>42937</c:v>
                </c:pt>
                <c:pt idx="705">
                  <c:v>42936</c:v>
                </c:pt>
                <c:pt idx="706">
                  <c:v>42935</c:v>
                </c:pt>
                <c:pt idx="707">
                  <c:v>42934</c:v>
                </c:pt>
                <c:pt idx="708">
                  <c:v>42933</c:v>
                </c:pt>
                <c:pt idx="709">
                  <c:v>42932</c:v>
                </c:pt>
                <c:pt idx="710">
                  <c:v>42931</c:v>
                </c:pt>
                <c:pt idx="711">
                  <c:v>42930</c:v>
                </c:pt>
                <c:pt idx="712">
                  <c:v>42929</c:v>
                </c:pt>
                <c:pt idx="713">
                  <c:v>42928</c:v>
                </c:pt>
                <c:pt idx="714">
                  <c:v>42927</c:v>
                </c:pt>
                <c:pt idx="715">
                  <c:v>42926</c:v>
                </c:pt>
                <c:pt idx="716">
                  <c:v>42925</c:v>
                </c:pt>
                <c:pt idx="717">
                  <c:v>42924</c:v>
                </c:pt>
                <c:pt idx="718">
                  <c:v>42923</c:v>
                </c:pt>
                <c:pt idx="719">
                  <c:v>42922</c:v>
                </c:pt>
                <c:pt idx="720">
                  <c:v>42921</c:v>
                </c:pt>
                <c:pt idx="721">
                  <c:v>42920</c:v>
                </c:pt>
                <c:pt idx="722">
                  <c:v>42919</c:v>
                </c:pt>
                <c:pt idx="723">
                  <c:v>42918</c:v>
                </c:pt>
                <c:pt idx="724">
                  <c:v>42917</c:v>
                </c:pt>
                <c:pt idx="725">
                  <c:v>42916</c:v>
                </c:pt>
                <c:pt idx="726">
                  <c:v>42915</c:v>
                </c:pt>
                <c:pt idx="727">
                  <c:v>42914</c:v>
                </c:pt>
                <c:pt idx="728">
                  <c:v>42913</c:v>
                </c:pt>
                <c:pt idx="729">
                  <c:v>42912</c:v>
                </c:pt>
                <c:pt idx="730">
                  <c:v>42911</c:v>
                </c:pt>
                <c:pt idx="731">
                  <c:v>42910</c:v>
                </c:pt>
                <c:pt idx="732">
                  <c:v>42909</c:v>
                </c:pt>
                <c:pt idx="733">
                  <c:v>42908</c:v>
                </c:pt>
                <c:pt idx="734">
                  <c:v>42907</c:v>
                </c:pt>
                <c:pt idx="735">
                  <c:v>42906</c:v>
                </c:pt>
                <c:pt idx="736">
                  <c:v>42905</c:v>
                </c:pt>
                <c:pt idx="737">
                  <c:v>42904</c:v>
                </c:pt>
                <c:pt idx="738">
                  <c:v>42903</c:v>
                </c:pt>
                <c:pt idx="739">
                  <c:v>42902</c:v>
                </c:pt>
                <c:pt idx="740">
                  <c:v>42901</c:v>
                </c:pt>
                <c:pt idx="741">
                  <c:v>42900</c:v>
                </c:pt>
                <c:pt idx="742">
                  <c:v>42899</c:v>
                </c:pt>
                <c:pt idx="743">
                  <c:v>42898</c:v>
                </c:pt>
                <c:pt idx="744">
                  <c:v>42897</c:v>
                </c:pt>
                <c:pt idx="745">
                  <c:v>42896</c:v>
                </c:pt>
                <c:pt idx="746">
                  <c:v>42895</c:v>
                </c:pt>
                <c:pt idx="747">
                  <c:v>42894</c:v>
                </c:pt>
                <c:pt idx="748">
                  <c:v>42893</c:v>
                </c:pt>
                <c:pt idx="749">
                  <c:v>42892</c:v>
                </c:pt>
                <c:pt idx="750">
                  <c:v>42891</c:v>
                </c:pt>
                <c:pt idx="751">
                  <c:v>42890</c:v>
                </c:pt>
                <c:pt idx="752">
                  <c:v>42889</c:v>
                </c:pt>
                <c:pt idx="753">
                  <c:v>42888</c:v>
                </c:pt>
                <c:pt idx="754">
                  <c:v>42887</c:v>
                </c:pt>
                <c:pt idx="755">
                  <c:v>42886</c:v>
                </c:pt>
                <c:pt idx="756">
                  <c:v>42885</c:v>
                </c:pt>
                <c:pt idx="757">
                  <c:v>42884</c:v>
                </c:pt>
                <c:pt idx="758">
                  <c:v>42883</c:v>
                </c:pt>
                <c:pt idx="759">
                  <c:v>42882</c:v>
                </c:pt>
                <c:pt idx="760">
                  <c:v>42881</c:v>
                </c:pt>
                <c:pt idx="761">
                  <c:v>42880</c:v>
                </c:pt>
                <c:pt idx="762">
                  <c:v>42879</c:v>
                </c:pt>
                <c:pt idx="763">
                  <c:v>42878</c:v>
                </c:pt>
                <c:pt idx="764">
                  <c:v>42877</c:v>
                </c:pt>
                <c:pt idx="765">
                  <c:v>42876</c:v>
                </c:pt>
                <c:pt idx="766">
                  <c:v>42875</c:v>
                </c:pt>
                <c:pt idx="767">
                  <c:v>42874</c:v>
                </c:pt>
                <c:pt idx="768">
                  <c:v>42873</c:v>
                </c:pt>
                <c:pt idx="769">
                  <c:v>42872</c:v>
                </c:pt>
                <c:pt idx="770">
                  <c:v>42871</c:v>
                </c:pt>
                <c:pt idx="771">
                  <c:v>42870</c:v>
                </c:pt>
                <c:pt idx="772">
                  <c:v>42869</c:v>
                </c:pt>
                <c:pt idx="773">
                  <c:v>42868</c:v>
                </c:pt>
                <c:pt idx="774">
                  <c:v>42867</c:v>
                </c:pt>
                <c:pt idx="775">
                  <c:v>42866</c:v>
                </c:pt>
                <c:pt idx="776">
                  <c:v>42865</c:v>
                </c:pt>
                <c:pt idx="777">
                  <c:v>42864</c:v>
                </c:pt>
                <c:pt idx="778">
                  <c:v>42863</c:v>
                </c:pt>
                <c:pt idx="779">
                  <c:v>42862</c:v>
                </c:pt>
                <c:pt idx="780">
                  <c:v>42861</c:v>
                </c:pt>
                <c:pt idx="781">
                  <c:v>42860</c:v>
                </c:pt>
                <c:pt idx="782">
                  <c:v>42859</c:v>
                </c:pt>
                <c:pt idx="783">
                  <c:v>42858</c:v>
                </c:pt>
                <c:pt idx="784">
                  <c:v>42857</c:v>
                </c:pt>
                <c:pt idx="785">
                  <c:v>42856</c:v>
                </c:pt>
                <c:pt idx="786">
                  <c:v>42855</c:v>
                </c:pt>
                <c:pt idx="787">
                  <c:v>42854</c:v>
                </c:pt>
                <c:pt idx="788">
                  <c:v>42853</c:v>
                </c:pt>
                <c:pt idx="789">
                  <c:v>42852</c:v>
                </c:pt>
                <c:pt idx="790">
                  <c:v>42851</c:v>
                </c:pt>
                <c:pt idx="791">
                  <c:v>42850</c:v>
                </c:pt>
                <c:pt idx="792">
                  <c:v>42849</c:v>
                </c:pt>
                <c:pt idx="793">
                  <c:v>42848</c:v>
                </c:pt>
                <c:pt idx="794">
                  <c:v>42847</c:v>
                </c:pt>
                <c:pt idx="795">
                  <c:v>42846</c:v>
                </c:pt>
                <c:pt idx="796">
                  <c:v>42845</c:v>
                </c:pt>
                <c:pt idx="797">
                  <c:v>42844</c:v>
                </c:pt>
                <c:pt idx="798">
                  <c:v>42843</c:v>
                </c:pt>
                <c:pt idx="799">
                  <c:v>42842</c:v>
                </c:pt>
                <c:pt idx="800">
                  <c:v>42841</c:v>
                </c:pt>
                <c:pt idx="801">
                  <c:v>42840</c:v>
                </c:pt>
                <c:pt idx="802">
                  <c:v>42839</c:v>
                </c:pt>
                <c:pt idx="803">
                  <c:v>42838</c:v>
                </c:pt>
                <c:pt idx="804">
                  <c:v>42837</c:v>
                </c:pt>
                <c:pt idx="805">
                  <c:v>42836</c:v>
                </c:pt>
                <c:pt idx="806">
                  <c:v>42835</c:v>
                </c:pt>
                <c:pt idx="807">
                  <c:v>42834</c:v>
                </c:pt>
                <c:pt idx="808">
                  <c:v>42833</c:v>
                </c:pt>
                <c:pt idx="809">
                  <c:v>42832</c:v>
                </c:pt>
                <c:pt idx="810">
                  <c:v>42831</c:v>
                </c:pt>
                <c:pt idx="811">
                  <c:v>42830</c:v>
                </c:pt>
                <c:pt idx="812">
                  <c:v>42829</c:v>
                </c:pt>
                <c:pt idx="813">
                  <c:v>42828</c:v>
                </c:pt>
                <c:pt idx="814">
                  <c:v>42827</c:v>
                </c:pt>
                <c:pt idx="815">
                  <c:v>42826</c:v>
                </c:pt>
                <c:pt idx="816">
                  <c:v>42825</c:v>
                </c:pt>
                <c:pt idx="817">
                  <c:v>42824</c:v>
                </c:pt>
                <c:pt idx="818">
                  <c:v>42823</c:v>
                </c:pt>
                <c:pt idx="819">
                  <c:v>42822</c:v>
                </c:pt>
                <c:pt idx="820">
                  <c:v>42821</c:v>
                </c:pt>
                <c:pt idx="821">
                  <c:v>42820</c:v>
                </c:pt>
                <c:pt idx="822">
                  <c:v>42819</c:v>
                </c:pt>
                <c:pt idx="823">
                  <c:v>42818</c:v>
                </c:pt>
                <c:pt idx="824">
                  <c:v>42817</c:v>
                </c:pt>
                <c:pt idx="825">
                  <c:v>42816</c:v>
                </c:pt>
                <c:pt idx="826">
                  <c:v>42815</c:v>
                </c:pt>
                <c:pt idx="827">
                  <c:v>42814</c:v>
                </c:pt>
                <c:pt idx="828">
                  <c:v>42813</c:v>
                </c:pt>
                <c:pt idx="829">
                  <c:v>42812</c:v>
                </c:pt>
                <c:pt idx="830">
                  <c:v>42811</c:v>
                </c:pt>
                <c:pt idx="831">
                  <c:v>42810</c:v>
                </c:pt>
                <c:pt idx="832">
                  <c:v>42809</c:v>
                </c:pt>
                <c:pt idx="833">
                  <c:v>42808</c:v>
                </c:pt>
                <c:pt idx="834">
                  <c:v>42807</c:v>
                </c:pt>
                <c:pt idx="835">
                  <c:v>42806</c:v>
                </c:pt>
                <c:pt idx="836">
                  <c:v>42805</c:v>
                </c:pt>
                <c:pt idx="837">
                  <c:v>42804</c:v>
                </c:pt>
                <c:pt idx="838">
                  <c:v>42803</c:v>
                </c:pt>
                <c:pt idx="839">
                  <c:v>42802</c:v>
                </c:pt>
                <c:pt idx="840">
                  <c:v>42801</c:v>
                </c:pt>
                <c:pt idx="841">
                  <c:v>42800</c:v>
                </c:pt>
                <c:pt idx="842">
                  <c:v>42799</c:v>
                </c:pt>
                <c:pt idx="843">
                  <c:v>42798</c:v>
                </c:pt>
                <c:pt idx="844">
                  <c:v>42797</c:v>
                </c:pt>
                <c:pt idx="845">
                  <c:v>42796</c:v>
                </c:pt>
                <c:pt idx="846">
                  <c:v>42795</c:v>
                </c:pt>
                <c:pt idx="847">
                  <c:v>42794</c:v>
                </c:pt>
                <c:pt idx="848">
                  <c:v>42793</c:v>
                </c:pt>
                <c:pt idx="849">
                  <c:v>42792</c:v>
                </c:pt>
                <c:pt idx="850">
                  <c:v>42791</c:v>
                </c:pt>
                <c:pt idx="851">
                  <c:v>42790</c:v>
                </c:pt>
                <c:pt idx="852">
                  <c:v>42789</c:v>
                </c:pt>
                <c:pt idx="853">
                  <c:v>42788</c:v>
                </c:pt>
                <c:pt idx="854">
                  <c:v>42787</c:v>
                </c:pt>
                <c:pt idx="855">
                  <c:v>42786</c:v>
                </c:pt>
                <c:pt idx="856">
                  <c:v>42785</c:v>
                </c:pt>
                <c:pt idx="857">
                  <c:v>42784</c:v>
                </c:pt>
                <c:pt idx="858">
                  <c:v>42783</c:v>
                </c:pt>
                <c:pt idx="859">
                  <c:v>42782</c:v>
                </c:pt>
                <c:pt idx="860">
                  <c:v>42781</c:v>
                </c:pt>
                <c:pt idx="861">
                  <c:v>42780</c:v>
                </c:pt>
                <c:pt idx="862">
                  <c:v>42779</c:v>
                </c:pt>
                <c:pt idx="863">
                  <c:v>42778</c:v>
                </c:pt>
                <c:pt idx="864">
                  <c:v>42777</c:v>
                </c:pt>
                <c:pt idx="865">
                  <c:v>42776</c:v>
                </c:pt>
                <c:pt idx="866">
                  <c:v>42775</c:v>
                </c:pt>
                <c:pt idx="867">
                  <c:v>42774</c:v>
                </c:pt>
                <c:pt idx="868">
                  <c:v>42773</c:v>
                </c:pt>
                <c:pt idx="869">
                  <c:v>42772</c:v>
                </c:pt>
                <c:pt idx="870">
                  <c:v>42771</c:v>
                </c:pt>
                <c:pt idx="871">
                  <c:v>42770</c:v>
                </c:pt>
                <c:pt idx="872">
                  <c:v>42769</c:v>
                </c:pt>
                <c:pt idx="873">
                  <c:v>42768</c:v>
                </c:pt>
                <c:pt idx="874">
                  <c:v>42767</c:v>
                </c:pt>
                <c:pt idx="875">
                  <c:v>42766</c:v>
                </c:pt>
                <c:pt idx="876">
                  <c:v>42765</c:v>
                </c:pt>
                <c:pt idx="877">
                  <c:v>42764</c:v>
                </c:pt>
                <c:pt idx="878">
                  <c:v>42763</c:v>
                </c:pt>
                <c:pt idx="879">
                  <c:v>42762</c:v>
                </c:pt>
                <c:pt idx="880">
                  <c:v>42761</c:v>
                </c:pt>
                <c:pt idx="881">
                  <c:v>42760</c:v>
                </c:pt>
                <c:pt idx="882">
                  <c:v>42759</c:v>
                </c:pt>
                <c:pt idx="883">
                  <c:v>42758</c:v>
                </c:pt>
                <c:pt idx="884">
                  <c:v>42757</c:v>
                </c:pt>
                <c:pt idx="885">
                  <c:v>42756</c:v>
                </c:pt>
                <c:pt idx="886">
                  <c:v>42755</c:v>
                </c:pt>
                <c:pt idx="887">
                  <c:v>42754</c:v>
                </c:pt>
                <c:pt idx="888">
                  <c:v>42753</c:v>
                </c:pt>
                <c:pt idx="889">
                  <c:v>42752</c:v>
                </c:pt>
                <c:pt idx="890">
                  <c:v>42751</c:v>
                </c:pt>
                <c:pt idx="891">
                  <c:v>42750</c:v>
                </c:pt>
                <c:pt idx="892">
                  <c:v>42749</c:v>
                </c:pt>
                <c:pt idx="893">
                  <c:v>42748</c:v>
                </c:pt>
                <c:pt idx="894">
                  <c:v>42747</c:v>
                </c:pt>
                <c:pt idx="895">
                  <c:v>42746</c:v>
                </c:pt>
                <c:pt idx="896">
                  <c:v>42745</c:v>
                </c:pt>
                <c:pt idx="897">
                  <c:v>42744</c:v>
                </c:pt>
                <c:pt idx="898">
                  <c:v>42743</c:v>
                </c:pt>
                <c:pt idx="899">
                  <c:v>42742</c:v>
                </c:pt>
                <c:pt idx="900">
                  <c:v>42741</c:v>
                </c:pt>
                <c:pt idx="901">
                  <c:v>42740</c:v>
                </c:pt>
                <c:pt idx="902">
                  <c:v>42739</c:v>
                </c:pt>
                <c:pt idx="903">
                  <c:v>42738</c:v>
                </c:pt>
                <c:pt idx="904">
                  <c:v>42737</c:v>
                </c:pt>
                <c:pt idx="905">
                  <c:v>42736</c:v>
                </c:pt>
                <c:pt idx="906">
                  <c:v>42735</c:v>
                </c:pt>
                <c:pt idx="907">
                  <c:v>42734</c:v>
                </c:pt>
                <c:pt idx="908">
                  <c:v>42733</c:v>
                </c:pt>
                <c:pt idx="909">
                  <c:v>42732</c:v>
                </c:pt>
                <c:pt idx="910">
                  <c:v>42731</c:v>
                </c:pt>
                <c:pt idx="911">
                  <c:v>42730</c:v>
                </c:pt>
                <c:pt idx="912">
                  <c:v>42729</c:v>
                </c:pt>
                <c:pt idx="913">
                  <c:v>42728</c:v>
                </c:pt>
                <c:pt idx="914">
                  <c:v>42727</c:v>
                </c:pt>
                <c:pt idx="915">
                  <c:v>42726</c:v>
                </c:pt>
                <c:pt idx="916">
                  <c:v>42725</c:v>
                </c:pt>
                <c:pt idx="917">
                  <c:v>42724</c:v>
                </c:pt>
                <c:pt idx="918">
                  <c:v>42723</c:v>
                </c:pt>
                <c:pt idx="919">
                  <c:v>42722</c:v>
                </c:pt>
                <c:pt idx="920">
                  <c:v>42721</c:v>
                </c:pt>
                <c:pt idx="921">
                  <c:v>42720</c:v>
                </c:pt>
                <c:pt idx="922">
                  <c:v>42719</c:v>
                </c:pt>
                <c:pt idx="923">
                  <c:v>42718</c:v>
                </c:pt>
                <c:pt idx="924">
                  <c:v>42717</c:v>
                </c:pt>
                <c:pt idx="925">
                  <c:v>42716</c:v>
                </c:pt>
                <c:pt idx="926">
                  <c:v>42715</c:v>
                </c:pt>
                <c:pt idx="927">
                  <c:v>42714</c:v>
                </c:pt>
                <c:pt idx="928">
                  <c:v>42713</c:v>
                </c:pt>
                <c:pt idx="929">
                  <c:v>42712</c:v>
                </c:pt>
                <c:pt idx="930">
                  <c:v>42711</c:v>
                </c:pt>
                <c:pt idx="931">
                  <c:v>42710</c:v>
                </c:pt>
                <c:pt idx="932">
                  <c:v>42709</c:v>
                </c:pt>
                <c:pt idx="933">
                  <c:v>42708</c:v>
                </c:pt>
                <c:pt idx="934">
                  <c:v>42707</c:v>
                </c:pt>
                <c:pt idx="935">
                  <c:v>42706</c:v>
                </c:pt>
                <c:pt idx="936">
                  <c:v>42705</c:v>
                </c:pt>
                <c:pt idx="937">
                  <c:v>42704</c:v>
                </c:pt>
                <c:pt idx="938">
                  <c:v>42703</c:v>
                </c:pt>
                <c:pt idx="939">
                  <c:v>42702</c:v>
                </c:pt>
                <c:pt idx="940">
                  <c:v>42701</c:v>
                </c:pt>
                <c:pt idx="941">
                  <c:v>42700</c:v>
                </c:pt>
                <c:pt idx="942">
                  <c:v>42699</c:v>
                </c:pt>
                <c:pt idx="943">
                  <c:v>42698</c:v>
                </c:pt>
                <c:pt idx="944">
                  <c:v>42697</c:v>
                </c:pt>
                <c:pt idx="945">
                  <c:v>42696</c:v>
                </c:pt>
                <c:pt idx="946">
                  <c:v>42695</c:v>
                </c:pt>
                <c:pt idx="947">
                  <c:v>42694</c:v>
                </c:pt>
                <c:pt idx="948">
                  <c:v>42693</c:v>
                </c:pt>
                <c:pt idx="949">
                  <c:v>42692</c:v>
                </c:pt>
                <c:pt idx="950">
                  <c:v>42691</c:v>
                </c:pt>
                <c:pt idx="951">
                  <c:v>42690</c:v>
                </c:pt>
                <c:pt idx="952">
                  <c:v>42689</c:v>
                </c:pt>
                <c:pt idx="953">
                  <c:v>42688</c:v>
                </c:pt>
                <c:pt idx="954">
                  <c:v>42687</c:v>
                </c:pt>
                <c:pt idx="955">
                  <c:v>42686</c:v>
                </c:pt>
                <c:pt idx="956">
                  <c:v>42685</c:v>
                </c:pt>
                <c:pt idx="957">
                  <c:v>42684</c:v>
                </c:pt>
                <c:pt idx="958">
                  <c:v>42683</c:v>
                </c:pt>
                <c:pt idx="959">
                  <c:v>42682</c:v>
                </c:pt>
                <c:pt idx="960">
                  <c:v>42681</c:v>
                </c:pt>
                <c:pt idx="961">
                  <c:v>42680</c:v>
                </c:pt>
                <c:pt idx="962">
                  <c:v>42679</c:v>
                </c:pt>
                <c:pt idx="963">
                  <c:v>42678</c:v>
                </c:pt>
                <c:pt idx="964">
                  <c:v>42677</c:v>
                </c:pt>
                <c:pt idx="965">
                  <c:v>42676</c:v>
                </c:pt>
                <c:pt idx="966">
                  <c:v>42675</c:v>
                </c:pt>
                <c:pt idx="967">
                  <c:v>42674</c:v>
                </c:pt>
                <c:pt idx="968">
                  <c:v>42673</c:v>
                </c:pt>
                <c:pt idx="969">
                  <c:v>42672</c:v>
                </c:pt>
                <c:pt idx="970">
                  <c:v>42671</c:v>
                </c:pt>
                <c:pt idx="971">
                  <c:v>42670</c:v>
                </c:pt>
                <c:pt idx="972">
                  <c:v>42669</c:v>
                </c:pt>
                <c:pt idx="973">
                  <c:v>42668</c:v>
                </c:pt>
                <c:pt idx="974">
                  <c:v>42667</c:v>
                </c:pt>
                <c:pt idx="975">
                  <c:v>42666</c:v>
                </c:pt>
                <c:pt idx="976">
                  <c:v>42665</c:v>
                </c:pt>
                <c:pt idx="977">
                  <c:v>42664</c:v>
                </c:pt>
                <c:pt idx="978">
                  <c:v>42663</c:v>
                </c:pt>
                <c:pt idx="979">
                  <c:v>42662</c:v>
                </c:pt>
                <c:pt idx="980">
                  <c:v>42661</c:v>
                </c:pt>
                <c:pt idx="981">
                  <c:v>42660</c:v>
                </c:pt>
                <c:pt idx="982">
                  <c:v>42659</c:v>
                </c:pt>
                <c:pt idx="983">
                  <c:v>42658</c:v>
                </c:pt>
                <c:pt idx="984">
                  <c:v>42657</c:v>
                </c:pt>
                <c:pt idx="985">
                  <c:v>42656</c:v>
                </c:pt>
                <c:pt idx="986">
                  <c:v>42655</c:v>
                </c:pt>
                <c:pt idx="987">
                  <c:v>42654</c:v>
                </c:pt>
                <c:pt idx="988">
                  <c:v>42653</c:v>
                </c:pt>
                <c:pt idx="989">
                  <c:v>42652</c:v>
                </c:pt>
                <c:pt idx="990">
                  <c:v>42651</c:v>
                </c:pt>
                <c:pt idx="991">
                  <c:v>42650</c:v>
                </c:pt>
                <c:pt idx="992">
                  <c:v>42649</c:v>
                </c:pt>
                <c:pt idx="993">
                  <c:v>42648</c:v>
                </c:pt>
                <c:pt idx="994">
                  <c:v>42647</c:v>
                </c:pt>
                <c:pt idx="995">
                  <c:v>42646</c:v>
                </c:pt>
                <c:pt idx="996">
                  <c:v>42645</c:v>
                </c:pt>
                <c:pt idx="997">
                  <c:v>42644</c:v>
                </c:pt>
                <c:pt idx="998">
                  <c:v>42643</c:v>
                </c:pt>
                <c:pt idx="999">
                  <c:v>42642</c:v>
                </c:pt>
                <c:pt idx="1000">
                  <c:v>42641</c:v>
                </c:pt>
                <c:pt idx="1001">
                  <c:v>42640</c:v>
                </c:pt>
                <c:pt idx="1002">
                  <c:v>42639</c:v>
                </c:pt>
                <c:pt idx="1003">
                  <c:v>42638</c:v>
                </c:pt>
                <c:pt idx="1004">
                  <c:v>42637</c:v>
                </c:pt>
                <c:pt idx="1005">
                  <c:v>42636</c:v>
                </c:pt>
                <c:pt idx="1006">
                  <c:v>42635</c:v>
                </c:pt>
                <c:pt idx="1007">
                  <c:v>42634</c:v>
                </c:pt>
                <c:pt idx="1008">
                  <c:v>42633</c:v>
                </c:pt>
                <c:pt idx="1009">
                  <c:v>42632</c:v>
                </c:pt>
                <c:pt idx="1010">
                  <c:v>42631</c:v>
                </c:pt>
                <c:pt idx="1011">
                  <c:v>42630</c:v>
                </c:pt>
                <c:pt idx="1012">
                  <c:v>42629</c:v>
                </c:pt>
                <c:pt idx="1013">
                  <c:v>42628</c:v>
                </c:pt>
                <c:pt idx="1014">
                  <c:v>42627</c:v>
                </c:pt>
                <c:pt idx="1015">
                  <c:v>42626</c:v>
                </c:pt>
                <c:pt idx="1016">
                  <c:v>42625</c:v>
                </c:pt>
                <c:pt idx="1017">
                  <c:v>42624</c:v>
                </c:pt>
                <c:pt idx="1018">
                  <c:v>42623</c:v>
                </c:pt>
                <c:pt idx="1019">
                  <c:v>42622</c:v>
                </c:pt>
                <c:pt idx="1020">
                  <c:v>42621</c:v>
                </c:pt>
                <c:pt idx="1021">
                  <c:v>42620</c:v>
                </c:pt>
                <c:pt idx="1022">
                  <c:v>42619</c:v>
                </c:pt>
                <c:pt idx="1023">
                  <c:v>42618</c:v>
                </c:pt>
                <c:pt idx="1024">
                  <c:v>42617</c:v>
                </c:pt>
                <c:pt idx="1025">
                  <c:v>42616</c:v>
                </c:pt>
                <c:pt idx="1026">
                  <c:v>42615</c:v>
                </c:pt>
                <c:pt idx="1027">
                  <c:v>42614</c:v>
                </c:pt>
                <c:pt idx="1028">
                  <c:v>42613</c:v>
                </c:pt>
                <c:pt idx="1029">
                  <c:v>42612</c:v>
                </c:pt>
                <c:pt idx="1030">
                  <c:v>42611</c:v>
                </c:pt>
                <c:pt idx="1031">
                  <c:v>42610</c:v>
                </c:pt>
                <c:pt idx="1032">
                  <c:v>42609</c:v>
                </c:pt>
                <c:pt idx="1033">
                  <c:v>42608</c:v>
                </c:pt>
                <c:pt idx="1034">
                  <c:v>42607</c:v>
                </c:pt>
                <c:pt idx="1035">
                  <c:v>42606</c:v>
                </c:pt>
                <c:pt idx="1036">
                  <c:v>42605</c:v>
                </c:pt>
                <c:pt idx="1037">
                  <c:v>42604</c:v>
                </c:pt>
                <c:pt idx="1038">
                  <c:v>42603</c:v>
                </c:pt>
                <c:pt idx="1039">
                  <c:v>42602</c:v>
                </c:pt>
                <c:pt idx="1040">
                  <c:v>42601</c:v>
                </c:pt>
                <c:pt idx="1041">
                  <c:v>42600</c:v>
                </c:pt>
                <c:pt idx="1042">
                  <c:v>42599</c:v>
                </c:pt>
                <c:pt idx="1043">
                  <c:v>42598</c:v>
                </c:pt>
                <c:pt idx="1044">
                  <c:v>42597</c:v>
                </c:pt>
                <c:pt idx="1045">
                  <c:v>42596</c:v>
                </c:pt>
                <c:pt idx="1046">
                  <c:v>42595</c:v>
                </c:pt>
                <c:pt idx="1047">
                  <c:v>42594</c:v>
                </c:pt>
                <c:pt idx="1048">
                  <c:v>42593</c:v>
                </c:pt>
                <c:pt idx="1049">
                  <c:v>42592</c:v>
                </c:pt>
                <c:pt idx="1050">
                  <c:v>42591</c:v>
                </c:pt>
                <c:pt idx="1051">
                  <c:v>42590</c:v>
                </c:pt>
                <c:pt idx="1052">
                  <c:v>42589</c:v>
                </c:pt>
                <c:pt idx="1053">
                  <c:v>42588</c:v>
                </c:pt>
                <c:pt idx="1054">
                  <c:v>42587</c:v>
                </c:pt>
                <c:pt idx="1055">
                  <c:v>42586</c:v>
                </c:pt>
                <c:pt idx="1056">
                  <c:v>42585</c:v>
                </c:pt>
                <c:pt idx="1057">
                  <c:v>42584</c:v>
                </c:pt>
                <c:pt idx="1058">
                  <c:v>42583</c:v>
                </c:pt>
                <c:pt idx="1059">
                  <c:v>42582</c:v>
                </c:pt>
                <c:pt idx="1060">
                  <c:v>42581</c:v>
                </c:pt>
                <c:pt idx="1061">
                  <c:v>42580</c:v>
                </c:pt>
                <c:pt idx="1062">
                  <c:v>42579</c:v>
                </c:pt>
                <c:pt idx="1063">
                  <c:v>42578</c:v>
                </c:pt>
                <c:pt idx="1064">
                  <c:v>42577</c:v>
                </c:pt>
                <c:pt idx="1065">
                  <c:v>42576</c:v>
                </c:pt>
                <c:pt idx="1066">
                  <c:v>42575</c:v>
                </c:pt>
                <c:pt idx="1067">
                  <c:v>42574</c:v>
                </c:pt>
                <c:pt idx="1068">
                  <c:v>42573</c:v>
                </c:pt>
                <c:pt idx="1069">
                  <c:v>42572</c:v>
                </c:pt>
                <c:pt idx="1070">
                  <c:v>42571</c:v>
                </c:pt>
                <c:pt idx="1071">
                  <c:v>42570</c:v>
                </c:pt>
                <c:pt idx="1072">
                  <c:v>42569</c:v>
                </c:pt>
                <c:pt idx="1073">
                  <c:v>42568</c:v>
                </c:pt>
                <c:pt idx="1074">
                  <c:v>42567</c:v>
                </c:pt>
                <c:pt idx="1075">
                  <c:v>42566</c:v>
                </c:pt>
                <c:pt idx="1076">
                  <c:v>42565</c:v>
                </c:pt>
                <c:pt idx="1077">
                  <c:v>42564</c:v>
                </c:pt>
                <c:pt idx="1078">
                  <c:v>42563</c:v>
                </c:pt>
                <c:pt idx="1079">
                  <c:v>42562</c:v>
                </c:pt>
                <c:pt idx="1080">
                  <c:v>42561</c:v>
                </c:pt>
                <c:pt idx="1081">
                  <c:v>42560</c:v>
                </c:pt>
                <c:pt idx="1082">
                  <c:v>42559</c:v>
                </c:pt>
                <c:pt idx="1083">
                  <c:v>42558</c:v>
                </c:pt>
                <c:pt idx="1084">
                  <c:v>42557</c:v>
                </c:pt>
                <c:pt idx="1085">
                  <c:v>42556</c:v>
                </c:pt>
                <c:pt idx="1086">
                  <c:v>42555</c:v>
                </c:pt>
                <c:pt idx="1087">
                  <c:v>42554</c:v>
                </c:pt>
                <c:pt idx="1088">
                  <c:v>42553</c:v>
                </c:pt>
                <c:pt idx="1089">
                  <c:v>42552</c:v>
                </c:pt>
                <c:pt idx="1090">
                  <c:v>42551</c:v>
                </c:pt>
                <c:pt idx="1091">
                  <c:v>42550</c:v>
                </c:pt>
                <c:pt idx="1092">
                  <c:v>42549</c:v>
                </c:pt>
                <c:pt idx="1093">
                  <c:v>42548</c:v>
                </c:pt>
                <c:pt idx="1094">
                  <c:v>42547</c:v>
                </c:pt>
                <c:pt idx="1095">
                  <c:v>42546</c:v>
                </c:pt>
                <c:pt idx="1096">
                  <c:v>42545</c:v>
                </c:pt>
                <c:pt idx="1097">
                  <c:v>42544</c:v>
                </c:pt>
                <c:pt idx="1098">
                  <c:v>42543</c:v>
                </c:pt>
                <c:pt idx="1099">
                  <c:v>42542</c:v>
                </c:pt>
                <c:pt idx="1100">
                  <c:v>42541</c:v>
                </c:pt>
                <c:pt idx="1101">
                  <c:v>42540</c:v>
                </c:pt>
                <c:pt idx="1102">
                  <c:v>42539</c:v>
                </c:pt>
                <c:pt idx="1103">
                  <c:v>42538</c:v>
                </c:pt>
                <c:pt idx="1104">
                  <c:v>42537</c:v>
                </c:pt>
                <c:pt idx="1105">
                  <c:v>42536</c:v>
                </c:pt>
                <c:pt idx="1106">
                  <c:v>42535</c:v>
                </c:pt>
                <c:pt idx="1107">
                  <c:v>42534</c:v>
                </c:pt>
                <c:pt idx="1108">
                  <c:v>42533</c:v>
                </c:pt>
                <c:pt idx="1109">
                  <c:v>42532</c:v>
                </c:pt>
                <c:pt idx="1110">
                  <c:v>42531</c:v>
                </c:pt>
                <c:pt idx="1111">
                  <c:v>42530</c:v>
                </c:pt>
                <c:pt idx="1112">
                  <c:v>42529</c:v>
                </c:pt>
                <c:pt idx="1113">
                  <c:v>42528</c:v>
                </c:pt>
                <c:pt idx="1114">
                  <c:v>42527</c:v>
                </c:pt>
                <c:pt idx="1115">
                  <c:v>42526</c:v>
                </c:pt>
                <c:pt idx="1116">
                  <c:v>42525</c:v>
                </c:pt>
                <c:pt idx="1117">
                  <c:v>42524</c:v>
                </c:pt>
                <c:pt idx="1118">
                  <c:v>42523</c:v>
                </c:pt>
                <c:pt idx="1119">
                  <c:v>42522</c:v>
                </c:pt>
                <c:pt idx="1120">
                  <c:v>42521</c:v>
                </c:pt>
                <c:pt idx="1121">
                  <c:v>42520</c:v>
                </c:pt>
                <c:pt idx="1122">
                  <c:v>42519</c:v>
                </c:pt>
                <c:pt idx="1123">
                  <c:v>42518</c:v>
                </c:pt>
                <c:pt idx="1124">
                  <c:v>42517</c:v>
                </c:pt>
                <c:pt idx="1125">
                  <c:v>42516</c:v>
                </c:pt>
                <c:pt idx="1126">
                  <c:v>42515</c:v>
                </c:pt>
                <c:pt idx="1127">
                  <c:v>42514</c:v>
                </c:pt>
                <c:pt idx="1128">
                  <c:v>42513</c:v>
                </c:pt>
                <c:pt idx="1129">
                  <c:v>42512</c:v>
                </c:pt>
                <c:pt idx="1130">
                  <c:v>42511</c:v>
                </c:pt>
                <c:pt idx="1131">
                  <c:v>42510</c:v>
                </c:pt>
                <c:pt idx="1132">
                  <c:v>42509</c:v>
                </c:pt>
                <c:pt idx="1133">
                  <c:v>42508</c:v>
                </c:pt>
                <c:pt idx="1134">
                  <c:v>42507</c:v>
                </c:pt>
                <c:pt idx="1135">
                  <c:v>42506</c:v>
                </c:pt>
                <c:pt idx="1136">
                  <c:v>42505</c:v>
                </c:pt>
                <c:pt idx="1137">
                  <c:v>42504</c:v>
                </c:pt>
                <c:pt idx="1138">
                  <c:v>42503</c:v>
                </c:pt>
                <c:pt idx="1139">
                  <c:v>42502</c:v>
                </c:pt>
                <c:pt idx="1140">
                  <c:v>42501</c:v>
                </c:pt>
                <c:pt idx="1141">
                  <c:v>42500</c:v>
                </c:pt>
                <c:pt idx="1142">
                  <c:v>42499</c:v>
                </c:pt>
                <c:pt idx="1143">
                  <c:v>42498</c:v>
                </c:pt>
                <c:pt idx="1144">
                  <c:v>42497</c:v>
                </c:pt>
                <c:pt idx="1145">
                  <c:v>42496</c:v>
                </c:pt>
                <c:pt idx="1146">
                  <c:v>42495</c:v>
                </c:pt>
                <c:pt idx="1147">
                  <c:v>42494</c:v>
                </c:pt>
                <c:pt idx="1148">
                  <c:v>42493</c:v>
                </c:pt>
                <c:pt idx="1149">
                  <c:v>42492</c:v>
                </c:pt>
                <c:pt idx="1150">
                  <c:v>42491</c:v>
                </c:pt>
                <c:pt idx="1151">
                  <c:v>42490</c:v>
                </c:pt>
                <c:pt idx="1152">
                  <c:v>42489</c:v>
                </c:pt>
                <c:pt idx="1153">
                  <c:v>42488</c:v>
                </c:pt>
                <c:pt idx="1154">
                  <c:v>42487</c:v>
                </c:pt>
                <c:pt idx="1155">
                  <c:v>42486</c:v>
                </c:pt>
                <c:pt idx="1156">
                  <c:v>42485</c:v>
                </c:pt>
                <c:pt idx="1157">
                  <c:v>42484</c:v>
                </c:pt>
                <c:pt idx="1158">
                  <c:v>42483</c:v>
                </c:pt>
                <c:pt idx="1159">
                  <c:v>42482</c:v>
                </c:pt>
                <c:pt idx="1160">
                  <c:v>42481</c:v>
                </c:pt>
                <c:pt idx="1161">
                  <c:v>42480</c:v>
                </c:pt>
                <c:pt idx="1162">
                  <c:v>42479</c:v>
                </c:pt>
                <c:pt idx="1163">
                  <c:v>42478</c:v>
                </c:pt>
                <c:pt idx="1164">
                  <c:v>42477</c:v>
                </c:pt>
                <c:pt idx="1165">
                  <c:v>42476</c:v>
                </c:pt>
                <c:pt idx="1166">
                  <c:v>42475</c:v>
                </c:pt>
                <c:pt idx="1167">
                  <c:v>42474</c:v>
                </c:pt>
                <c:pt idx="1168">
                  <c:v>42473</c:v>
                </c:pt>
                <c:pt idx="1169">
                  <c:v>42472</c:v>
                </c:pt>
                <c:pt idx="1170">
                  <c:v>42471</c:v>
                </c:pt>
                <c:pt idx="1171">
                  <c:v>42470</c:v>
                </c:pt>
                <c:pt idx="1172">
                  <c:v>42469</c:v>
                </c:pt>
                <c:pt idx="1173">
                  <c:v>42468</c:v>
                </c:pt>
                <c:pt idx="1174">
                  <c:v>42467</c:v>
                </c:pt>
                <c:pt idx="1175">
                  <c:v>42466</c:v>
                </c:pt>
                <c:pt idx="1176">
                  <c:v>42465</c:v>
                </c:pt>
                <c:pt idx="1177">
                  <c:v>42464</c:v>
                </c:pt>
                <c:pt idx="1178">
                  <c:v>42463</c:v>
                </c:pt>
                <c:pt idx="1179">
                  <c:v>42462</c:v>
                </c:pt>
                <c:pt idx="1180">
                  <c:v>42461</c:v>
                </c:pt>
                <c:pt idx="1181">
                  <c:v>42460</c:v>
                </c:pt>
                <c:pt idx="1182">
                  <c:v>42459</c:v>
                </c:pt>
                <c:pt idx="1183">
                  <c:v>42458</c:v>
                </c:pt>
                <c:pt idx="1184">
                  <c:v>42457</c:v>
                </c:pt>
                <c:pt idx="1185">
                  <c:v>42456</c:v>
                </c:pt>
                <c:pt idx="1186">
                  <c:v>42455</c:v>
                </c:pt>
                <c:pt idx="1187">
                  <c:v>42454</c:v>
                </c:pt>
                <c:pt idx="1188">
                  <c:v>42453</c:v>
                </c:pt>
                <c:pt idx="1189">
                  <c:v>42452</c:v>
                </c:pt>
                <c:pt idx="1190">
                  <c:v>42451</c:v>
                </c:pt>
                <c:pt idx="1191">
                  <c:v>42450</c:v>
                </c:pt>
                <c:pt idx="1192">
                  <c:v>42449</c:v>
                </c:pt>
                <c:pt idx="1193">
                  <c:v>42448</c:v>
                </c:pt>
                <c:pt idx="1194">
                  <c:v>42447</c:v>
                </c:pt>
                <c:pt idx="1195">
                  <c:v>42446</c:v>
                </c:pt>
                <c:pt idx="1196">
                  <c:v>42445</c:v>
                </c:pt>
                <c:pt idx="1197">
                  <c:v>42444</c:v>
                </c:pt>
                <c:pt idx="1198">
                  <c:v>42443</c:v>
                </c:pt>
                <c:pt idx="1199">
                  <c:v>42442</c:v>
                </c:pt>
                <c:pt idx="1200">
                  <c:v>42441</c:v>
                </c:pt>
                <c:pt idx="1201">
                  <c:v>42440</c:v>
                </c:pt>
                <c:pt idx="1202">
                  <c:v>42439</c:v>
                </c:pt>
                <c:pt idx="1203">
                  <c:v>42438</c:v>
                </c:pt>
                <c:pt idx="1204">
                  <c:v>42437</c:v>
                </c:pt>
                <c:pt idx="1205">
                  <c:v>42436</c:v>
                </c:pt>
                <c:pt idx="1206">
                  <c:v>42435</c:v>
                </c:pt>
                <c:pt idx="1207">
                  <c:v>42434</c:v>
                </c:pt>
                <c:pt idx="1208">
                  <c:v>42433</c:v>
                </c:pt>
                <c:pt idx="1209">
                  <c:v>42432</c:v>
                </c:pt>
                <c:pt idx="1210">
                  <c:v>42431</c:v>
                </c:pt>
                <c:pt idx="1211">
                  <c:v>42430</c:v>
                </c:pt>
                <c:pt idx="1212">
                  <c:v>42429</c:v>
                </c:pt>
                <c:pt idx="1213">
                  <c:v>42428</c:v>
                </c:pt>
                <c:pt idx="1214">
                  <c:v>42427</c:v>
                </c:pt>
                <c:pt idx="1215">
                  <c:v>42426</c:v>
                </c:pt>
                <c:pt idx="1216">
                  <c:v>42425</c:v>
                </c:pt>
                <c:pt idx="1217">
                  <c:v>42424</c:v>
                </c:pt>
                <c:pt idx="1218">
                  <c:v>42423</c:v>
                </c:pt>
                <c:pt idx="1219">
                  <c:v>42422</c:v>
                </c:pt>
                <c:pt idx="1220">
                  <c:v>42421</c:v>
                </c:pt>
                <c:pt idx="1221">
                  <c:v>42420</c:v>
                </c:pt>
                <c:pt idx="1222">
                  <c:v>42419</c:v>
                </c:pt>
                <c:pt idx="1223">
                  <c:v>42418</c:v>
                </c:pt>
                <c:pt idx="1224">
                  <c:v>42417</c:v>
                </c:pt>
                <c:pt idx="1225">
                  <c:v>42416</c:v>
                </c:pt>
                <c:pt idx="1226">
                  <c:v>42415</c:v>
                </c:pt>
                <c:pt idx="1227">
                  <c:v>42414</c:v>
                </c:pt>
                <c:pt idx="1228">
                  <c:v>42413</c:v>
                </c:pt>
                <c:pt idx="1229">
                  <c:v>42412</c:v>
                </c:pt>
                <c:pt idx="1230">
                  <c:v>42411</c:v>
                </c:pt>
                <c:pt idx="1231">
                  <c:v>42410</c:v>
                </c:pt>
                <c:pt idx="1232">
                  <c:v>42409</c:v>
                </c:pt>
                <c:pt idx="1233">
                  <c:v>42408</c:v>
                </c:pt>
                <c:pt idx="1234">
                  <c:v>42407</c:v>
                </c:pt>
                <c:pt idx="1235">
                  <c:v>42406</c:v>
                </c:pt>
                <c:pt idx="1236">
                  <c:v>42405</c:v>
                </c:pt>
                <c:pt idx="1237">
                  <c:v>42404</c:v>
                </c:pt>
                <c:pt idx="1238">
                  <c:v>42403</c:v>
                </c:pt>
                <c:pt idx="1239">
                  <c:v>42402</c:v>
                </c:pt>
                <c:pt idx="1240">
                  <c:v>42401</c:v>
                </c:pt>
                <c:pt idx="1241">
                  <c:v>42400</c:v>
                </c:pt>
                <c:pt idx="1242">
                  <c:v>42399</c:v>
                </c:pt>
                <c:pt idx="1243">
                  <c:v>42398</c:v>
                </c:pt>
                <c:pt idx="1244">
                  <c:v>42397</c:v>
                </c:pt>
                <c:pt idx="1245">
                  <c:v>42396</c:v>
                </c:pt>
                <c:pt idx="1246">
                  <c:v>42395</c:v>
                </c:pt>
                <c:pt idx="1247">
                  <c:v>42394</c:v>
                </c:pt>
                <c:pt idx="1248">
                  <c:v>42393</c:v>
                </c:pt>
                <c:pt idx="1249">
                  <c:v>42392</c:v>
                </c:pt>
                <c:pt idx="1250">
                  <c:v>42391</c:v>
                </c:pt>
                <c:pt idx="1251">
                  <c:v>42390</c:v>
                </c:pt>
                <c:pt idx="1252">
                  <c:v>42389</c:v>
                </c:pt>
                <c:pt idx="1253">
                  <c:v>42388</c:v>
                </c:pt>
                <c:pt idx="1254">
                  <c:v>42387</c:v>
                </c:pt>
                <c:pt idx="1255">
                  <c:v>42386</c:v>
                </c:pt>
                <c:pt idx="1256">
                  <c:v>42385</c:v>
                </c:pt>
                <c:pt idx="1257">
                  <c:v>42384</c:v>
                </c:pt>
                <c:pt idx="1258">
                  <c:v>42383</c:v>
                </c:pt>
                <c:pt idx="1259">
                  <c:v>42382</c:v>
                </c:pt>
                <c:pt idx="1260">
                  <c:v>42381</c:v>
                </c:pt>
                <c:pt idx="1261">
                  <c:v>42380</c:v>
                </c:pt>
                <c:pt idx="1262">
                  <c:v>42379</c:v>
                </c:pt>
                <c:pt idx="1263">
                  <c:v>42378</c:v>
                </c:pt>
                <c:pt idx="1264">
                  <c:v>42377</c:v>
                </c:pt>
                <c:pt idx="1265">
                  <c:v>42376</c:v>
                </c:pt>
                <c:pt idx="1266">
                  <c:v>42375</c:v>
                </c:pt>
                <c:pt idx="1267">
                  <c:v>42374</c:v>
                </c:pt>
                <c:pt idx="1268">
                  <c:v>42373</c:v>
                </c:pt>
                <c:pt idx="1269">
                  <c:v>42372</c:v>
                </c:pt>
                <c:pt idx="1270">
                  <c:v>42371</c:v>
                </c:pt>
                <c:pt idx="1271">
                  <c:v>42370</c:v>
                </c:pt>
                <c:pt idx="1272">
                  <c:v>42369</c:v>
                </c:pt>
                <c:pt idx="1273">
                  <c:v>42368</c:v>
                </c:pt>
                <c:pt idx="1274">
                  <c:v>42367</c:v>
                </c:pt>
                <c:pt idx="1275">
                  <c:v>42366</c:v>
                </c:pt>
                <c:pt idx="1276">
                  <c:v>42365</c:v>
                </c:pt>
                <c:pt idx="1277">
                  <c:v>42364</c:v>
                </c:pt>
                <c:pt idx="1278">
                  <c:v>42363</c:v>
                </c:pt>
                <c:pt idx="1279">
                  <c:v>42362</c:v>
                </c:pt>
                <c:pt idx="1280">
                  <c:v>42361</c:v>
                </c:pt>
                <c:pt idx="1281">
                  <c:v>42360</c:v>
                </c:pt>
                <c:pt idx="1282">
                  <c:v>42359</c:v>
                </c:pt>
                <c:pt idx="1283">
                  <c:v>42358</c:v>
                </c:pt>
                <c:pt idx="1284">
                  <c:v>42357</c:v>
                </c:pt>
                <c:pt idx="1285">
                  <c:v>42356</c:v>
                </c:pt>
                <c:pt idx="1286">
                  <c:v>42355</c:v>
                </c:pt>
                <c:pt idx="1287">
                  <c:v>42354</c:v>
                </c:pt>
                <c:pt idx="1288">
                  <c:v>42353</c:v>
                </c:pt>
                <c:pt idx="1289">
                  <c:v>42352</c:v>
                </c:pt>
                <c:pt idx="1290">
                  <c:v>42351</c:v>
                </c:pt>
                <c:pt idx="1291">
                  <c:v>42350</c:v>
                </c:pt>
                <c:pt idx="1292">
                  <c:v>42349</c:v>
                </c:pt>
                <c:pt idx="1293">
                  <c:v>42348</c:v>
                </c:pt>
                <c:pt idx="1294">
                  <c:v>42347</c:v>
                </c:pt>
                <c:pt idx="1295">
                  <c:v>42346</c:v>
                </c:pt>
                <c:pt idx="1296">
                  <c:v>42345</c:v>
                </c:pt>
                <c:pt idx="1297">
                  <c:v>42344</c:v>
                </c:pt>
                <c:pt idx="1298">
                  <c:v>42343</c:v>
                </c:pt>
                <c:pt idx="1299">
                  <c:v>42342</c:v>
                </c:pt>
                <c:pt idx="1300">
                  <c:v>42341</c:v>
                </c:pt>
                <c:pt idx="1301">
                  <c:v>42340</c:v>
                </c:pt>
                <c:pt idx="1302">
                  <c:v>42339</c:v>
                </c:pt>
                <c:pt idx="1303">
                  <c:v>42338</c:v>
                </c:pt>
                <c:pt idx="1304">
                  <c:v>42337</c:v>
                </c:pt>
                <c:pt idx="1305">
                  <c:v>42336</c:v>
                </c:pt>
                <c:pt idx="1306">
                  <c:v>42335</c:v>
                </c:pt>
                <c:pt idx="1307">
                  <c:v>42334</c:v>
                </c:pt>
                <c:pt idx="1308">
                  <c:v>42333</c:v>
                </c:pt>
                <c:pt idx="1309">
                  <c:v>42332</c:v>
                </c:pt>
                <c:pt idx="1310">
                  <c:v>42331</c:v>
                </c:pt>
                <c:pt idx="1311">
                  <c:v>42330</c:v>
                </c:pt>
                <c:pt idx="1312">
                  <c:v>42329</c:v>
                </c:pt>
                <c:pt idx="1313">
                  <c:v>42328</c:v>
                </c:pt>
                <c:pt idx="1314">
                  <c:v>42327</c:v>
                </c:pt>
                <c:pt idx="1315">
                  <c:v>42326</c:v>
                </c:pt>
                <c:pt idx="1316">
                  <c:v>42325</c:v>
                </c:pt>
                <c:pt idx="1317">
                  <c:v>42324</c:v>
                </c:pt>
                <c:pt idx="1318">
                  <c:v>42323</c:v>
                </c:pt>
                <c:pt idx="1319">
                  <c:v>42322</c:v>
                </c:pt>
                <c:pt idx="1320">
                  <c:v>42321</c:v>
                </c:pt>
                <c:pt idx="1321">
                  <c:v>42320</c:v>
                </c:pt>
                <c:pt idx="1322">
                  <c:v>42319</c:v>
                </c:pt>
                <c:pt idx="1323">
                  <c:v>42318</c:v>
                </c:pt>
                <c:pt idx="1324">
                  <c:v>42317</c:v>
                </c:pt>
                <c:pt idx="1325">
                  <c:v>42316</c:v>
                </c:pt>
                <c:pt idx="1326">
                  <c:v>42315</c:v>
                </c:pt>
                <c:pt idx="1327">
                  <c:v>42314</c:v>
                </c:pt>
                <c:pt idx="1328">
                  <c:v>42313</c:v>
                </c:pt>
                <c:pt idx="1329">
                  <c:v>42312</c:v>
                </c:pt>
                <c:pt idx="1330">
                  <c:v>42311</c:v>
                </c:pt>
                <c:pt idx="1331">
                  <c:v>42310</c:v>
                </c:pt>
                <c:pt idx="1332">
                  <c:v>42309</c:v>
                </c:pt>
                <c:pt idx="1333">
                  <c:v>42308</c:v>
                </c:pt>
                <c:pt idx="1334">
                  <c:v>42307</c:v>
                </c:pt>
                <c:pt idx="1335">
                  <c:v>42306</c:v>
                </c:pt>
                <c:pt idx="1336">
                  <c:v>42305</c:v>
                </c:pt>
                <c:pt idx="1337">
                  <c:v>42304</c:v>
                </c:pt>
                <c:pt idx="1338">
                  <c:v>42303</c:v>
                </c:pt>
                <c:pt idx="1339">
                  <c:v>42302</c:v>
                </c:pt>
                <c:pt idx="1340">
                  <c:v>42301</c:v>
                </c:pt>
                <c:pt idx="1341">
                  <c:v>42300</c:v>
                </c:pt>
                <c:pt idx="1342">
                  <c:v>42299</c:v>
                </c:pt>
                <c:pt idx="1343">
                  <c:v>42298</c:v>
                </c:pt>
                <c:pt idx="1344">
                  <c:v>42297</c:v>
                </c:pt>
                <c:pt idx="1345">
                  <c:v>42296</c:v>
                </c:pt>
                <c:pt idx="1346">
                  <c:v>42295</c:v>
                </c:pt>
                <c:pt idx="1347">
                  <c:v>42294</c:v>
                </c:pt>
                <c:pt idx="1348">
                  <c:v>42293</c:v>
                </c:pt>
                <c:pt idx="1349">
                  <c:v>42292</c:v>
                </c:pt>
                <c:pt idx="1350">
                  <c:v>42291</c:v>
                </c:pt>
                <c:pt idx="1351">
                  <c:v>42290</c:v>
                </c:pt>
                <c:pt idx="1352">
                  <c:v>42289</c:v>
                </c:pt>
                <c:pt idx="1353">
                  <c:v>42288</c:v>
                </c:pt>
                <c:pt idx="1354">
                  <c:v>42287</c:v>
                </c:pt>
                <c:pt idx="1355">
                  <c:v>42286</c:v>
                </c:pt>
                <c:pt idx="1356">
                  <c:v>42285</c:v>
                </c:pt>
                <c:pt idx="1357">
                  <c:v>42284</c:v>
                </c:pt>
                <c:pt idx="1358">
                  <c:v>42283</c:v>
                </c:pt>
                <c:pt idx="1359">
                  <c:v>42282</c:v>
                </c:pt>
                <c:pt idx="1360">
                  <c:v>42281</c:v>
                </c:pt>
                <c:pt idx="1361">
                  <c:v>42280</c:v>
                </c:pt>
                <c:pt idx="1362">
                  <c:v>42279</c:v>
                </c:pt>
                <c:pt idx="1363">
                  <c:v>42278</c:v>
                </c:pt>
                <c:pt idx="1364">
                  <c:v>42277</c:v>
                </c:pt>
                <c:pt idx="1365">
                  <c:v>42276</c:v>
                </c:pt>
                <c:pt idx="1366">
                  <c:v>42275</c:v>
                </c:pt>
                <c:pt idx="1367">
                  <c:v>42274</c:v>
                </c:pt>
                <c:pt idx="1368">
                  <c:v>42273</c:v>
                </c:pt>
                <c:pt idx="1369">
                  <c:v>42272</c:v>
                </c:pt>
                <c:pt idx="1370">
                  <c:v>42271</c:v>
                </c:pt>
                <c:pt idx="1371">
                  <c:v>42270</c:v>
                </c:pt>
                <c:pt idx="1372">
                  <c:v>42269</c:v>
                </c:pt>
                <c:pt idx="1373">
                  <c:v>42268</c:v>
                </c:pt>
                <c:pt idx="1374">
                  <c:v>42267</c:v>
                </c:pt>
                <c:pt idx="1375">
                  <c:v>42266</c:v>
                </c:pt>
                <c:pt idx="1376">
                  <c:v>42265</c:v>
                </c:pt>
                <c:pt idx="1377">
                  <c:v>42264</c:v>
                </c:pt>
                <c:pt idx="1378">
                  <c:v>42263</c:v>
                </c:pt>
                <c:pt idx="1379">
                  <c:v>42262</c:v>
                </c:pt>
                <c:pt idx="1380">
                  <c:v>42261</c:v>
                </c:pt>
                <c:pt idx="1381">
                  <c:v>42260</c:v>
                </c:pt>
                <c:pt idx="1382">
                  <c:v>42259</c:v>
                </c:pt>
                <c:pt idx="1383">
                  <c:v>42258</c:v>
                </c:pt>
                <c:pt idx="1384">
                  <c:v>42257</c:v>
                </c:pt>
                <c:pt idx="1385">
                  <c:v>42256</c:v>
                </c:pt>
                <c:pt idx="1386">
                  <c:v>42255</c:v>
                </c:pt>
                <c:pt idx="1387">
                  <c:v>42254</c:v>
                </c:pt>
                <c:pt idx="1388">
                  <c:v>42253</c:v>
                </c:pt>
                <c:pt idx="1389">
                  <c:v>42252</c:v>
                </c:pt>
                <c:pt idx="1390">
                  <c:v>42251</c:v>
                </c:pt>
                <c:pt idx="1391">
                  <c:v>42250</c:v>
                </c:pt>
                <c:pt idx="1392">
                  <c:v>42249</c:v>
                </c:pt>
                <c:pt idx="1393">
                  <c:v>42248</c:v>
                </c:pt>
                <c:pt idx="1394">
                  <c:v>42247</c:v>
                </c:pt>
                <c:pt idx="1395">
                  <c:v>42246</c:v>
                </c:pt>
                <c:pt idx="1396">
                  <c:v>42245</c:v>
                </c:pt>
                <c:pt idx="1397">
                  <c:v>42244</c:v>
                </c:pt>
                <c:pt idx="1398">
                  <c:v>42243</c:v>
                </c:pt>
                <c:pt idx="1399">
                  <c:v>42242</c:v>
                </c:pt>
                <c:pt idx="1400">
                  <c:v>42241</c:v>
                </c:pt>
                <c:pt idx="1401">
                  <c:v>42240</c:v>
                </c:pt>
                <c:pt idx="1402">
                  <c:v>42239</c:v>
                </c:pt>
                <c:pt idx="1403">
                  <c:v>42238</c:v>
                </c:pt>
                <c:pt idx="1404">
                  <c:v>42237</c:v>
                </c:pt>
                <c:pt idx="1405">
                  <c:v>42236</c:v>
                </c:pt>
                <c:pt idx="1406">
                  <c:v>42235</c:v>
                </c:pt>
                <c:pt idx="1407">
                  <c:v>42234</c:v>
                </c:pt>
                <c:pt idx="1408">
                  <c:v>42233</c:v>
                </c:pt>
                <c:pt idx="1409">
                  <c:v>42232</c:v>
                </c:pt>
                <c:pt idx="1410">
                  <c:v>42231</c:v>
                </c:pt>
                <c:pt idx="1411">
                  <c:v>42230</c:v>
                </c:pt>
                <c:pt idx="1412">
                  <c:v>42229</c:v>
                </c:pt>
                <c:pt idx="1413">
                  <c:v>42228</c:v>
                </c:pt>
                <c:pt idx="1414">
                  <c:v>42227</c:v>
                </c:pt>
                <c:pt idx="1415">
                  <c:v>42226</c:v>
                </c:pt>
                <c:pt idx="1416">
                  <c:v>42225</c:v>
                </c:pt>
                <c:pt idx="1417">
                  <c:v>42224</c:v>
                </c:pt>
                <c:pt idx="1418">
                  <c:v>42223</c:v>
                </c:pt>
                <c:pt idx="1419">
                  <c:v>42222</c:v>
                </c:pt>
                <c:pt idx="1420">
                  <c:v>42221</c:v>
                </c:pt>
                <c:pt idx="1421">
                  <c:v>42220</c:v>
                </c:pt>
                <c:pt idx="1422">
                  <c:v>42219</c:v>
                </c:pt>
                <c:pt idx="1423">
                  <c:v>42218</c:v>
                </c:pt>
                <c:pt idx="1424">
                  <c:v>42217</c:v>
                </c:pt>
                <c:pt idx="1425">
                  <c:v>42216</c:v>
                </c:pt>
                <c:pt idx="1426">
                  <c:v>42215</c:v>
                </c:pt>
                <c:pt idx="1427">
                  <c:v>42214</c:v>
                </c:pt>
                <c:pt idx="1428">
                  <c:v>42213</c:v>
                </c:pt>
                <c:pt idx="1429">
                  <c:v>42212</c:v>
                </c:pt>
                <c:pt idx="1430">
                  <c:v>42211</c:v>
                </c:pt>
                <c:pt idx="1431">
                  <c:v>42210</c:v>
                </c:pt>
                <c:pt idx="1432">
                  <c:v>42209</c:v>
                </c:pt>
                <c:pt idx="1433">
                  <c:v>42208</c:v>
                </c:pt>
                <c:pt idx="1434">
                  <c:v>42207</c:v>
                </c:pt>
                <c:pt idx="1435">
                  <c:v>42206</c:v>
                </c:pt>
                <c:pt idx="1436">
                  <c:v>42205</c:v>
                </c:pt>
                <c:pt idx="1437">
                  <c:v>42204</c:v>
                </c:pt>
                <c:pt idx="1438">
                  <c:v>42203</c:v>
                </c:pt>
                <c:pt idx="1439">
                  <c:v>42202</c:v>
                </c:pt>
                <c:pt idx="1440">
                  <c:v>42201</c:v>
                </c:pt>
                <c:pt idx="1441">
                  <c:v>42200</c:v>
                </c:pt>
                <c:pt idx="1442">
                  <c:v>42199</c:v>
                </c:pt>
                <c:pt idx="1443">
                  <c:v>42198</c:v>
                </c:pt>
                <c:pt idx="1444">
                  <c:v>42197</c:v>
                </c:pt>
                <c:pt idx="1445">
                  <c:v>42196</c:v>
                </c:pt>
                <c:pt idx="1446">
                  <c:v>42195</c:v>
                </c:pt>
                <c:pt idx="1447">
                  <c:v>42194</c:v>
                </c:pt>
                <c:pt idx="1448">
                  <c:v>42193</c:v>
                </c:pt>
                <c:pt idx="1449">
                  <c:v>42192</c:v>
                </c:pt>
                <c:pt idx="1450">
                  <c:v>42191</c:v>
                </c:pt>
                <c:pt idx="1451">
                  <c:v>42190</c:v>
                </c:pt>
                <c:pt idx="1452">
                  <c:v>42189</c:v>
                </c:pt>
                <c:pt idx="1453">
                  <c:v>42188</c:v>
                </c:pt>
                <c:pt idx="1454">
                  <c:v>42187</c:v>
                </c:pt>
                <c:pt idx="1455">
                  <c:v>42186</c:v>
                </c:pt>
                <c:pt idx="1456">
                  <c:v>42185</c:v>
                </c:pt>
                <c:pt idx="1457">
                  <c:v>42184</c:v>
                </c:pt>
                <c:pt idx="1458">
                  <c:v>42183</c:v>
                </c:pt>
                <c:pt idx="1459">
                  <c:v>42182</c:v>
                </c:pt>
                <c:pt idx="1460">
                  <c:v>42181</c:v>
                </c:pt>
                <c:pt idx="1461">
                  <c:v>42180</c:v>
                </c:pt>
                <c:pt idx="1462">
                  <c:v>42179</c:v>
                </c:pt>
                <c:pt idx="1463">
                  <c:v>42178</c:v>
                </c:pt>
                <c:pt idx="1464">
                  <c:v>42177</c:v>
                </c:pt>
                <c:pt idx="1465">
                  <c:v>42176</c:v>
                </c:pt>
                <c:pt idx="1466">
                  <c:v>42175</c:v>
                </c:pt>
                <c:pt idx="1467">
                  <c:v>42174</c:v>
                </c:pt>
                <c:pt idx="1468">
                  <c:v>42173</c:v>
                </c:pt>
                <c:pt idx="1469">
                  <c:v>42172</c:v>
                </c:pt>
                <c:pt idx="1470">
                  <c:v>42171</c:v>
                </c:pt>
                <c:pt idx="1471">
                  <c:v>42170</c:v>
                </c:pt>
                <c:pt idx="1472">
                  <c:v>42169</c:v>
                </c:pt>
                <c:pt idx="1473">
                  <c:v>42168</c:v>
                </c:pt>
                <c:pt idx="1474">
                  <c:v>42167</c:v>
                </c:pt>
                <c:pt idx="1475">
                  <c:v>42166</c:v>
                </c:pt>
                <c:pt idx="1476">
                  <c:v>42165</c:v>
                </c:pt>
                <c:pt idx="1477">
                  <c:v>42164</c:v>
                </c:pt>
                <c:pt idx="1478">
                  <c:v>42163</c:v>
                </c:pt>
                <c:pt idx="1479">
                  <c:v>42162</c:v>
                </c:pt>
                <c:pt idx="1480">
                  <c:v>42161</c:v>
                </c:pt>
                <c:pt idx="1481">
                  <c:v>42160</c:v>
                </c:pt>
                <c:pt idx="1482">
                  <c:v>42159</c:v>
                </c:pt>
                <c:pt idx="1483">
                  <c:v>42158</c:v>
                </c:pt>
                <c:pt idx="1484">
                  <c:v>42157</c:v>
                </c:pt>
                <c:pt idx="1485">
                  <c:v>42156</c:v>
                </c:pt>
                <c:pt idx="1486">
                  <c:v>42155</c:v>
                </c:pt>
                <c:pt idx="1487">
                  <c:v>42154</c:v>
                </c:pt>
                <c:pt idx="1488">
                  <c:v>42153</c:v>
                </c:pt>
                <c:pt idx="1489">
                  <c:v>42152</c:v>
                </c:pt>
                <c:pt idx="1490">
                  <c:v>42151</c:v>
                </c:pt>
                <c:pt idx="1491">
                  <c:v>42150</c:v>
                </c:pt>
                <c:pt idx="1492">
                  <c:v>42149</c:v>
                </c:pt>
                <c:pt idx="1493">
                  <c:v>42148</c:v>
                </c:pt>
                <c:pt idx="1494">
                  <c:v>42147</c:v>
                </c:pt>
                <c:pt idx="1495">
                  <c:v>42146</c:v>
                </c:pt>
                <c:pt idx="1496">
                  <c:v>42145</c:v>
                </c:pt>
                <c:pt idx="1497">
                  <c:v>42144</c:v>
                </c:pt>
                <c:pt idx="1498">
                  <c:v>42143</c:v>
                </c:pt>
                <c:pt idx="1499">
                  <c:v>42142</c:v>
                </c:pt>
                <c:pt idx="1500">
                  <c:v>42141</c:v>
                </c:pt>
                <c:pt idx="1501">
                  <c:v>42140</c:v>
                </c:pt>
                <c:pt idx="1502">
                  <c:v>42139</c:v>
                </c:pt>
                <c:pt idx="1503">
                  <c:v>42138</c:v>
                </c:pt>
                <c:pt idx="1504">
                  <c:v>42137</c:v>
                </c:pt>
                <c:pt idx="1505">
                  <c:v>42136</c:v>
                </c:pt>
                <c:pt idx="1506">
                  <c:v>42135</c:v>
                </c:pt>
                <c:pt idx="1507">
                  <c:v>42134</c:v>
                </c:pt>
                <c:pt idx="1508">
                  <c:v>42133</c:v>
                </c:pt>
                <c:pt idx="1509">
                  <c:v>42132</c:v>
                </c:pt>
                <c:pt idx="1510">
                  <c:v>42131</c:v>
                </c:pt>
                <c:pt idx="1511">
                  <c:v>42130</c:v>
                </c:pt>
                <c:pt idx="1512">
                  <c:v>42129</c:v>
                </c:pt>
                <c:pt idx="1513">
                  <c:v>42128</c:v>
                </c:pt>
                <c:pt idx="1514">
                  <c:v>42127</c:v>
                </c:pt>
                <c:pt idx="1515">
                  <c:v>42126</c:v>
                </c:pt>
                <c:pt idx="1516">
                  <c:v>42125</c:v>
                </c:pt>
                <c:pt idx="1517">
                  <c:v>42124</c:v>
                </c:pt>
                <c:pt idx="1518">
                  <c:v>42123</c:v>
                </c:pt>
                <c:pt idx="1519">
                  <c:v>42122</c:v>
                </c:pt>
                <c:pt idx="1520">
                  <c:v>42121</c:v>
                </c:pt>
                <c:pt idx="1521">
                  <c:v>42120</c:v>
                </c:pt>
                <c:pt idx="1522">
                  <c:v>42119</c:v>
                </c:pt>
                <c:pt idx="1523">
                  <c:v>42118</c:v>
                </c:pt>
                <c:pt idx="1524">
                  <c:v>42117</c:v>
                </c:pt>
                <c:pt idx="1525">
                  <c:v>42116</c:v>
                </c:pt>
                <c:pt idx="1526">
                  <c:v>42115</c:v>
                </c:pt>
                <c:pt idx="1527">
                  <c:v>42114</c:v>
                </c:pt>
                <c:pt idx="1528">
                  <c:v>42113</c:v>
                </c:pt>
                <c:pt idx="1529">
                  <c:v>42112</c:v>
                </c:pt>
                <c:pt idx="1530">
                  <c:v>42111</c:v>
                </c:pt>
                <c:pt idx="1531">
                  <c:v>42110</c:v>
                </c:pt>
                <c:pt idx="1532">
                  <c:v>42109</c:v>
                </c:pt>
                <c:pt idx="1533">
                  <c:v>42108</c:v>
                </c:pt>
                <c:pt idx="1534">
                  <c:v>42107</c:v>
                </c:pt>
                <c:pt idx="1535">
                  <c:v>42106</c:v>
                </c:pt>
                <c:pt idx="1536">
                  <c:v>42105</c:v>
                </c:pt>
                <c:pt idx="1537">
                  <c:v>42104</c:v>
                </c:pt>
                <c:pt idx="1538">
                  <c:v>42103</c:v>
                </c:pt>
                <c:pt idx="1539">
                  <c:v>42102</c:v>
                </c:pt>
                <c:pt idx="1540">
                  <c:v>42101</c:v>
                </c:pt>
                <c:pt idx="1541">
                  <c:v>42100</c:v>
                </c:pt>
                <c:pt idx="1542">
                  <c:v>42099</c:v>
                </c:pt>
                <c:pt idx="1543">
                  <c:v>42098</c:v>
                </c:pt>
                <c:pt idx="1544">
                  <c:v>42097</c:v>
                </c:pt>
                <c:pt idx="1545">
                  <c:v>42096</c:v>
                </c:pt>
                <c:pt idx="1546">
                  <c:v>42095</c:v>
                </c:pt>
                <c:pt idx="1547">
                  <c:v>42094</c:v>
                </c:pt>
                <c:pt idx="1548">
                  <c:v>42093</c:v>
                </c:pt>
                <c:pt idx="1549">
                  <c:v>42092</c:v>
                </c:pt>
                <c:pt idx="1550">
                  <c:v>42091</c:v>
                </c:pt>
                <c:pt idx="1551">
                  <c:v>42090</c:v>
                </c:pt>
                <c:pt idx="1552">
                  <c:v>42089</c:v>
                </c:pt>
                <c:pt idx="1553">
                  <c:v>42088</c:v>
                </c:pt>
                <c:pt idx="1554">
                  <c:v>42087</c:v>
                </c:pt>
                <c:pt idx="1555">
                  <c:v>42086</c:v>
                </c:pt>
                <c:pt idx="1556">
                  <c:v>42085</c:v>
                </c:pt>
                <c:pt idx="1557">
                  <c:v>42084</c:v>
                </c:pt>
                <c:pt idx="1558">
                  <c:v>42083</c:v>
                </c:pt>
                <c:pt idx="1559">
                  <c:v>42082</c:v>
                </c:pt>
                <c:pt idx="1560">
                  <c:v>42081</c:v>
                </c:pt>
                <c:pt idx="1561">
                  <c:v>42080</c:v>
                </c:pt>
                <c:pt idx="1562">
                  <c:v>42079</c:v>
                </c:pt>
                <c:pt idx="1563">
                  <c:v>42078</c:v>
                </c:pt>
                <c:pt idx="1564">
                  <c:v>42077</c:v>
                </c:pt>
                <c:pt idx="1565">
                  <c:v>42076</c:v>
                </c:pt>
                <c:pt idx="1566">
                  <c:v>42075</c:v>
                </c:pt>
                <c:pt idx="1567">
                  <c:v>42074</c:v>
                </c:pt>
                <c:pt idx="1568">
                  <c:v>42073</c:v>
                </c:pt>
                <c:pt idx="1569">
                  <c:v>42072</c:v>
                </c:pt>
                <c:pt idx="1570">
                  <c:v>42071</c:v>
                </c:pt>
                <c:pt idx="1571">
                  <c:v>42070</c:v>
                </c:pt>
                <c:pt idx="1572">
                  <c:v>42069</c:v>
                </c:pt>
                <c:pt idx="1573">
                  <c:v>42068</c:v>
                </c:pt>
                <c:pt idx="1574">
                  <c:v>42067</c:v>
                </c:pt>
                <c:pt idx="1575">
                  <c:v>42066</c:v>
                </c:pt>
                <c:pt idx="1576">
                  <c:v>42065</c:v>
                </c:pt>
                <c:pt idx="1577">
                  <c:v>42064</c:v>
                </c:pt>
                <c:pt idx="1578">
                  <c:v>42063</c:v>
                </c:pt>
                <c:pt idx="1579">
                  <c:v>42062</c:v>
                </c:pt>
                <c:pt idx="1580">
                  <c:v>42061</c:v>
                </c:pt>
                <c:pt idx="1581">
                  <c:v>42060</c:v>
                </c:pt>
                <c:pt idx="1582">
                  <c:v>42059</c:v>
                </c:pt>
                <c:pt idx="1583">
                  <c:v>42058</c:v>
                </c:pt>
                <c:pt idx="1584">
                  <c:v>42057</c:v>
                </c:pt>
                <c:pt idx="1585">
                  <c:v>42056</c:v>
                </c:pt>
                <c:pt idx="1586">
                  <c:v>42055</c:v>
                </c:pt>
                <c:pt idx="1587">
                  <c:v>42054</c:v>
                </c:pt>
                <c:pt idx="1588">
                  <c:v>42053</c:v>
                </c:pt>
                <c:pt idx="1589">
                  <c:v>42052</c:v>
                </c:pt>
                <c:pt idx="1590">
                  <c:v>42051</c:v>
                </c:pt>
                <c:pt idx="1591">
                  <c:v>42050</c:v>
                </c:pt>
                <c:pt idx="1592">
                  <c:v>42049</c:v>
                </c:pt>
                <c:pt idx="1593">
                  <c:v>42048</c:v>
                </c:pt>
                <c:pt idx="1594">
                  <c:v>42047</c:v>
                </c:pt>
                <c:pt idx="1595">
                  <c:v>42046</c:v>
                </c:pt>
                <c:pt idx="1596">
                  <c:v>42045</c:v>
                </c:pt>
                <c:pt idx="1597">
                  <c:v>42044</c:v>
                </c:pt>
                <c:pt idx="1598">
                  <c:v>42043</c:v>
                </c:pt>
                <c:pt idx="1599">
                  <c:v>42042</c:v>
                </c:pt>
                <c:pt idx="1600">
                  <c:v>42041</c:v>
                </c:pt>
                <c:pt idx="1601">
                  <c:v>42040</c:v>
                </c:pt>
                <c:pt idx="1602">
                  <c:v>42039</c:v>
                </c:pt>
                <c:pt idx="1603">
                  <c:v>42038</c:v>
                </c:pt>
                <c:pt idx="1604">
                  <c:v>42037</c:v>
                </c:pt>
                <c:pt idx="1605">
                  <c:v>42036</c:v>
                </c:pt>
                <c:pt idx="1606">
                  <c:v>42035</c:v>
                </c:pt>
                <c:pt idx="1607">
                  <c:v>42034</c:v>
                </c:pt>
                <c:pt idx="1608">
                  <c:v>42033</c:v>
                </c:pt>
                <c:pt idx="1609">
                  <c:v>42032</c:v>
                </c:pt>
                <c:pt idx="1610">
                  <c:v>42031</c:v>
                </c:pt>
                <c:pt idx="1611">
                  <c:v>42030</c:v>
                </c:pt>
                <c:pt idx="1612">
                  <c:v>42029</c:v>
                </c:pt>
                <c:pt idx="1613">
                  <c:v>42028</c:v>
                </c:pt>
                <c:pt idx="1614">
                  <c:v>42027</c:v>
                </c:pt>
                <c:pt idx="1615">
                  <c:v>42026</c:v>
                </c:pt>
                <c:pt idx="1616">
                  <c:v>42025</c:v>
                </c:pt>
                <c:pt idx="1617">
                  <c:v>42024</c:v>
                </c:pt>
                <c:pt idx="1618">
                  <c:v>42023</c:v>
                </c:pt>
                <c:pt idx="1619">
                  <c:v>42022</c:v>
                </c:pt>
                <c:pt idx="1620">
                  <c:v>42021</c:v>
                </c:pt>
                <c:pt idx="1621">
                  <c:v>42020</c:v>
                </c:pt>
                <c:pt idx="1622">
                  <c:v>42019</c:v>
                </c:pt>
                <c:pt idx="1623">
                  <c:v>42018</c:v>
                </c:pt>
                <c:pt idx="1624">
                  <c:v>42017</c:v>
                </c:pt>
                <c:pt idx="1625">
                  <c:v>42016</c:v>
                </c:pt>
                <c:pt idx="1626">
                  <c:v>42015</c:v>
                </c:pt>
                <c:pt idx="1627">
                  <c:v>42014</c:v>
                </c:pt>
                <c:pt idx="1628">
                  <c:v>42013</c:v>
                </c:pt>
                <c:pt idx="1629">
                  <c:v>42012</c:v>
                </c:pt>
                <c:pt idx="1630">
                  <c:v>42011</c:v>
                </c:pt>
                <c:pt idx="1631">
                  <c:v>42010</c:v>
                </c:pt>
                <c:pt idx="1632">
                  <c:v>42009</c:v>
                </c:pt>
                <c:pt idx="1633">
                  <c:v>42008</c:v>
                </c:pt>
                <c:pt idx="1634">
                  <c:v>42007</c:v>
                </c:pt>
                <c:pt idx="1635">
                  <c:v>42006</c:v>
                </c:pt>
                <c:pt idx="1636">
                  <c:v>42005</c:v>
                </c:pt>
                <c:pt idx="1637">
                  <c:v>42004</c:v>
                </c:pt>
                <c:pt idx="1638">
                  <c:v>42003</c:v>
                </c:pt>
                <c:pt idx="1639">
                  <c:v>42002</c:v>
                </c:pt>
                <c:pt idx="1640">
                  <c:v>42001</c:v>
                </c:pt>
                <c:pt idx="1641">
                  <c:v>42000</c:v>
                </c:pt>
                <c:pt idx="1642">
                  <c:v>41999</c:v>
                </c:pt>
                <c:pt idx="1643">
                  <c:v>41998</c:v>
                </c:pt>
                <c:pt idx="1644">
                  <c:v>41997</c:v>
                </c:pt>
                <c:pt idx="1645">
                  <c:v>41996</c:v>
                </c:pt>
                <c:pt idx="1646">
                  <c:v>41995</c:v>
                </c:pt>
                <c:pt idx="1647">
                  <c:v>41994</c:v>
                </c:pt>
                <c:pt idx="1648">
                  <c:v>41993</c:v>
                </c:pt>
                <c:pt idx="1649">
                  <c:v>41992</c:v>
                </c:pt>
                <c:pt idx="1650">
                  <c:v>41991</c:v>
                </c:pt>
                <c:pt idx="1651">
                  <c:v>41990</c:v>
                </c:pt>
                <c:pt idx="1652">
                  <c:v>41989</c:v>
                </c:pt>
                <c:pt idx="1653">
                  <c:v>41988</c:v>
                </c:pt>
                <c:pt idx="1654">
                  <c:v>41987</c:v>
                </c:pt>
                <c:pt idx="1655">
                  <c:v>41986</c:v>
                </c:pt>
                <c:pt idx="1656">
                  <c:v>41985</c:v>
                </c:pt>
                <c:pt idx="1657">
                  <c:v>41984</c:v>
                </c:pt>
                <c:pt idx="1658">
                  <c:v>41983</c:v>
                </c:pt>
                <c:pt idx="1659">
                  <c:v>41982</c:v>
                </c:pt>
                <c:pt idx="1660">
                  <c:v>41981</c:v>
                </c:pt>
                <c:pt idx="1661">
                  <c:v>41980</c:v>
                </c:pt>
                <c:pt idx="1662">
                  <c:v>41979</c:v>
                </c:pt>
                <c:pt idx="1663">
                  <c:v>41978</c:v>
                </c:pt>
                <c:pt idx="1664">
                  <c:v>41977</c:v>
                </c:pt>
                <c:pt idx="1665">
                  <c:v>41976</c:v>
                </c:pt>
                <c:pt idx="1666">
                  <c:v>41975</c:v>
                </c:pt>
                <c:pt idx="1667">
                  <c:v>41974</c:v>
                </c:pt>
                <c:pt idx="1668">
                  <c:v>41973</c:v>
                </c:pt>
                <c:pt idx="1669">
                  <c:v>41972</c:v>
                </c:pt>
                <c:pt idx="1670">
                  <c:v>41971</c:v>
                </c:pt>
                <c:pt idx="1671">
                  <c:v>41970</c:v>
                </c:pt>
                <c:pt idx="1672">
                  <c:v>41969</c:v>
                </c:pt>
                <c:pt idx="1673">
                  <c:v>41968</c:v>
                </c:pt>
                <c:pt idx="1674">
                  <c:v>41967</c:v>
                </c:pt>
                <c:pt idx="1675">
                  <c:v>41966</c:v>
                </c:pt>
                <c:pt idx="1676">
                  <c:v>41965</c:v>
                </c:pt>
                <c:pt idx="1677">
                  <c:v>41964</c:v>
                </c:pt>
                <c:pt idx="1678">
                  <c:v>41963</c:v>
                </c:pt>
                <c:pt idx="1679">
                  <c:v>41962</c:v>
                </c:pt>
                <c:pt idx="1680">
                  <c:v>41961</c:v>
                </c:pt>
                <c:pt idx="1681">
                  <c:v>41960</c:v>
                </c:pt>
                <c:pt idx="1682">
                  <c:v>41959</c:v>
                </c:pt>
                <c:pt idx="1683">
                  <c:v>41958</c:v>
                </c:pt>
                <c:pt idx="1684">
                  <c:v>41957</c:v>
                </c:pt>
                <c:pt idx="1685">
                  <c:v>41956</c:v>
                </c:pt>
                <c:pt idx="1686">
                  <c:v>41955</c:v>
                </c:pt>
                <c:pt idx="1687">
                  <c:v>41954</c:v>
                </c:pt>
                <c:pt idx="1688">
                  <c:v>41953</c:v>
                </c:pt>
                <c:pt idx="1689">
                  <c:v>41952</c:v>
                </c:pt>
                <c:pt idx="1690">
                  <c:v>41951</c:v>
                </c:pt>
                <c:pt idx="1691">
                  <c:v>41950</c:v>
                </c:pt>
                <c:pt idx="1692">
                  <c:v>41949</c:v>
                </c:pt>
                <c:pt idx="1693">
                  <c:v>41948</c:v>
                </c:pt>
                <c:pt idx="1694">
                  <c:v>41947</c:v>
                </c:pt>
                <c:pt idx="1695">
                  <c:v>41946</c:v>
                </c:pt>
                <c:pt idx="1696">
                  <c:v>41945</c:v>
                </c:pt>
                <c:pt idx="1697">
                  <c:v>41944</c:v>
                </c:pt>
                <c:pt idx="1698">
                  <c:v>41943</c:v>
                </c:pt>
                <c:pt idx="1699">
                  <c:v>41942</c:v>
                </c:pt>
                <c:pt idx="1700">
                  <c:v>41941</c:v>
                </c:pt>
                <c:pt idx="1701">
                  <c:v>41940</c:v>
                </c:pt>
                <c:pt idx="1702">
                  <c:v>41939</c:v>
                </c:pt>
                <c:pt idx="1703">
                  <c:v>41938</c:v>
                </c:pt>
                <c:pt idx="1704">
                  <c:v>41937</c:v>
                </c:pt>
                <c:pt idx="1705">
                  <c:v>41936</c:v>
                </c:pt>
                <c:pt idx="1706">
                  <c:v>41935</c:v>
                </c:pt>
                <c:pt idx="1707">
                  <c:v>41934</c:v>
                </c:pt>
                <c:pt idx="1708">
                  <c:v>41933</c:v>
                </c:pt>
                <c:pt idx="1709">
                  <c:v>41932</c:v>
                </c:pt>
                <c:pt idx="1710">
                  <c:v>41931</c:v>
                </c:pt>
                <c:pt idx="1711">
                  <c:v>41930</c:v>
                </c:pt>
                <c:pt idx="1712">
                  <c:v>41929</c:v>
                </c:pt>
                <c:pt idx="1713">
                  <c:v>41928</c:v>
                </c:pt>
                <c:pt idx="1714">
                  <c:v>41927</c:v>
                </c:pt>
                <c:pt idx="1715">
                  <c:v>41926</c:v>
                </c:pt>
                <c:pt idx="1716">
                  <c:v>41925</c:v>
                </c:pt>
                <c:pt idx="1717">
                  <c:v>41924</c:v>
                </c:pt>
                <c:pt idx="1718">
                  <c:v>41923</c:v>
                </c:pt>
                <c:pt idx="1719">
                  <c:v>41922</c:v>
                </c:pt>
                <c:pt idx="1720">
                  <c:v>41921</c:v>
                </c:pt>
                <c:pt idx="1721">
                  <c:v>41920</c:v>
                </c:pt>
                <c:pt idx="1722">
                  <c:v>41919</c:v>
                </c:pt>
                <c:pt idx="1723">
                  <c:v>41918</c:v>
                </c:pt>
                <c:pt idx="1724">
                  <c:v>41917</c:v>
                </c:pt>
                <c:pt idx="1725">
                  <c:v>41916</c:v>
                </c:pt>
                <c:pt idx="1726">
                  <c:v>41915</c:v>
                </c:pt>
                <c:pt idx="1727">
                  <c:v>41914</c:v>
                </c:pt>
                <c:pt idx="1728">
                  <c:v>41913</c:v>
                </c:pt>
                <c:pt idx="1729">
                  <c:v>41912</c:v>
                </c:pt>
                <c:pt idx="1730">
                  <c:v>41911</c:v>
                </c:pt>
                <c:pt idx="1731">
                  <c:v>41910</c:v>
                </c:pt>
                <c:pt idx="1732">
                  <c:v>41909</c:v>
                </c:pt>
                <c:pt idx="1733">
                  <c:v>41908</c:v>
                </c:pt>
                <c:pt idx="1734">
                  <c:v>41907</c:v>
                </c:pt>
                <c:pt idx="1735">
                  <c:v>41906</c:v>
                </c:pt>
                <c:pt idx="1736">
                  <c:v>41905</c:v>
                </c:pt>
                <c:pt idx="1737">
                  <c:v>41904</c:v>
                </c:pt>
                <c:pt idx="1738">
                  <c:v>41903</c:v>
                </c:pt>
                <c:pt idx="1739">
                  <c:v>41902</c:v>
                </c:pt>
                <c:pt idx="1740">
                  <c:v>41901</c:v>
                </c:pt>
                <c:pt idx="1741">
                  <c:v>41900</c:v>
                </c:pt>
                <c:pt idx="1742">
                  <c:v>41899</c:v>
                </c:pt>
                <c:pt idx="1743">
                  <c:v>41898</c:v>
                </c:pt>
                <c:pt idx="1744">
                  <c:v>41897</c:v>
                </c:pt>
                <c:pt idx="1745">
                  <c:v>41896</c:v>
                </c:pt>
                <c:pt idx="1746">
                  <c:v>41895</c:v>
                </c:pt>
                <c:pt idx="1747">
                  <c:v>41894</c:v>
                </c:pt>
                <c:pt idx="1748">
                  <c:v>41893</c:v>
                </c:pt>
                <c:pt idx="1749">
                  <c:v>41892</c:v>
                </c:pt>
                <c:pt idx="1750">
                  <c:v>41891</c:v>
                </c:pt>
                <c:pt idx="1751">
                  <c:v>41890</c:v>
                </c:pt>
                <c:pt idx="1752">
                  <c:v>41889</c:v>
                </c:pt>
                <c:pt idx="1753">
                  <c:v>41888</c:v>
                </c:pt>
                <c:pt idx="1754">
                  <c:v>41887</c:v>
                </c:pt>
                <c:pt idx="1755">
                  <c:v>41886</c:v>
                </c:pt>
                <c:pt idx="1756">
                  <c:v>41885</c:v>
                </c:pt>
                <c:pt idx="1757">
                  <c:v>41884</c:v>
                </c:pt>
                <c:pt idx="1758">
                  <c:v>41883</c:v>
                </c:pt>
                <c:pt idx="1759">
                  <c:v>41882</c:v>
                </c:pt>
                <c:pt idx="1760">
                  <c:v>41881</c:v>
                </c:pt>
                <c:pt idx="1761">
                  <c:v>41880</c:v>
                </c:pt>
                <c:pt idx="1762">
                  <c:v>41879</c:v>
                </c:pt>
                <c:pt idx="1763">
                  <c:v>41878</c:v>
                </c:pt>
                <c:pt idx="1764">
                  <c:v>41877</c:v>
                </c:pt>
                <c:pt idx="1765">
                  <c:v>41876</c:v>
                </c:pt>
                <c:pt idx="1766">
                  <c:v>41875</c:v>
                </c:pt>
                <c:pt idx="1767">
                  <c:v>41874</c:v>
                </c:pt>
                <c:pt idx="1768">
                  <c:v>41873</c:v>
                </c:pt>
                <c:pt idx="1769">
                  <c:v>41872</c:v>
                </c:pt>
                <c:pt idx="1770">
                  <c:v>41871</c:v>
                </c:pt>
                <c:pt idx="1771">
                  <c:v>41870</c:v>
                </c:pt>
                <c:pt idx="1772">
                  <c:v>41869</c:v>
                </c:pt>
                <c:pt idx="1773">
                  <c:v>41868</c:v>
                </c:pt>
                <c:pt idx="1774">
                  <c:v>41867</c:v>
                </c:pt>
                <c:pt idx="1775">
                  <c:v>41866</c:v>
                </c:pt>
                <c:pt idx="1776">
                  <c:v>41865</c:v>
                </c:pt>
                <c:pt idx="1777">
                  <c:v>41864</c:v>
                </c:pt>
                <c:pt idx="1778">
                  <c:v>41863</c:v>
                </c:pt>
                <c:pt idx="1779">
                  <c:v>41862</c:v>
                </c:pt>
                <c:pt idx="1780">
                  <c:v>41861</c:v>
                </c:pt>
                <c:pt idx="1781">
                  <c:v>41860</c:v>
                </c:pt>
                <c:pt idx="1782">
                  <c:v>41859</c:v>
                </c:pt>
                <c:pt idx="1783">
                  <c:v>41858</c:v>
                </c:pt>
                <c:pt idx="1784">
                  <c:v>41857</c:v>
                </c:pt>
                <c:pt idx="1785">
                  <c:v>41856</c:v>
                </c:pt>
                <c:pt idx="1786">
                  <c:v>41855</c:v>
                </c:pt>
                <c:pt idx="1787">
                  <c:v>41854</c:v>
                </c:pt>
                <c:pt idx="1788">
                  <c:v>41853</c:v>
                </c:pt>
                <c:pt idx="1789">
                  <c:v>41852</c:v>
                </c:pt>
                <c:pt idx="1790">
                  <c:v>41851</c:v>
                </c:pt>
                <c:pt idx="1791">
                  <c:v>41850</c:v>
                </c:pt>
                <c:pt idx="1792">
                  <c:v>41849</c:v>
                </c:pt>
                <c:pt idx="1793">
                  <c:v>41848</c:v>
                </c:pt>
                <c:pt idx="1794">
                  <c:v>41847</c:v>
                </c:pt>
                <c:pt idx="1795">
                  <c:v>41846</c:v>
                </c:pt>
                <c:pt idx="1796">
                  <c:v>41845</c:v>
                </c:pt>
                <c:pt idx="1797">
                  <c:v>41844</c:v>
                </c:pt>
                <c:pt idx="1798">
                  <c:v>41843</c:v>
                </c:pt>
                <c:pt idx="1799">
                  <c:v>41842</c:v>
                </c:pt>
                <c:pt idx="1800">
                  <c:v>41841</c:v>
                </c:pt>
                <c:pt idx="1801">
                  <c:v>41840</c:v>
                </c:pt>
                <c:pt idx="1802">
                  <c:v>41839</c:v>
                </c:pt>
                <c:pt idx="1803">
                  <c:v>41838</c:v>
                </c:pt>
                <c:pt idx="1804">
                  <c:v>41837</c:v>
                </c:pt>
                <c:pt idx="1805">
                  <c:v>41836</c:v>
                </c:pt>
                <c:pt idx="1806">
                  <c:v>41835</c:v>
                </c:pt>
                <c:pt idx="1807">
                  <c:v>41834</c:v>
                </c:pt>
                <c:pt idx="1808">
                  <c:v>41833</c:v>
                </c:pt>
                <c:pt idx="1809">
                  <c:v>41832</c:v>
                </c:pt>
                <c:pt idx="1810">
                  <c:v>41831</c:v>
                </c:pt>
                <c:pt idx="1811">
                  <c:v>41830</c:v>
                </c:pt>
                <c:pt idx="1812">
                  <c:v>41829</c:v>
                </c:pt>
                <c:pt idx="1813">
                  <c:v>41828</c:v>
                </c:pt>
                <c:pt idx="1814">
                  <c:v>41827</c:v>
                </c:pt>
                <c:pt idx="1815">
                  <c:v>41826</c:v>
                </c:pt>
                <c:pt idx="1816">
                  <c:v>41825</c:v>
                </c:pt>
                <c:pt idx="1817">
                  <c:v>41824</c:v>
                </c:pt>
                <c:pt idx="1818">
                  <c:v>41823</c:v>
                </c:pt>
                <c:pt idx="1819">
                  <c:v>41822</c:v>
                </c:pt>
                <c:pt idx="1820">
                  <c:v>41821</c:v>
                </c:pt>
                <c:pt idx="1821">
                  <c:v>41820</c:v>
                </c:pt>
                <c:pt idx="1822">
                  <c:v>41819</c:v>
                </c:pt>
                <c:pt idx="1823">
                  <c:v>41818</c:v>
                </c:pt>
                <c:pt idx="1824">
                  <c:v>41817</c:v>
                </c:pt>
                <c:pt idx="1825">
                  <c:v>41816</c:v>
                </c:pt>
                <c:pt idx="1826">
                  <c:v>41815</c:v>
                </c:pt>
                <c:pt idx="1827">
                  <c:v>41814</c:v>
                </c:pt>
                <c:pt idx="1828">
                  <c:v>41813</c:v>
                </c:pt>
                <c:pt idx="1829">
                  <c:v>41812</c:v>
                </c:pt>
                <c:pt idx="1830">
                  <c:v>41811</c:v>
                </c:pt>
                <c:pt idx="1831">
                  <c:v>41810</c:v>
                </c:pt>
                <c:pt idx="1832">
                  <c:v>41809</c:v>
                </c:pt>
                <c:pt idx="1833">
                  <c:v>41808</c:v>
                </c:pt>
                <c:pt idx="1834">
                  <c:v>41807</c:v>
                </c:pt>
                <c:pt idx="1835">
                  <c:v>41806</c:v>
                </c:pt>
                <c:pt idx="1836">
                  <c:v>41805</c:v>
                </c:pt>
                <c:pt idx="1837">
                  <c:v>41804</c:v>
                </c:pt>
                <c:pt idx="1838">
                  <c:v>41803</c:v>
                </c:pt>
                <c:pt idx="1839">
                  <c:v>41802</c:v>
                </c:pt>
                <c:pt idx="1840">
                  <c:v>41801</c:v>
                </c:pt>
                <c:pt idx="1841">
                  <c:v>41800</c:v>
                </c:pt>
                <c:pt idx="1842">
                  <c:v>41799</c:v>
                </c:pt>
                <c:pt idx="1843">
                  <c:v>41798</c:v>
                </c:pt>
                <c:pt idx="1844">
                  <c:v>41797</c:v>
                </c:pt>
                <c:pt idx="1845">
                  <c:v>41796</c:v>
                </c:pt>
                <c:pt idx="1846">
                  <c:v>41795</c:v>
                </c:pt>
                <c:pt idx="1847">
                  <c:v>41794</c:v>
                </c:pt>
                <c:pt idx="1848">
                  <c:v>41793</c:v>
                </c:pt>
                <c:pt idx="1849">
                  <c:v>41792</c:v>
                </c:pt>
                <c:pt idx="1850">
                  <c:v>41791</c:v>
                </c:pt>
                <c:pt idx="1851">
                  <c:v>41790</c:v>
                </c:pt>
                <c:pt idx="1852">
                  <c:v>41789</c:v>
                </c:pt>
                <c:pt idx="1853">
                  <c:v>41788</c:v>
                </c:pt>
                <c:pt idx="1854">
                  <c:v>41787</c:v>
                </c:pt>
                <c:pt idx="1855">
                  <c:v>41786</c:v>
                </c:pt>
                <c:pt idx="1856">
                  <c:v>41785</c:v>
                </c:pt>
                <c:pt idx="1857">
                  <c:v>41784</c:v>
                </c:pt>
                <c:pt idx="1858">
                  <c:v>41783</c:v>
                </c:pt>
                <c:pt idx="1859">
                  <c:v>41782</c:v>
                </c:pt>
                <c:pt idx="1860">
                  <c:v>41781</c:v>
                </c:pt>
                <c:pt idx="1861">
                  <c:v>41780</c:v>
                </c:pt>
                <c:pt idx="1862">
                  <c:v>41779</c:v>
                </c:pt>
                <c:pt idx="1863">
                  <c:v>41778</c:v>
                </c:pt>
                <c:pt idx="1864">
                  <c:v>41777</c:v>
                </c:pt>
                <c:pt idx="1865">
                  <c:v>41776</c:v>
                </c:pt>
                <c:pt idx="1866">
                  <c:v>41775</c:v>
                </c:pt>
                <c:pt idx="1867">
                  <c:v>41774</c:v>
                </c:pt>
                <c:pt idx="1868">
                  <c:v>41773</c:v>
                </c:pt>
                <c:pt idx="1869">
                  <c:v>41772</c:v>
                </c:pt>
                <c:pt idx="1870">
                  <c:v>41771</c:v>
                </c:pt>
                <c:pt idx="1871">
                  <c:v>41770</c:v>
                </c:pt>
                <c:pt idx="1872">
                  <c:v>41769</c:v>
                </c:pt>
                <c:pt idx="1873">
                  <c:v>41768</c:v>
                </c:pt>
                <c:pt idx="1874">
                  <c:v>41767</c:v>
                </c:pt>
                <c:pt idx="1875">
                  <c:v>41766</c:v>
                </c:pt>
                <c:pt idx="1876">
                  <c:v>41765</c:v>
                </c:pt>
                <c:pt idx="1877">
                  <c:v>41764</c:v>
                </c:pt>
                <c:pt idx="1878">
                  <c:v>41763</c:v>
                </c:pt>
                <c:pt idx="1879">
                  <c:v>41762</c:v>
                </c:pt>
                <c:pt idx="1880">
                  <c:v>41761</c:v>
                </c:pt>
                <c:pt idx="1881">
                  <c:v>41760</c:v>
                </c:pt>
                <c:pt idx="1882">
                  <c:v>41759</c:v>
                </c:pt>
                <c:pt idx="1883">
                  <c:v>41758</c:v>
                </c:pt>
                <c:pt idx="1884">
                  <c:v>41757</c:v>
                </c:pt>
                <c:pt idx="1885">
                  <c:v>41756</c:v>
                </c:pt>
                <c:pt idx="1886">
                  <c:v>41755</c:v>
                </c:pt>
                <c:pt idx="1887">
                  <c:v>41754</c:v>
                </c:pt>
                <c:pt idx="1888">
                  <c:v>41753</c:v>
                </c:pt>
                <c:pt idx="1889">
                  <c:v>41752</c:v>
                </c:pt>
                <c:pt idx="1890">
                  <c:v>41751</c:v>
                </c:pt>
                <c:pt idx="1891">
                  <c:v>41750</c:v>
                </c:pt>
                <c:pt idx="1892">
                  <c:v>41749</c:v>
                </c:pt>
                <c:pt idx="1893">
                  <c:v>41748</c:v>
                </c:pt>
                <c:pt idx="1894">
                  <c:v>41747</c:v>
                </c:pt>
                <c:pt idx="1895">
                  <c:v>41746</c:v>
                </c:pt>
                <c:pt idx="1896">
                  <c:v>41745</c:v>
                </c:pt>
                <c:pt idx="1897">
                  <c:v>41744</c:v>
                </c:pt>
                <c:pt idx="1898">
                  <c:v>41743</c:v>
                </c:pt>
                <c:pt idx="1899">
                  <c:v>41742</c:v>
                </c:pt>
                <c:pt idx="1900">
                  <c:v>41741</c:v>
                </c:pt>
                <c:pt idx="1901">
                  <c:v>41740</c:v>
                </c:pt>
                <c:pt idx="1902">
                  <c:v>41739</c:v>
                </c:pt>
                <c:pt idx="1903">
                  <c:v>41738</c:v>
                </c:pt>
                <c:pt idx="1904">
                  <c:v>41737</c:v>
                </c:pt>
                <c:pt idx="1905">
                  <c:v>41736</c:v>
                </c:pt>
                <c:pt idx="1906">
                  <c:v>41735</c:v>
                </c:pt>
                <c:pt idx="1907">
                  <c:v>41734</c:v>
                </c:pt>
                <c:pt idx="1908">
                  <c:v>41733</c:v>
                </c:pt>
                <c:pt idx="1909">
                  <c:v>41732</c:v>
                </c:pt>
                <c:pt idx="1910">
                  <c:v>41731</c:v>
                </c:pt>
                <c:pt idx="1911">
                  <c:v>41730</c:v>
                </c:pt>
                <c:pt idx="1912">
                  <c:v>41729</c:v>
                </c:pt>
                <c:pt idx="1913">
                  <c:v>41728</c:v>
                </c:pt>
                <c:pt idx="1914">
                  <c:v>41727</c:v>
                </c:pt>
                <c:pt idx="1915">
                  <c:v>41726</c:v>
                </c:pt>
                <c:pt idx="1916">
                  <c:v>41725</c:v>
                </c:pt>
                <c:pt idx="1917">
                  <c:v>41724</c:v>
                </c:pt>
                <c:pt idx="1918">
                  <c:v>41723</c:v>
                </c:pt>
                <c:pt idx="1919">
                  <c:v>41722</c:v>
                </c:pt>
                <c:pt idx="1920">
                  <c:v>41721</c:v>
                </c:pt>
                <c:pt idx="1921">
                  <c:v>41720</c:v>
                </c:pt>
                <c:pt idx="1922">
                  <c:v>41719</c:v>
                </c:pt>
                <c:pt idx="1923">
                  <c:v>41718</c:v>
                </c:pt>
                <c:pt idx="1924">
                  <c:v>41717</c:v>
                </c:pt>
                <c:pt idx="1925">
                  <c:v>41716</c:v>
                </c:pt>
                <c:pt idx="1926">
                  <c:v>41715</c:v>
                </c:pt>
                <c:pt idx="1927">
                  <c:v>41714</c:v>
                </c:pt>
                <c:pt idx="1928">
                  <c:v>41713</c:v>
                </c:pt>
                <c:pt idx="1929">
                  <c:v>41712</c:v>
                </c:pt>
                <c:pt idx="1930">
                  <c:v>41711</c:v>
                </c:pt>
                <c:pt idx="1931">
                  <c:v>41710</c:v>
                </c:pt>
                <c:pt idx="1932">
                  <c:v>41709</c:v>
                </c:pt>
                <c:pt idx="1933">
                  <c:v>41708</c:v>
                </c:pt>
                <c:pt idx="1934">
                  <c:v>41707</c:v>
                </c:pt>
                <c:pt idx="1935">
                  <c:v>41706</c:v>
                </c:pt>
                <c:pt idx="1936">
                  <c:v>41705</c:v>
                </c:pt>
                <c:pt idx="1937">
                  <c:v>41704</c:v>
                </c:pt>
                <c:pt idx="1938">
                  <c:v>41703</c:v>
                </c:pt>
                <c:pt idx="1939">
                  <c:v>41702</c:v>
                </c:pt>
                <c:pt idx="1940">
                  <c:v>41701</c:v>
                </c:pt>
                <c:pt idx="1941">
                  <c:v>41700</c:v>
                </c:pt>
                <c:pt idx="1942">
                  <c:v>41699</c:v>
                </c:pt>
                <c:pt idx="1943">
                  <c:v>41698</c:v>
                </c:pt>
                <c:pt idx="1944">
                  <c:v>41697</c:v>
                </c:pt>
                <c:pt idx="1945">
                  <c:v>41696</c:v>
                </c:pt>
                <c:pt idx="1946">
                  <c:v>41695</c:v>
                </c:pt>
                <c:pt idx="1947">
                  <c:v>41694</c:v>
                </c:pt>
                <c:pt idx="1948">
                  <c:v>41693</c:v>
                </c:pt>
                <c:pt idx="1949">
                  <c:v>41692</c:v>
                </c:pt>
                <c:pt idx="1950">
                  <c:v>41691</c:v>
                </c:pt>
                <c:pt idx="1951">
                  <c:v>41690</c:v>
                </c:pt>
                <c:pt idx="1952">
                  <c:v>41689</c:v>
                </c:pt>
                <c:pt idx="1953">
                  <c:v>41688</c:v>
                </c:pt>
                <c:pt idx="1954">
                  <c:v>41687</c:v>
                </c:pt>
                <c:pt idx="1955">
                  <c:v>41686</c:v>
                </c:pt>
                <c:pt idx="1956">
                  <c:v>41685</c:v>
                </c:pt>
                <c:pt idx="1957">
                  <c:v>41684</c:v>
                </c:pt>
                <c:pt idx="1958">
                  <c:v>41683</c:v>
                </c:pt>
                <c:pt idx="1959">
                  <c:v>41682</c:v>
                </c:pt>
                <c:pt idx="1960">
                  <c:v>41681</c:v>
                </c:pt>
                <c:pt idx="1961">
                  <c:v>41680</c:v>
                </c:pt>
                <c:pt idx="1962">
                  <c:v>41679</c:v>
                </c:pt>
                <c:pt idx="1963">
                  <c:v>41678</c:v>
                </c:pt>
                <c:pt idx="1964">
                  <c:v>41677</c:v>
                </c:pt>
                <c:pt idx="1965">
                  <c:v>41676</c:v>
                </c:pt>
                <c:pt idx="1966">
                  <c:v>41675</c:v>
                </c:pt>
                <c:pt idx="1967">
                  <c:v>41674</c:v>
                </c:pt>
                <c:pt idx="1968">
                  <c:v>41673</c:v>
                </c:pt>
                <c:pt idx="1969">
                  <c:v>41672</c:v>
                </c:pt>
                <c:pt idx="1970">
                  <c:v>41671</c:v>
                </c:pt>
                <c:pt idx="1971">
                  <c:v>41670</c:v>
                </c:pt>
                <c:pt idx="1972">
                  <c:v>41669</c:v>
                </c:pt>
                <c:pt idx="1973">
                  <c:v>41668</c:v>
                </c:pt>
                <c:pt idx="1974">
                  <c:v>41667</c:v>
                </c:pt>
                <c:pt idx="1975">
                  <c:v>41666</c:v>
                </c:pt>
                <c:pt idx="1976">
                  <c:v>41665</c:v>
                </c:pt>
                <c:pt idx="1977">
                  <c:v>41664</c:v>
                </c:pt>
                <c:pt idx="1978">
                  <c:v>41663</c:v>
                </c:pt>
                <c:pt idx="1979">
                  <c:v>41662</c:v>
                </c:pt>
                <c:pt idx="1980">
                  <c:v>41661</c:v>
                </c:pt>
                <c:pt idx="1981">
                  <c:v>41660</c:v>
                </c:pt>
                <c:pt idx="1982">
                  <c:v>41659</c:v>
                </c:pt>
                <c:pt idx="1983">
                  <c:v>41658</c:v>
                </c:pt>
                <c:pt idx="1984">
                  <c:v>41657</c:v>
                </c:pt>
                <c:pt idx="1985">
                  <c:v>41656</c:v>
                </c:pt>
                <c:pt idx="1986">
                  <c:v>41655</c:v>
                </c:pt>
                <c:pt idx="1987">
                  <c:v>41654</c:v>
                </c:pt>
                <c:pt idx="1988">
                  <c:v>41653</c:v>
                </c:pt>
                <c:pt idx="1989">
                  <c:v>41652</c:v>
                </c:pt>
                <c:pt idx="1990">
                  <c:v>41651</c:v>
                </c:pt>
                <c:pt idx="1991">
                  <c:v>41650</c:v>
                </c:pt>
                <c:pt idx="1992">
                  <c:v>41649</c:v>
                </c:pt>
                <c:pt idx="1993">
                  <c:v>41648</c:v>
                </c:pt>
                <c:pt idx="1994">
                  <c:v>41647</c:v>
                </c:pt>
                <c:pt idx="1995">
                  <c:v>41646</c:v>
                </c:pt>
                <c:pt idx="1996">
                  <c:v>41645</c:v>
                </c:pt>
                <c:pt idx="1997">
                  <c:v>41644</c:v>
                </c:pt>
                <c:pt idx="1998">
                  <c:v>41643</c:v>
                </c:pt>
                <c:pt idx="1999">
                  <c:v>41642</c:v>
                </c:pt>
                <c:pt idx="2000">
                  <c:v>41641</c:v>
                </c:pt>
                <c:pt idx="2001">
                  <c:v>41640</c:v>
                </c:pt>
                <c:pt idx="2002">
                  <c:v>41639</c:v>
                </c:pt>
                <c:pt idx="2003">
                  <c:v>41638</c:v>
                </c:pt>
                <c:pt idx="2004">
                  <c:v>41637</c:v>
                </c:pt>
                <c:pt idx="2005">
                  <c:v>41636</c:v>
                </c:pt>
                <c:pt idx="2006">
                  <c:v>41635</c:v>
                </c:pt>
                <c:pt idx="2007">
                  <c:v>41634</c:v>
                </c:pt>
                <c:pt idx="2008">
                  <c:v>41633</c:v>
                </c:pt>
                <c:pt idx="2009">
                  <c:v>41632</c:v>
                </c:pt>
                <c:pt idx="2010">
                  <c:v>41631</c:v>
                </c:pt>
                <c:pt idx="2011">
                  <c:v>41630</c:v>
                </c:pt>
                <c:pt idx="2012">
                  <c:v>41629</c:v>
                </c:pt>
                <c:pt idx="2013">
                  <c:v>41628</c:v>
                </c:pt>
                <c:pt idx="2014">
                  <c:v>41627</c:v>
                </c:pt>
                <c:pt idx="2015">
                  <c:v>41626</c:v>
                </c:pt>
                <c:pt idx="2016">
                  <c:v>41625</c:v>
                </c:pt>
                <c:pt idx="2017">
                  <c:v>41624</c:v>
                </c:pt>
                <c:pt idx="2018">
                  <c:v>41623</c:v>
                </c:pt>
                <c:pt idx="2019">
                  <c:v>41622</c:v>
                </c:pt>
                <c:pt idx="2020">
                  <c:v>41621</c:v>
                </c:pt>
                <c:pt idx="2021">
                  <c:v>41620</c:v>
                </c:pt>
                <c:pt idx="2022">
                  <c:v>41619</c:v>
                </c:pt>
                <c:pt idx="2023">
                  <c:v>41618</c:v>
                </c:pt>
                <c:pt idx="2024">
                  <c:v>41617</c:v>
                </c:pt>
                <c:pt idx="2025">
                  <c:v>41616</c:v>
                </c:pt>
                <c:pt idx="2026">
                  <c:v>41615</c:v>
                </c:pt>
                <c:pt idx="2027">
                  <c:v>41614</c:v>
                </c:pt>
                <c:pt idx="2028">
                  <c:v>41613</c:v>
                </c:pt>
                <c:pt idx="2029">
                  <c:v>41612</c:v>
                </c:pt>
                <c:pt idx="2030">
                  <c:v>41611</c:v>
                </c:pt>
                <c:pt idx="2031">
                  <c:v>41610</c:v>
                </c:pt>
                <c:pt idx="2032">
                  <c:v>41609</c:v>
                </c:pt>
                <c:pt idx="2033">
                  <c:v>41608</c:v>
                </c:pt>
                <c:pt idx="2034">
                  <c:v>41607</c:v>
                </c:pt>
                <c:pt idx="2035">
                  <c:v>41606</c:v>
                </c:pt>
                <c:pt idx="2036">
                  <c:v>41605</c:v>
                </c:pt>
                <c:pt idx="2037">
                  <c:v>41604</c:v>
                </c:pt>
                <c:pt idx="2038">
                  <c:v>41603</c:v>
                </c:pt>
                <c:pt idx="2039">
                  <c:v>41602</c:v>
                </c:pt>
                <c:pt idx="2040">
                  <c:v>41601</c:v>
                </c:pt>
                <c:pt idx="2041">
                  <c:v>41600</c:v>
                </c:pt>
                <c:pt idx="2042">
                  <c:v>41599</c:v>
                </c:pt>
                <c:pt idx="2043">
                  <c:v>41598</c:v>
                </c:pt>
                <c:pt idx="2044">
                  <c:v>41597</c:v>
                </c:pt>
                <c:pt idx="2045">
                  <c:v>41596</c:v>
                </c:pt>
                <c:pt idx="2046">
                  <c:v>41595</c:v>
                </c:pt>
                <c:pt idx="2047">
                  <c:v>41594</c:v>
                </c:pt>
                <c:pt idx="2048">
                  <c:v>41593</c:v>
                </c:pt>
                <c:pt idx="2049">
                  <c:v>41592</c:v>
                </c:pt>
                <c:pt idx="2050">
                  <c:v>41591</c:v>
                </c:pt>
                <c:pt idx="2051">
                  <c:v>41590</c:v>
                </c:pt>
                <c:pt idx="2052">
                  <c:v>41589</c:v>
                </c:pt>
                <c:pt idx="2053">
                  <c:v>41588</c:v>
                </c:pt>
                <c:pt idx="2054">
                  <c:v>41587</c:v>
                </c:pt>
                <c:pt idx="2055">
                  <c:v>41586</c:v>
                </c:pt>
                <c:pt idx="2056">
                  <c:v>41585</c:v>
                </c:pt>
                <c:pt idx="2057">
                  <c:v>41584</c:v>
                </c:pt>
                <c:pt idx="2058">
                  <c:v>41583</c:v>
                </c:pt>
                <c:pt idx="2059">
                  <c:v>41582</c:v>
                </c:pt>
                <c:pt idx="2060">
                  <c:v>41581</c:v>
                </c:pt>
                <c:pt idx="2061">
                  <c:v>41580</c:v>
                </c:pt>
                <c:pt idx="2062">
                  <c:v>41579</c:v>
                </c:pt>
                <c:pt idx="2063">
                  <c:v>41578</c:v>
                </c:pt>
                <c:pt idx="2064">
                  <c:v>41577</c:v>
                </c:pt>
                <c:pt idx="2065">
                  <c:v>41576</c:v>
                </c:pt>
                <c:pt idx="2066">
                  <c:v>41575</c:v>
                </c:pt>
                <c:pt idx="2067">
                  <c:v>41574</c:v>
                </c:pt>
                <c:pt idx="2068">
                  <c:v>41573</c:v>
                </c:pt>
                <c:pt idx="2069">
                  <c:v>41572</c:v>
                </c:pt>
                <c:pt idx="2070">
                  <c:v>41571</c:v>
                </c:pt>
                <c:pt idx="2071">
                  <c:v>41570</c:v>
                </c:pt>
                <c:pt idx="2072">
                  <c:v>41569</c:v>
                </c:pt>
                <c:pt idx="2073">
                  <c:v>41568</c:v>
                </c:pt>
                <c:pt idx="2074">
                  <c:v>41567</c:v>
                </c:pt>
                <c:pt idx="2075">
                  <c:v>41566</c:v>
                </c:pt>
                <c:pt idx="2076">
                  <c:v>41565</c:v>
                </c:pt>
                <c:pt idx="2077">
                  <c:v>41564</c:v>
                </c:pt>
                <c:pt idx="2078">
                  <c:v>41563</c:v>
                </c:pt>
                <c:pt idx="2079">
                  <c:v>41562</c:v>
                </c:pt>
                <c:pt idx="2080">
                  <c:v>41561</c:v>
                </c:pt>
                <c:pt idx="2081">
                  <c:v>41560</c:v>
                </c:pt>
                <c:pt idx="2082">
                  <c:v>41559</c:v>
                </c:pt>
                <c:pt idx="2083">
                  <c:v>41558</c:v>
                </c:pt>
                <c:pt idx="2084">
                  <c:v>41557</c:v>
                </c:pt>
                <c:pt idx="2085">
                  <c:v>41556</c:v>
                </c:pt>
                <c:pt idx="2086">
                  <c:v>41555</c:v>
                </c:pt>
                <c:pt idx="2087">
                  <c:v>41554</c:v>
                </c:pt>
                <c:pt idx="2088">
                  <c:v>41553</c:v>
                </c:pt>
                <c:pt idx="2089">
                  <c:v>41552</c:v>
                </c:pt>
                <c:pt idx="2090">
                  <c:v>41551</c:v>
                </c:pt>
                <c:pt idx="2091">
                  <c:v>41550</c:v>
                </c:pt>
                <c:pt idx="2092">
                  <c:v>41549</c:v>
                </c:pt>
                <c:pt idx="2093">
                  <c:v>41548</c:v>
                </c:pt>
                <c:pt idx="2094">
                  <c:v>41547</c:v>
                </c:pt>
                <c:pt idx="2095">
                  <c:v>41546</c:v>
                </c:pt>
                <c:pt idx="2096">
                  <c:v>41545</c:v>
                </c:pt>
                <c:pt idx="2097">
                  <c:v>41544</c:v>
                </c:pt>
                <c:pt idx="2098">
                  <c:v>41543</c:v>
                </c:pt>
                <c:pt idx="2099">
                  <c:v>41542</c:v>
                </c:pt>
                <c:pt idx="2100">
                  <c:v>41541</c:v>
                </c:pt>
                <c:pt idx="2101">
                  <c:v>41540</c:v>
                </c:pt>
                <c:pt idx="2102">
                  <c:v>41539</c:v>
                </c:pt>
                <c:pt idx="2103">
                  <c:v>41538</c:v>
                </c:pt>
                <c:pt idx="2104">
                  <c:v>41537</c:v>
                </c:pt>
                <c:pt idx="2105">
                  <c:v>41536</c:v>
                </c:pt>
                <c:pt idx="2106">
                  <c:v>41535</c:v>
                </c:pt>
                <c:pt idx="2107">
                  <c:v>41534</c:v>
                </c:pt>
                <c:pt idx="2108">
                  <c:v>41533</c:v>
                </c:pt>
                <c:pt idx="2109">
                  <c:v>41532</c:v>
                </c:pt>
                <c:pt idx="2110">
                  <c:v>41531</c:v>
                </c:pt>
                <c:pt idx="2111">
                  <c:v>41530</c:v>
                </c:pt>
                <c:pt idx="2112">
                  <c:v>41529</c:v>
                </c:pt>
                <c:pt idx="2113">
                  <c:v>41528</c:v>
                </c:pt>
                <c:pt idx="2114">
                  <c:v>41527</c:v>
                </c:pt>
                <c:pt idx="2115">
                  <c:v>41526</c:v>
                </c:pt>
                <c:pt idx="2116">
                  <c:v>41525</c:v>
                </c:pt>
                <c:pt idx="2117">
                  <c:v>41524</c:v>
                </c:pt>
                <c:pt idx="2118">
                  <c:v>41523</c:v>
                </c:pt>
                <c:pt idx="2119">
                  <c:v>41522</c:v>
                </c:pt>
                <c:pt idx="2120">
                  <c:v>41521</c:v>
                </c:pt>
                <c:pt idx="2121">
                  <c:v>41520</c:v>
                </c:pt>
                <c:pt idx="2122">
                  <c:v>41519</c:v>
                </c:pt>
                <c:pt idx="2123">
                  <c:v>41518</c:v>
                </c:pt>
                <c:pt idx="2124">
                  <c:v>41517</c:v>
                </c:pt>
                <c:pt idx="2125">
                  <c:v>41516</c:v>
                </c:pt>
                <c:pt idx="2126">
                  <c:v>41515</c:v>
                </c:pt>
                <c:pt idx="2127">
                  <c:v>41514</c:v>
                </c:pt>
                <c:pt idx="2128">
                  <c:v>41513</c:v>
                </c:pt>
                <c:pt idx="2129">
                  <c:v>41512</c:v>
                </c:pt>
                <c:pt idx="2130">
                  <c:v>41511</c:v>
                </c:pt>
                <c:pt idx="2131">
                  <c:v>41510</c:v>
                </c:pt>
                <c:pt idx="2132">
                  <c:v>41509</c:v>
                </c:pt>
                <c:pt idx="2133">
                  <c:v>41508</c:v>
                </c:pt>
                <c:pt idx="2134">
                  <c:v>41507</c:v>
                </c:pt>
                <c:pt idx="2135">
                  <c:v>41506</c:v>
                </c:pt>
                <c:pt idx="2136">
                  <c:v>41505</c:v>
                </c:pt>
                <c:pt idx="2137">
                  <c:v>41504</c:v>
                </c:pt>
                <c:pt idx="2138">
                  <c:v>41503</c:v>
                </c:pt>
                <c:pt idx="2139">
                  <c:v>41502</c:v>
                </c:pt>
                <c:pt idx="2140">
                  <c:v>41501</c:v>
                </c:pt>
                <c:pt idx="2141">
                  <c:v>41500</c:v>
                </c:pt>
                <c:pt idx="2142">
                  <c:v>41499</c:v>
                </c:pt>
                <c:pt idx="2143">
                  <c:v>41498</c:v>
                </c:pt>
                <c:pt idx="2144">
                  <c:v>41497</c:v>
                </c:pt>
                <c:pt idx="2145">
                  <c:v>41496</c:v>
                </c:pt>
                <c:pt idx="2146">
                  <c:v>41495</c:v>
                </c:pt>
                <c:pt idx="2147">
                  <c:v>41494</c:v>
                </c:pt>
                <c:pt idx="2148">
                  <c:v>41493</c:v>
                </c:pt>
                <c:pt idx="2149">
                  <c:v>41492</c:v>
                </c:pt>
                <c:pt idx="2150">
                  <c:v>41491</c:v>
                </c:pt>
                <c:pt idx="2151">
                  <c:v>41490</c:v>
                </c:pt>
                <c:pt idx="2152">
                  <c:v>41489</c:v>
                </c:pt>
                <c:pt idx="2153">
                  <c:v>41488</c:v>
                </c:pt>
                <c:pt idx="2154">
                  <c:v>41487</c:v>
                </c:pt>
                <c:pt idx="2155">
                  <c:v>41486</c:v>
                </c:pt>
                <c:pt idx="2156">
                  <c:v>41485</c:v>
                </c:pt>
                <c:pt idx="2157">
                  <c:v>41484</c:v>
                </c:pt>
                <c:pt idx="2158">
                  <c:v>41483</c:v>
                </c:pt>
                <c:pt idx="2159">
                  <c:v>41482</c:v>
                </c:pt>
                <c:pt idx="2160">
                  <c:v>41481</c:v>
                </c:pt>
                <c:pt idx="2161">
                  <c:v>41480</c:v>
                </c:pt>
                <c:pt idx="2162">
                  <c:v>41479</c:v>
                </c:pt>
                <c:pt idx="2163">
                  <c:v>41478</c:v>
                </c:pt>
                <c:pt idx="2164">
                  <c:v>41477</c:v>
                </c:pt>
                <c:pt idx="2165">
                  <c:v>41476</c:v>
                </c:pt>
                <c:pt idx="2166">
                  <c:v>41475</c:v>
                </c:pt>
                <c:pt idx="2167">
                  <c:v>41474</c:v>
                </c:pt>
                <c:pt idx="2168">
                  <c:v>41473</c:v>
                </c:pt>
                <c:pt idx="2169">
                  <c:v>41472</c:v>
                </c:pt>
                <c:pt idx="2170">
                  <c:v>41471</c:v>
                </c:pt>
                <c:pt idx="2171">
                  <c:v>41470</c:v>
                </c:pt>
                <c:pt idx="2172">
                  <c:v>41469</c:v>
                </c:pt>
                <c:pt idx="2173">
                  <c:v>41468</c:v>
                </c:pt>
                <c:pt idx="2174">
                  <c:v>41467</c:v>
                </c:pt>
                <c:pt idx="2175">
                  <c:v>41466</c:v>
                </c:pt>
                <c:pt idx="2176">
                  <c:v>41465</c:v>
                </c:pt>
                <c:pt idx="2177">
                  <c:v>41464</c:v>
                </c:pt>
                <c:pt idx="2178">
                  <c:v>41463</c:v>
                </c:pt>
                <c:pt idx="2179">
                  <c:v>41462</c:v>
                </c:pt>
                <c:pt idx="2180">
                  <c:v>41461</c:v>
                </c:pt>
                <c:pt idx="2181">
                  <c:v>41460</c:v>
                </c:pt>
                <c:pt idx="2182">
                  <c:v>41459</c:v>
                </c:pt>
                <c:pt idx="2183">
                  <c:v>41458</c:v>
                </c:pt>
                <c:pt idx="2184">
                  <c:v>41457</c:v>
                </c:pt>
                <c:pt idx="2185">
                  <c:v>41456</c:v>
                </c:pt>
                <c:pt idx="2186">
                  <c:v>41455</c:v>
                </c:pt>
                <c:pt idx="2187">
                  <c:v>41454</c:v>
                </c:pt>
                <c:pt idx="2188">
                  <c:v>41453</c:v>
                </c:pt>
                <c:pt idx="2189">
                  <c:v>41452</c:v>
                </c:pt>
                <c:pt idx="2190">
                  <c:v>41451</c:v>
                </c:pt>
                <c:pt idx="2191">
                  <c:v>41450</c:v>
                </c:pt>
                <c:pt idx="2192">
                  <c:v>41449</c:v>
                </c:pt>
                <c:pt idx="2193">
                  <c:v>41448</c:v>
                </c:pt>
                <c:pt idx="2194">
                  <c:v>41447</c:v>
                </c:pt>
                <c:pt idx="2195">
                  <c:v>41446</c:v>
                </c:pt>
                <c:pt idx="2196">
                  <c:v>41445</c:v>
                </c:pt>
                <c:pt idx="2197">
                  <c:v>41444</c:v>
                </c:pt>
                <c:pt idx="2198">
                  <c:v>41443</c:v>
                </c:pt>
                <c:pt idx="2199">
                  <c:v>41442</c:v>
                </c:pt>
                <c:pt idx="2200">
                  <c:v>41441</c:v>
                </c:pt>
                <c:pt idx="2201">
                  <c:v>41440</c:v>
                </c:pt>
                <c:pt idx="2202">
                  <c:v>41439</c:v>
                </c:pt>
                <c:pt idx="2203">
                  <c:v>41438</c:v>
                </c:pt>
                <c:pt idx="2204">
                  <c:v>41437</c:v>
                </c:pt>
                <c:pt idx="2205">
                  <c:v>41436</c:v>
                </c:pt>
                <c:pt idx="2206">
                  <c:v>41435</c:v>
                </c:pt>
                <c:pt idx="2207">
                  <c:v>41434</c:v>
                </c:pt>
                <c:pt idx="2208">
                  <c:v>41433</c:v>
                </c:pt>
                <c:pt idx="2209">
                  <c:v>41432</c:v>
                </c:pt>
                <c:pt idx="2210">
                  <c:v>41431</c:v>
                </c:pt>
                <c:pt idx="2211">
                  <c:v>41430</c:v>
                </c:pt>
                <c:pt idx="2212">
                  <c:v>41429</c:v>
                </c:pt>
                <c:pt idx="2213">
                  <c:v>41428</c:v>
                </c:pt>
                <c:pt idx="2214">
                  <c:v>41427</c:v>
                </c:pt>
                <c:pt idx="2215">
                  <c:v>41426</c:v>
                </c:pt>
                <c:pt idx="2216">
                  <c:v>41425</c:v>
                </c:pt>
                <c:pt idx="2217">
                  <c:v>41424</c:v>
                </c:pt>
                <c:pt idx="2218">
                  <c:v>41423</c:v>
                </c:pt>
                <c:pt idx="2219">
                  <c:v>41422</c:v>
                </c:pt>
                <c:pt idx="2220">
                  <c:v>41421</c:v>
                </c:pt>
                <c:pt idx="2221">
                  <c:v>41420</c:v>
                </c:pt>
                <c:pt idx="2222">
                  <c:v>41419</c:v>
                </c:pt>
                <c:pt idx="2223">
                  <c:v>41418</c:v>
                </c:pt>
                <c:pt idx="2224">
                  <c:v>41417</c:v>
                </c:pt>
                <c:pt idx="2225">
                  <c:v>41416</c:v>
                </c:pt>
                <c:pt idx="2226">
                  <c:v>41415</c:v>
                </c:pt>
                <c:pt idx="2227">
                  <c:v>41414</c:v>
                </c:pt>
                <c:pt idx="2228">
                  <c:v>41413</c:v>
                </c:pt>
                <c:pt idx="2229">
                  <c:v>41412</c:v>
                </c:pt>
                <c:pt idx="2230">
                  <c:v>41411</c:v>
                </c:pt>
                <c:pt idx="2231">
                  <c:v>41410</c:v>
                </c:pt>
                <c:pt idx="2232">
                  <c:v>41409</c:v>
                </c:pt>
                <c:pt idx="2233">
                  <c:v>41408</c:v>
                </c:pt>
                <c:pt idx="2234">
                  <c:v>41407</c:v>
                </c:pt>
                <c:pt idx="2235">
                  <c:v>41406</c:v>
                </c:pt>
                <c:pt idx="2236">
                  <c:v>41405</c:v>
                </c:pt>
                <c:pt idx="2237">
                  <c:v>41404</c:v>
                </c:pt>
                <c:pt idx="2238">
                  <c:v>41403</c:v>
                </c:pt>
                <c:pt idx="2239">
                  <c:v>41402</c:v>
                </c:pt>
                <c:pt idx="2240">
                  <c:v>41401</c:v>
                </c:pt>
                <c:pt idx="2241">
                  <c:v>41400</c:v>
                </c:pt>
                <c:pt idx="2242">
                  <c:v>41399</c:v>
                </c:pt>
                <c:pt idx="2243">
                  <c:v>41398</c:v>
                </c:pt>
                <c:pt idx="2244">
                  <c:v>41397</c:v>
                </c:pt>
                <c:pt idx="2245">
                  <c:v>41396</c:v>
                </c:pt>
                <c:pt idx="2246">
                  <c:v>41395</c:v>
                </c:pt>
                <c:pt idx="2247">
                  <c:v>41394</c:v>
                </c:pt>
                <c:pt idx="2248">
                  <c:v>41393</c:v>
                </c:pt>
                <c:pt idx="2249">
                  <c:v>41392</c:v>
                </c:pt>
                <c:pt idx="2250">
                  <c:v>41391</c:v>
                </c:pt>
                <c:pt idx="2251">
                  <c:v>41390</c:v>
                </c:pt>
                <c:pt idx="2252">
                  <c:v>41389</c:v>
                </c:pt>
                <c:pt idx="2253">
                  <c:v>41388</c:v>
                </c:pt>
                <c:pt idx="2254">
                  <c:v>41387</c:v>
                </c:pt>
                <c:pt idx="2255">
                  <c:v>41386</c:v>
                </c:pt>
                <c:pt idx="2256">
                  <c:v>41385</c:v>
                </c:pt>
                <c:pt idx="2257">
                  <c:v>41384</c:v>
                </c:pt>
                <c:pt idx="2258">
                  <c:v>41383</c:v>
                </c:pt>
                <c:pt idx="2259">
                  <c:v>41382</c:v>
                </c:pt>
                <c:pt idx="2260">
                  <c:v>41381</c:v>
                </c:pt>
                <c:pt idx="2261">
                  <c:v>41380</c:v>
                </c:pt>
                <c:pt idx="2262">
                  <c:v>41379</c:v>
                </c:pt>
                <c:pt idx="2263">
                  <c:v>41378</c:v>
                </c:pt>
                <c:pt idx="2264">
                  <c:v>41377</c:v>
                </c:pt>
                <c:pt idx="2265">
                  <c:v>41376</c:v>
                </c:pt>
                <c:pt idx="2266">
                  <c:v>41375</c:v>
                </c:pt>
                <c:pt idx="2267">
                  <c:v>41374</c:v>
                </c:pt>
                <c:pt idx="2268">
                  <c:v>41373</c:v>
                </c:pt>
                <c:pt idx="2269">
                  <c:v>41372</c:v>
                </c:pt>
                <c:pt idx="2270">
                  <c:v>41371</c:v>
                </c:pt>
                <c:pt idx="2271">
                  <c:v>41370</c:v>
                </c:pt>
                <c:pt idx="2272">
                  <c:v>41369</c:v>
                </c:pt>
                <c:pt idx="2273">
                  <c:v>41368</c:v>
                </c:pt>
                <c:pt idx="2274">
                  <c:v>41367</c:v>
                </c:pt>
                <c:pt idx="2275">
                  <c:v>41366</c:v>
                </c:pt>
                <c:pt idx="2276">
                  <c:v>41365</c:v>
                </c:pt>
                <c:pt idx="2277">
                  <c:v>41364</c:v>
                </c:pt>
                <c:pt idx="2278">
                  <c:v>41363</c:v>
                </c:pt>
                <c:pt idx="2279">
                  <c:v>41362</c:v>
                </c:pt>
                <c:pt idx="2280">
                  <c:v>41361</c:v>
                </c:pt>
                <c:pt idx="2281">
                  <c:v>41360</c:v>
                </c:pt>
                <c:pt idx="2282">
                  <c:v>41359</c:v>
                </c:pt>
                <c:pt idx="2283">
                  <c:v>41358</c:v>
                </c:pt>
                <c:pt idx="2284">
                  <c:v>41357</c:v>
                </c:pt>
                <c:pt idx="2285">
                  <c:v>41356</c:v>
                </c:pt>
                <c:pt idx="2286">
                  <c:v>41355</c:v>
                </c:pt>
                <c:pt idx="2287">
                  <c:v>41354</c:v>
                </c:pt>
                <c:pt idx="2288">
                  <c:v>41353</c:v>
                </c:pt>
                <c:pt idx="2289">
                  <c:v>41352</c:v>
                </c:pt>
                <c:pt idx="2290">
                  <c:v>41351</c:v>
                </c:pt>
                <c:pt idx="2291">
                  <c:v>41350</c:v>
                </c:pt>
                <c:pt idx="2292">
                  <c:v>41349</c:v>
                </c:pt>
                <c:pt idx="2293">
                  <c:v>41348</c:v>
                </c:pt>
                <c:pt idx="2294">
                  <c:v>41347</c:v>
                </c:pt>
                <c:pt idx="2295">
                  <c:v>41346</c:v>
                </c:pt>
                <c:pt idx="2296">
                  <c:v>41345</c:v>
                </c:pt>
                <c:pt idx="2297">
                  <c:v>41344</c:v>
                </c:pt>
                <c:pt idx="2298">
                  <c:v>41343</c:v>
                </c:pt>
                <c:pt idx="2299">
                  <c:v>41342</c:v>
                </c:pt>
                <c:pt idx="2300">
                  <c:v>41341</c:v>
                </c:pt>
                <c:pt idx="2301">
                  <c:v>41340</c:v>
                </c:pt>
                <c:pt idx="2302">
                  <c:v>41339</c:v>
                </c:pt>
                <c:pt idx="2303">
                  <c:v>41338</c:v>
                </c:pt>
                <c:pt idx="2304">
                  <c:v>41337</c:v>
                </c:pt>
                <c:pt idx="2305">
                  <c:v>41336</c:v>
                </c:pt>
                <c:pt idx="2306">
                  <c:v>41335</c:v>
                </c:pt>
                <c:pt idx="2307">
                  <c:v>41334</c:v>
                </c:pt>
                <c:pt idx="2308">
                  <c:v>41333</c:v>
                </c:pt>
                <c:pt idx="2309">
                  <c:v>41332</c:v>
                </c:pt>
                <c:pt idx="2310">
                  <c:v>41331</c:v>
                </c:pt>
                <c:pt idx="2311">
                  <c:v>41330</c:v>
                </c:pt>
                <c:pt idx="2312">
                  <c:v>41329</c:v>
                </c:pt>
                <c:pt idx="2313">
                  <c:v>41328</c:v>
                </c:pt>
                <c:pt idx="2314">
                  <c:v>41327</c:v>
                </c:pt>
                <c:pt idx="2315">
                  <c:v>41326</c:v>
                </c:pt>
                <c:pt idx="2316">
                  <c:v>41325</c:v>
                </c:pt>
                <c:pt idx="2317">
                  <c:v>41324</c:v>
                </c:pt>
                <c:pt idx="2318">
                  <c:v>41323</c:v>
                </c:pt>
                <c:pt idx="2319">
                  <c:v>41322</c:v>
                </c:pt>
                <c:pt idx="2320">
                  <c:v>41321</c:v>
                </c:pt>
                <c:pt idx="2321">
                  <c:v>41320</c:v>
                </c:pt>
                <c:pt idx="2322">
                  <c:v>41319</c:v>
                </c:pt>
                <c:pt idx="2323">
                  <c:v>41318</c:v>
                </c:pt>
                <c:pt idx="2324">
                  <c:v>41317</c:v>
                </c:pt>
                <c:pt idx="2325">
                  <c:v>41316</c:v>
                </c:pt>
                <c:pt idx="2326">
                  <c:v>41315</c:v>
                </c:pt>
                <c:pt idx="2327">
                  <c:v>41314</c:v>
                </c:pt>
                <c:pt idx="2328">
                  <c:v>41313</c:v>
                </c:pt>
                <c:pt idx="2329">
                  <c:v>41312</c:v>
                </c:pt>
                <c:pt idx="2330">
                  <c:v>41311</c:v>
                </c:pt>
                <c:pt idx="2331">
                  <c:v>41310</c:v>
                </c:pt>
                <c:pt idx="2332">
                  <c:v>41309</c:v>
                </c:pt>
                <c:pt idx="2333">
                  <c:v>41308</c:v>
                </c:pt>
                <c:pt idx="2334">
                  <c:v>41307</c:v>
                </c:pt>
                <c:pt idx="2335">
                  <c:v>41306</c:v>
                </c:pt>
                <c:pt idx="2336">
                  <c:v>41305</c:v>
                </c:pt>
                <c:pt idx="2337">
                  <c:v>41304</c:v>
                </c:pt>
                <c:pt idx="2338">
                  <c:v>41303</c:v>
                </c:pt>
                <c:pt idx="2339">
                  <c:v>41302</c:v>
                </c:pt>
                <c:pt idx="2340">
                  <c:v>41301</c:v>
                </c:pt>
                <c:pt idx="2341">
                  <c:v>41300</c:v>
                </c:pt>
                <c:pt idx="2342">
                  <c:v>41299</c:v>
                </c:pt>
                <c:pt idx="2343">
                  <c:v>41298</c:v>
                </c:pt>
                <c:pt idx="2344">
                  <c:v>41297</c:v>
                </c:pt>
                <c:pt idx="2345">
                  <c:v>41296</c:v>
                </c:pt>
                <c:pt idx="2346">
                  <c:v>41295</c:v>
                </c:pt>
                <c:pt idx="2347">
                  <c:v>41294</c:v>
                </c:pt>
                <c:pt idx="2348">
                  <c:v>41293</c:v>
                </c:pt>
                <c:pt idx="2349">
                  <c:v>41292</c:v>
                </c:pt>
                <c:pt idx="2350">
                  <c:v>41291</c:v>
                </c:pt>
                <c:pt idx="2351">
                  <c:v>41290</c:v>
                </c:pt>
                <c:pt idx="2352">
                  <c:v>41289</c:v>
                </c:pt>
                <c:pt idx="2353">
                  <c:v>41288</c:v>
                </c:pt>
                <c:pt idx="2354">
                  <c:v>41287</c:v>
                </c:pt>
                <c:pt idx="2355">
                  <c:v>41286</c:v>
                </c:pt>
                <c:pt idx="2356">
                  <c:v>41285</c:v>
                </c:pt>
                <c:pt idx="2357">
                  <c:v>41284</c:v>
                </c:pt>
                <c:pt idx="2358">
                  <c:v>41283</c:v>
                </c:pt>
                <c:pt idx="2359">
                  <c:v>41282</c:v>
                </c:pt>
                <c:pt idx="2360">
                  <c:v>41281</c:v>
                </c:pt>
                <c:pt idx="2361">
                  <c:v>41280</c:v>
                </c:pt>
                <c:pt idx="2362">
                  <c:v>41279</c:v>
                </c:pt>
                <c:pt idx="2363">
                  <c:v>41278</c:v>
                </c:pt>
                <c:pt idx="2364">
                  <c:v>41277</c:v>
                </c:pt>
                <c:pt idx="2365">
                  <c:v>41276</c:v>
                </c:pt>
                <c:pt idx="2366">
                  <c:v>41275</c:v>
                </c:pt>
                <c:pt idx="2367">
                  <c:v>41274</c:v>
                </c:pt>
                <c:pt idx="2368">
                  <c:v>41273</c:v>
                </c:pt>
                <c:pt idx="2369">
                  <c:v>41272</c:v>
                </c:pt>
                <c:pt idx="2370">
                  <c:v>41271</c:v>
                </c:pt>
                <c:pt idx="2371">
                  <c:v>41270</c:v>
                </c:pt>
                <c:pt idx="2372">
                  <c:v>41269</c:v>
                </c:pt>
                <c:pt idx="2373">
                  <c:v>41268</c:v>
                </c:pt>
                <c:pt idx="2374">
                  <c:v>41267</c:v>
                </c:pt>
                <c:pt idx="2375">
                  <c:v>41266</c:v>
                </c:pt>
                <c:pt idx="2376">
                  <c:v>41265</c:v>
                </c:pt>
                <c:pt idx="2377">
                  <c:v>41264</c:v>
                </c:pt>
                <c:pt idx="2378">
                  <c:v>41263</c:v>
                </c:pt>
                <c:pt idx="2379">
                  <c:v>41262</c:v>
                </c:pt>
                <c:pt idx="2380">
                  <c:v>41261</c:v>
                </c:pt>
                <c:pt idx="2381">
                  <c:v>41260</c:v>
                </c:pt>
                <c:pt idx="2382">
                  <c:v>41259</c:v>
                </c:pt>
                <c:pt idx="2383">
                  <c:v>41258</c:v>
                </c:pt>
                <c:pt idx="2384">
                  <c:v>41257</c:v>
                </c:pt>
                <c:pt idx="2385">
                  <c:v>41256</c:v>
                </c:pt>
                <c:pt idx="2386">
                  <c:v>41255</c:v>
                </c:pt>
                <c:pt idx="2387">
                  <c:v>41254</c:v>
                </c:pt>
                <c:pt idx="2388">
                  <c:v>41253</c:v>
                </c:pt>
                <c:pt idx="2389">
                  <c:v>41252</c:v>
                </c:pt>
                <c:pt idx="2390">
                  <c:v>41251</c:v>
                </c:pt>
                <c:pt idx="2391">
                  <c:v>41250</c:v>
                </c:pt>
                <c:pt idx="2392">
                  <c:v>41249</c:v>
                </c:pt>
                <c:pt idx="2393">
                  <c:v>41248</c:v>
                </c:pt>
                <c:pt idx="2394">
                  <c:v>41247</c:v>
                </c:pt>
                <c:pt idx="2395">
                  <c:v>41246</c:v>
                </c:pt>
                <c:pt idx="2396">
                  <c:v>41245</c:v>
                </c:pt>
                <c:pt idx="2397">
                  <c:v>41244</c:v>
                </c:pt>
                <c:pt idx="2398">
                  <c:v>41243</c:v>
                </c:pt>
                <c:pt idx="2399">
                  <c:v>41242</c:v>
                </c:pt>
                <c:pt idx="2400">
                  <c:v>41241</c:v>
                </c:pt>
                <c:pt idx="2401">
                  <c:v>41240</c:v>
                </c:pt>
                <c:pt idx="2402">
                  <c:v>41239</c:v>
                </c:pt>
                <c:pt idx="2403">
                  <c:v>41238</c:v>
                </c:pt>
                <c:pt idx="2404">
                  <c:v>41237</c:v>
                </c:pt>
                <c:pt idx="2405">
                  <c:v>41236</c:v>
                </c:pt>
                <c:pt idx="2406">
                  <c:v>41235</c:v>
                </c:pt>
                <c:pt idx="2407">
                  <c:v>41234</c:v>
                </c:pt>
                <c:pt idx="2408">
                  <c:v>41233</c:v>
                </c:pt>
                <c:pt idx="2409">
                  <c:v>41232</c:v>
                </c:pt>
                <c:pt idx="2410">
                  <c:v>41231</c:v>
                </c:pt>
                <c:pt idx="2411">
                  <c:v>41230</c:v>
                </c:pt>
                <c:pt idx="2412">
                  <c:v>41229</c:v>
                </c:pt>
                <c:pt idx="2413">
                  <c:v>41228</c:v>
                </c:pt>
                <c:pt idx="2414">
                  <c:v>41227</c:v>
                </c:pt>
                <c:pt idx="2415">
                  <c:v>41226</c:v>
                </c:pt>
                <c:pt idx="2416">
                  <c:v>41225</c:v>
                </c:pt>
                <c:pt idx="2417">
                  <c:v>41224</c:v>
                </c:pt>
                <c:pt idx="2418">
                  <c:v>41223</c:v>
                </c:pt>
                <c:pt idx="2419">
                  <c:v>41222</c:v>
                </c:pt>
                <c:pt idx="2420">
                  <c:v>41221</c:v>
                </c:pt>
                <c:pt idx="2421">
                  <c:v>41220</c:v>
                </c:pt>
                <c:pt idx="2422">
                  <c:v>41219</c:v>
                </c:pt>
                <c:pt idx="2423">
                  <c:v>41218</c:v>
                </c:pt>
                <c:pt idx="2424">
                  <c:v>41217</c:v>
                </c:pt>
                <c:pt idx="2425">
                  <c:v>41216</c:v>
                </c:pt>
                <c:pt idx="2426">
                  <c:v>41215</c:v>
                </c:pt>
                <c:pt idx="2427">
                  <c:v>41214</c:v>
                </c:pt>
                <c:pt idx="2428">
                  <c:v>41213</c:v>
                </c:pt>
                <c:pt idx="2429">
                  <c:v>41212</c:v>
                </c:pt>
                <c:pt idx="2430">
                  <c:v>41211</c:v>
                </c:pt>
                <c:pt idx="2431">
                  <c:v>41210</c:v>
                </c:pt>
                <c:pt idx="2432">
                  <c:v>41209</c:v>
                </c:pt>
                <c:pt idx="2433">
                  <c:v>41208</c:v>
                </c:pt>
                <c:pt idx="2434">
                  <c:v>41207</c:v>
                </c:pt>
                <c:pt idx="2435">
                  <c:v>41206</c:v>
                </c:pt>
                <c:pt idx="2436">
                  <c:v>41205</c:v>
                </c:pt>
                <c:pt idx="2437">
                  <c:v>41204</c:v>
                </c:pt>
                <c:pt idx="2438">
                  <c:v>41203</c:v>
                </c:pt>
                <c:pt idx="2439">
                  <c:v>41202</c:v>
                </c:pt>
                <c:pt idx="2440">
                  <c:v>41201</c:v>
                </c:pt>
                <c:pt idx="2441">
                  <c:v>41200</c:v>
                </c:pt>
                <c:pt idx="2442">
                  <c:v>41199</c:v>
                </c:pt>
                <c:pt idx="2443">
                  <c:v>41198</c:v>
                </c:pt>
                <c:pt idx="2444">
                  <c:v>41197</c:v>
                </c:pt>
                <c:pt idx="2445">
                  <c:v>41196</c:v>
                </c:pt>
                <c:pt idx="2446">
                  <c:v>41195</c:v>
                </c:pt>
                <c:pt idx="2447">
                  <c:v>41194</c:v>
                </c:pt>
                <c:pt idx="2448">
                  <c:v>41193</c:v>
                </c:pt>
                <c:pt idx="2449">
                  <c:v>41192</c:v>
                </c:pt>
                <c:pt idx="2450">
                  <c:v>41191</c:v>
                </c:pt>
                <c:pt idx="2451">
                  <c:v>41190</c:v>
                </c:pt>
                <c:pt idx="2452">
                  <c:v>41189</c:v>
                </c:pt>
                <c:pt idx="2453">
                  <c:v>41188</c:v>
                </c:pt>
                <c:pt idx="2454">
                  <c:v>41187</c:v>
                </c:pt>
                <c:pt idx="2455">
                  <c:v>41186</c:v>
                </c:pt>
                <c:pt idx="2456">
                  <c:v>41185</c:v>
                </c:pt>
                <c:pt idx="2457">
                  <c:v>41184</c:v>
                </c:pt>
                <c:pt idx="2458">
                  <c:v>41183</c:v>
                </c:pt>
                <c:pt idx="2459">
                  <c:v>41182</c:v>
                </c:pt>
                <c:pt idx="2460">
                  <c:v>41181</c:v>
                </c:pt>
                <c:pt idx="2461">
                  <c:v>41180</c:v>
                </c:pt>
                <c:pt idx="2462">
                  <c:v>41179</c:v>
                </c:pt>
                <c:pt idx="2463">
                  <c:v>41178</c:v>
                </c:pt>
                <c:pt idx="2464">
                  <c:v>41177</c:v>
                </c:pt>
                <c:pt idx="2465">
                  <c:v>41176</c:v>
                </c:pt>
                <c:pt idx="2466">
                  <c:v>41175</c:v>
                </c:pt>
                <c:pt idx="2467">
                  <c:v>41174</c:v>
                </c:pt>
                <c:pt idx="2468">
                  <c:v>41173</c:v>
                </c:pt>
                <c:pt idx="2469">
                  <c:v>41172</c:v>
                </c:pt>
                <c:pt idx="2470">
                  <c:v>41171</c:v>
                </c:pt>
                <c:pt idx="2471">
                  <c:v>41170</c:v>
                </c:pt>
                <c:pt idx="2472">
                  <c:v>41169</c:v>
                </c:pt>
                <c:pt idx="2473">
                  <c:v>41168</c:v>
                </c:pt>
                <c:pt idx="2474">
                  <c:v>41167</c:v>
                </c:pt>
                <c:pt idx="2475">
                  <c:v>41166</c:v>
                </c:pt>
                <c:pt idx="2476">
                  <c:v>41165</c:v>
                </c:pt>
                <c:pt idx="2477">
                  <c:v>41164</c:v>
                </c:pt>
                <c:pt idx="2478">
                  <c:v>41163</c:v>
                </c:pt>
                <c:pt idx="2479">
                  <c:v>41162</c:v>
                </c:pt>
                <c:pt idx="2480">
                  <c:v>41161</c:v>
                </c:pt>
                <c:pt idx="2481">
                  <c:v>41160</c:v>
                </c:pt>
                <c:pt idx="2482">
                  <c:v>41159</c:v>
                </c:pt>
                <c:pt idx="2483">
                  <c:v>41158</c:v>
                </c:pt>
                <c:pt idx="2484">
                  <c:v>41157</c:v>
                </c:pt>
                <c:pt idx="2485">
                  <c:v>41156</c:v>
                </c:pt>
                <c:pt idx="2486">
                  <c:v>41155</c:v>
                </c:pt>
                <c:pt idx="2487">
                  <c:v>41154</c:v>
                </c:pt>
                <c:pt idx="2488">
                  <c:v>41153</c:v>
                </c:pt>
                <c:pt idx="2489">
                  <c:v>41152</c:v>
                </c:pt>
                <c:pt idx="2490">
                  <c:v>41151</c:v>
                </c:pt>
                <c:pt idx="2491">
                  <c:v>41150</c:v>
                </c:pt>
                <c:pt idx="2492">
                  <c:v>41149</c:v>
                </c:pt>
                <c:pt idx="2493">
                  <c:v>41148</c:v>
                </c:pt>
                <c:pt idx="2494">
                  <c:v>41147</c:v>
                </c:pt>
                <c:pt idx="2495">
                  <c:v>41146</c:v>
                </c:pt>
                <c:pt idx="2496">
                  <c:v>41145</c:v>
                </c:pt>
                <c:pt idx="2497">
                  <c:v>41144</c:v>
                </c:pt>
                <c:pt idx="2498">
                  <c:v>41143</c:v>
                </c:pt>
                <c:pt idx="2499">
                  <c:v>41142</c:v>
                </c:pt>
                <c:pt idx="2500">
                  <c:v>41141</c:v>
                </c:pt>
                <c:pt idx="2501">
                  <c:v>41140</c:v>
                </c:pt>
                <c:pt idx="2502">
                  <c:v>41139</c:v>
                </c:pt>
                <c:pt idx="2503">
                  <c:v>41138</c:v>
                </c:pt>
                <c:pt idx="2504">
                  <c:v>41137</c:v>
                </c:pt>
                <c:pt idx="2505">
                  <c:v>41136</c:v>
                </c:pt>
                <c:pt idx="2506">
                  <c:v>41135</c:v>
                </c:pt>
                <c:pt idx="2507">
                  <c:v>41134</c:v>
                </c:pt>
                <c:pt idx="2508">
                  <c:v>41133</c:v>
                </c:pt>
                <c:pt idx="2509">
                  <c:v>41132</c:v>
                </c:pt>
                <c:pt idx="2510">
                  <c:v>41131</c:v>
                </c:pt>
                <c:pt idx="2511">
                  <c:v>41130</c:v>
                </c:pt>
                <c:pt idx="2512">
                  <c:v>41129</c:v>
                </c:pt>
                <c:pt idx="2513">
                  <c:v>41128</c:v>
                </c:pt>
                <c:pt idx="2514">
                  <c:v>41127</c:v>
                </c:pt>
                <c:pt idx="2515">
                  <c:v>41126</c:v>
                </c:pt>
                <c:pt idx="2516">
                  <c:v>41125</c:v>
                </c:pt>
                <c:pt idx="2517">
                  <c:v>41124</c:v>
                </c:pt>
                <c:pt idx="2518">
                  <c:v>41123</c:v>
                </c:pt>
                <c:pt idx="2519">
                  <c:v>41122</c:v>
                </c:pt>
                <c:pt idx="2520">
                  <c:v>41121</c:v>
                </c:pt>
                <c:pt idx="2521">
                  <c:v>41120</c:v>
                </c:pt>
                <c:pt idx="2522">
                  <c:v>41119</c:v>
                </c:pt>
                <c:pt idx="2523">
                  <c:v>41118</c:v>
                </c:pt>
                <c:pt idx="2524">
                  <c:v>41117</c:v>
                </c:pt>
                <c:pt idx="2525">
                  <c:v>41116</c:v>
                </c:pt>
                <c:pt idx="2526">
                  <c:v>41115</c:v>
                </c:pt>
                <c:pt idx="2527">
                  <c:v>41114</c:v>
                </c:pt>
                <c:pt idx="2528">
                  <c:v>41113</c:v>
                </c:pt>
                <c:pt idx="2529">
                  <c:v>41112</c:v>
                </c:pt>
                <c:pt idx="2530">
                  <c:v>41111</c:v>
                </c:pt>
                <c:pt idx="2531">
                  <c:v>41110</c:v>
                </c:pt>
                <c:pt idx="2532">
                  <c:v>41109</c:v>
                </c:pt>
                <c:pt idx="2533">
                  <c:v>41108</c:v>
                </c:pt>
                <c:pt idx="2534">
                  <c:v>41107</c:v>
                </c:pt>
                <c:pt idx="2535">
                  <c:v>41106</c:v>
                </c:pt>
                <c:pt idx="2536">
                  <c:v>41105</c:v>
                </c:pt>
                <c:pt idx="2537">
                  <c:v>41104</c:v>
                </c:pt>
                <c:pt idx="2538">
                  <c:v>41103</c:v>
                </c:pt>
                <c:pt idx="2539">
                  <c:v>41102</c:v>
                </c:pt>
                <c:pt idx="2540">
                  <c:v>41101</c:v>
                </c:pt>
                <c:pt idx="2541">
                  <c:v>41100</c:v>
                </c:pt>
                <c:pt idx="2542">
                  <c:v>41099</c:v>
                </c:pt>
                <c:pt idx="2543">
                  <c:v>41098</c:v>
                </c:pt>
                <c:pt idx="2544">
                  <c:v>41097</c:v>
                </c:pt>
                <c:pt idx="2545">
                  <c:v>41096</c:v>
                </c:pt>
                <c:pt idx="2546">
                  <c:v>41095</c:v>
                </c:pt>
                <c:pt idx="2547">
                  <c:v>41094</c:v>
                </c:pt>
                <c:pt idx="2548">
                  <c:v>41093</c:v>
                </c:pt>
                <c:pt idx="2549">
                  <c:v>41092</c:v>
                </c:pt>
                <c:pt idx="2550">
                  <c:v>41091</c:v>
                </c:pt>
                <c:pt idx="2551">
                  <c:v>41090</c:v>
                </c:pt>
                <c:pt idx="2552">
                  <c:v>41089</c:v>
                </c:pt>
                <c:pt idx="2553">
                  <c:v>41088</c:v>
                </c:pt>
                <c:pt idx="2554">
                  <c:v>41087</c:v>
                </c:pt>
                <c:pt idx="2555">
                  <c:v>41086</c:v>
                </c:pt>
                <c:pt idx="2556">
                  <c:v>41085</c:v>
                </c:pt>
                <c:pt idx="2557">
                  <c:v>41084</c:v>
                </c:pt>
                <c:pt idx="2558">
                  <c:v>41083</c:v>
                </c:pt>
                <c:pt idx="2559">
                  <c:v>41082</c:v>
                </c:pt>
                <c:pt idx="2560">
                  <c:v>41081</c:v>
                </c:pt>
                <c:pt idx="2561">
                  <c:v>41080</c:v>
                </c:pt>
                <c:pt idx="2562">
                  <c:v>41079</c:v>
                </c:pt>
                <c:pt idx="2563">
                  <c:v>41078</c:v>
                </c:pt>
                <c:pt idx="2564">
                  <c:v>41077</c:v>
                </c:pt>
                <c:pt idx="2565">
                  <c:v>41076</c:v>
                </c:pt>
                <c:pt idx="2566">
                  <c:v>41075</c:v>
                </c:pt>
                <c:pt idx="2567">
                  <c:v>41074</c:v>
                </c:pt>
                <c:pt idx="2568">
                  <c:v>41073</c:v>
                </c:pt>
                <c:pt idx="2569">
                  <c:v>41072</c:v>
                </c:pt>
                <c:pt idx="2570">
                  <c:v>41071</c:v>
                </c:pt>
                <c:pt idx="2571">
                  <c:v>41070</c:v>
                </c:pt>
                <c:pt idx="2572">
                  <c:v>41069</c:v>
                </c:pt>
                <c:pt idx="2573">
                  <c:v>41068</c:v>
                </c:pt>
                <c:pt idx="2574">
                  <c:v>41067</c:v>
                </c:pt>
                <c:pt idx="2575">
                  <c:v>41066</c:v>
                </c:pt>
                <c:pt idx="2576">
                  <c:v>41065</c:v>
                </c:pt>
                <c:pt idx="2577">
                  <c:v>41064</c:v>
                </c:pt>
                <c:pt idx="2578">
                  <c:v>41063</c:v>
                </c:pt>
                <c:pt idx="2579">
                  <c:v>41062</c:v>
                </c:pt>
                <c:pt idx="2580">
                  <c:v>41061</c:v>
                </c:pt>
                <c:pt idx="2581">
                  <c:v>41060</c:v>
                </c:pt>
                <c:pt idx="2582">
                  <c:v>41059</c:v>
                </c:pt>
                <c:pt idx="2583">
                  <c:v>41058</c:v>
                </c:pt>
                <c:pt idx="2584">
                  <c:v>41057</c:v>
                </c:pt>
                <c:pt idx="2585">
                  <c:v>41056</c:v>
                </c:pt>
                <c:pt idx="2586">
                  <c:v>41055</c:v>
                </c:pt>
                <c:pt idx="2587">
                  <c:v>41054</c:v>
                </c:pt>
                <c:pt idx="2588">
                  <c:v>41053</c:v>
                </c:pt>
                <c:pt idx="2589">
                  <c:v>41052</c:v>
                </c:pt>
                <c:pt idx="2590">
                  <c:v>41051</c:v>
                </c:pt>
                <c:pt idx="2591">
                  <c:v>41050</c:v>
                </c:pt>
                <c:pt idx="2592">
                  <c:v>41049</c:v>
                </c:pt>
                <c:pt idx="2593">
                  <c:v>41048</c:v>
                </c:pt>
                <c:pt idx="2594">
                  <c:v>41047</c:v>
                </c:pt>
                <c:pt idx="2595">
                  <c:v>41046</c:v>
                </c:pt>
                <c:pt idx="2596">
                  <c:v>41045</c:v>
                </c:pt>
                <c:pt idx="2597">
                  <c:v>41044</c:v>
                </c:pt>
                <c:pt idx="2598">
                  <c:v>41043</c:v>
                </c:pt>
                <c:pt idx="2599">
                  <c:v>41042</c:v>
                </c:pt>
                <c:pt idx="2600">
                  <c:v>41041</c:v>
                </c:pt>
                <c:pt idx="2601">
                  <c:v>41040</c:v>
                </c:pt>
                <c:pt idx="2602">
                  <c:v>41039</c:v>
                </c:pt>
                <c:pt idx="2603">
                  <c:v>41038</c:v>
                </c:pt>
                <c:pt idx="2604">
                  <c:v>41037</c:v>
                </c:pt>
                <c:pt idx="2605">
                  <c:v>41036</c:v>
                </c:pt>
                <c:pt idx="2606">
                  <c:v>41035</c:v>
                </c:pt>
                <c:pt idx="2607">
                  <c:v>41034</c:v>
                </c:pt>
                <c:pt idx="2608">
                  <c:v>41033</c:v>
                </c:pt>
                <c:pt idx="2609">
                  <c:v>41032</c:v>
                </c:pt>
                <c:pt idx="2610">
                  <c:v>41031</c:v>
                </c:pt>
                <c:pt idx="2611">
                  <c:v>41030</c:v>
                </c:pt>
                <c:pt idx="2612">
                  <c:v>41029</c:v>
                </c:pt>
                <c:pt idx="2613">
                  <c:v>41028</c:v>
                </c:pt>
                <c:pt idx="2614">
                  <c:v>41027</c:v>
                </c:pt>
                <c:pt idx="2615">
                  <c:v>41026</c:v>
                </c:pt>
                <c:pt idx="2616">
                  <c:v>41025</c:v>
                </c:pt>
                <c:pt idx="2617">
                  <c:v>41024</c:v>
                </c:pt>
                <c:pt idx="2618">
                  <c:v>41023</c:v>
                </c:pt>
                <c:pt idx="2619">
                  <c:v>41022</c:v>
                </c:pt>
                <c:pt idx="2620">
                  <c:v>41021</c:v>
                </c:pt>
                <c:pt idx="2621">
                  <c:v>41020</c:v>
                </c:pt>
                <c:pt idx="2622">
                  <c:v>41019</c:v>
                </c:pt>
                <c:pt idx="2623">
                  <c:v>41018</c:v>
                </c:pt>
                <c:pt idx="2624">
                  <c:v>41017</c:v>
                </c:pt>
                <c:pt idx="2625">
                  <c:v>41016</c:v>
                </c:pt>
                <c:pt idx="2626">
                  <c:v>41015</c:v>
                </c:pt>
                <c:pt idx="2627">
                  <c:v>41014</c:v>
                </c:pt>
                <c:pt idx="2628">
                  <c:v>41013</c:v>
                </c:pt>
                <c:pt idx="2629">
                  <c:v>41012</c:v>
                </c:pt>
                <c:pt idx="2630">
                  <c:v>41011</c:v>
                </c:pt>
                <c:pt idx="2631">
                  <c:v>41010</c:v>
                </c:pt>
                <c:pt idx="2632">
                  <c:v>41009</c:v>
                </c:pt>
                <c:pt idx="2633">
                  <c:v>41008</c:v>
                </c:pt>
                <c:pt idx="2634">
                  <c:v>41007</c:v>
                </c:pt>
                <c:pt idx="2635">
                  <c:v>41006</c:v>
                </c:pt>
                <c:pt idx="2636">
                  <c:v>41005</c:v>
                </c:pt>
                <c:pt idx="2637">
                  <c:v>41004</c:v>
                </c:pt>
                <c:pt idx="2638">
                  <c:v>41003</c:v>
                </c:pt>
                <c:pt idx="2639">
                  <c:v>41002</c:v>
                </c:pt>
                <c:pt idx="2640">
                  <c:v>41001</c:v>
                </c:pt>
                <c:pt idx="2641">
                  <c:v>41000</c:v>
                </c:pt>
                <c:pt idx="2642">
                  <c:v>40999</c:v>
                </c:pt>
                <c:pt idx="2643">
                  <c:v>40998</c:v>
                </c:pt>
                <c:pt idx="2644">
                  <c:v>40997</c:v>
                </c:pt>
                <c:pt idx="2645">
                  <c:v>40996</c:v>
                </c:pt>
                <c:pt idx="2646">
                  <c:v>40995</c:v>
                </c:pt>
                <c:pt idx="2647">
                  <c:v>40994</c:v>
                </c:pt>
                <c:pt idx="2648">
                  <c:v>40993</c:v>
                </c:pt>
                <c:pt idx="2649">
                  <c:v>40992</c:v>
                </c:pt>
                <c:pt idx="2650">
                  <c:v>40991</c:v>
                </c:pt>
                <c:pt idx="2651">
                  <c:v>40990</c:v>
                </c:pt>
                <c:pt idx="2652">
                  <c:v>40989</c:v>
                </c:pt>
                <c:pt idx="2653">
                  <c:v>40988</c:v>
                </c:pt>
                <c:pt idx="2654">
                  <c:v>40987</c:v>
                </c:pt>
                <c:pt idx="2655">
                  <c:v>40986</c:v>
                </c:pt>
                <c:pt idx="2656">
                  <c:v>40985</c:v>
                </c:pt>
                <c:pt idx="2657">
                  <c:v>40984</c:v>
                </c:pt>
                <c:pt idx="2658">
                  <c:v>40983</c:v>
                </c:pt>
                <c:pt idx="2659">
                  <c:v>40982</c:v>
                </c:pt>
                <c:pt idx="2660">
                  <c:v>40981</c:v>
                </c:pt>
                <c:pt idx="2661">
                  <c:v>40980</c:v>
                </c:pt>
                <c:pt idx="2662">
                  <c:v>40979</c:v>
                </c:pt>
                <c:pt idx="2663">
                  <c:v>40978</c:v>
                </c:pt>
                <c:pt idx="2664">
                  <c:v>40977</c:v>
                </c:pt>
                <c:pt idx="2665">
                  <c:v>40976</c:v>
                </c:pt>
                <c:pt idx="2666">
                  <c:v>40975</c:v>
                </c:pt>
                <c:pt idx="2667">
                  <c:v>40974</c:v>
                </c:pt>
                <c:pt idx="2668">
                  <c:v>40973</c:v>
                </c:pt>
                <c:pt idx="2669">
                  <c:v>40972</c:v>
                </c:pt>
                <c:pt idx="2670">
                  <c:v>40971</c:v>
                </c:pt>
                <c:pt idx="2671">
                  <c:v>40970</c:v>
                </c:pt>
                <c:pt idx="2672">
                  <c:v>40969</c:v>
                </c:pt>
                <c:pt idx="2673">
                  <c:v>40968</c:v>
                </c:pt>
                <c:pt idx="2674">
                  <c:v>40967</c:v>
                </c:pt>
                <c:pt idx="2675">
                  <c:v>40966</c:v>
                </c:pt>
                <c:pt idx="2676">
                  <c:v>40965</c:v>
                </c:pt>
                <c:pt idx="2677">
                  <c:v>40964</c:v>
                </c:pt>
                <c:pt idx="2678">
                  <c:v>40963</c:v>
                </c:pt>
                <c:pt idx="2679">
                  <c:v>40962</c:v>
                </c:pt>
                <c:pt idx="2680">
                  <c:v>40961</c:v>
                </c:pt>
                <c:pt idx="2681">
                  <c:v>40960</c:v>
                </c:pt>
                <c:pt idx="2682">
                  <c:v>40959</c:v>
                </c:pt>
                <c:pt idx="2683">
                  <c:v>40958</c:v>
                </c:pt>
                <c:pt idx="2684">
                  <c:v>40957</c:v>
                </c:pt>
                <c:pt idx="2685">
                  <c:v>40956</c:v>
                </c:pt>
                <c:pt idx="2686">
                  <c:v>40955</c:v>
                </c:pt>
                <c:pt idx="2687">
                  <c:v>40954</c:v>
                </c:pt>
                <c:pt idx="2688">
                  <c:v>40953</c:v>
                </c:pt>
                <c:pt idx="2689">
                  <c:v>40952</c:v>
                </c:pt>
                <c:pt idx="2690">
                  <c:v>40951</c:v>
                </c:pt>
                <c:pt idx="2691">
                  <c:v>40950</c:v>
                </c:pt>
                <c:pt idx="2692">
                  <c:v>40949</c:v>
                </c:pt>
                <c:pt idx="2693">
                  <c:v>40948</c:v>
                </c:pt>
                <c:pt idx="2694">
                  <c:v>40947</c:v>
                </c:pt>
                <c:pt idx="2695">
                  <c:v>40946</c:v>
                </c:pt>
                <c:pt idx="2696">
                  <c:v>40945</c:v>
                </c:pt>
                <c:pt idx="2697">
                  <c:v>40944</c:v>
                </c:pt>
                <c:pt idx="2698">
                  <c:v>40943</c:v>
                </c:pt>
                <c:pt idx="2699">
                  <c:v>40942</c:v>
                </c:pt>
                <c:pt idx="2700">
                  <c:v>40941</c:v>
                </c:pt>
                <c:pt idx="2701">
                  <c:v>40940</c:v>
                </c:pt>
                <c:pt idx="2702">
                  <c:v>40939</c:v>
                </c:pt>
                <c:pt idx="2703">
                  <c:v>40938</c:v>
                </c:pt>
                <c:pt idx="2704">
                  <c:v>40937</c:v>
                </c:pt>
                <c:pt idx="2705">
                  <c:v>40936</c:v>
                </c:pt>
                <c:pt idx="2706">
                  <c:v>40935</c:v>
                </c:pt>
                <c:pt idx="2707">
                  <c:v>40934</c:v>
                </c:pt>
                <c:pt idx="2708">
                  <c:v>40933</c:v>
                </c:pt>
                <c:pt idx="2709">
                  <c:v>40932</c:v>
                </c:pt>
                <c:pt idx="2710">
                  <c:v>40931</c:v>
                </c:pt>
                <c:pt idx="2711">
                  <c:v>40930</c:v>
                </c:pt>
                <c:pt idx="2712">
                  <c:v>40929</c:v>
                </c:pt>
                <c:pt idx="2713">
                  <c:v>40928</c:v>
                </c:pt>
                <c:pt idx="2714">
                  <c:v>40927</c:v>
                </c:pt>
                <c:pt idx="2715">
                  <c:v>40926</c:v>
                </c:pt>
                <c:pt idx="2716">
                  <c:v>40925</c:v>
                </c:pt>
                <c:pt idx="2717">
                  <c:v>40924</c:v>
                </c:pt>
                <c:pt idx="2718">
                  <c:v>40923</c:v>
                </c:pt>
                <c:pt idx="2719">
                  <c:v>40922</c:v>
                </c:pt>
                <c:pt idx="2720">
                  <c:v>40921</c:v>
                </c:pt>
                <c:pt idx="2721">
                  <c:v>40920</c:v>
                </c:pt>
                <c:pt idx="2722">
                  <c:v>40919</c:v>
                </c:pt>
                <c:pt idx="2723">
                  <c:v>40918</c:v>
                </c:pt>
                <c:pt idx="2724">
                  <c:v>40917</c:v>
                </c:pt>
                <c:pt idx="2725">
                  <c:v>40916</c:v>
                </c:pt>
                <c:pt idx="2726">
                  <c:v>40915</c:v>
                </c:pt>
                <c:pt idx="2727">
                  <c:v>40914</c:v>
                </c:pt>
                <c:pt idx="2728">
                  <c:v>40913</c:v>
                </c:pt>
                <c:pt idx="2729">
                  <c:v>40912</c:v>
                </c:pt>
                <c:pt idx="2730">
                  <c:v>40911</c:v>
                </c:pt>
                <c:pt idx="2731">
                  <c:v>40910</c:v>
                </c:pt>
                <c:pt idx="2732">
                  <c:v>40909</c:v>
                </c:pt>
              </c:numCache>
            </c:numRef>
          </c:cat>
          <c:val>
            <c:numRef>
              <c:f>Sheet2!$Q$3:$Q$2735</c:f>
              <c:numCache>
                <c:formatCode>General</c:formatCode>
                <c:ptCount val="2733"/>
                <c:pt idx="0">
                  <c:v>1.7983253362577634</c:v>
                </c:pt>
                <c:pt idx="1">
                  <c:v>1.7974496282910408</c:v>
                </c:pt>
                <c:pt idx="2">
                  <c:v>1.7974496282910408</c:v>
                </c:pt>
                <c:pt idx="3">
                  <c:v>1.7974496282910408</c:v>
                </c:pt>
                <c:pt idx="4">
                  <c:v>1.7673337317775215</c:v>
                </c:pt>
                <c:pt idx="5">
                  <c:v>1.7673337317775215</c:v>
                </c:pt>
                <c:pt idx="6">
                  <c:v>1.7514932847118656</c:v>
                </c:pt>
                <c:pt idx="7">
                  <c:v>1.7201098141314244</c:v>
                </c:pt>
                <c:pt idx="8">
                  <c:v>1.7274539557332267</c:v>
                </c:pt>
                <c:pt idx="9">
                  <c:v>1.7274539557332267</c:v>
                </c:pt>
                <c:pt idx="10">
                  <c:v>1.7274539557332267</c:v>
                </c:pt>
                <c:pt idx="11">
                  <c:v>1.7403806034737943</c:v>
                </c:pt>
                <c:pt idx="12">
                  <c:v>1.732401970043387</c:v>
                </c:pt>
                <c:pt idx="13">
                  <c:v>1.7436631868581076</c:v>
                </c:pt>
                <c:pt idx="14">
                  <c:v>1.7173512459368558</c:v>
                </c:pt>
                <c:pt idx="15">
                  <c:v>1.7235987262942152</c:v>
                </c:pt>
                <c:pt idx="16">
                  <c:v>1.7235987262942152</c:v>
                </c:pt>
                <c:pt idx="17">
                  <c:v>1.7235987262942152</c:v>
                </c:pt>
                <c:pt idx="18">
                  <c:v>1.7127376569226387</c:v>
                </c:pt>
                <c:pt idx="19">
                  <c:v>1.6975392782333887</c:v>
                </c:pt>
                <c:pt idx="20">
                  <c:v>1.7158287122265043</c:v>
                </c:pt>
                <c:pt idx="21">
                  <c:v>1.7094890799040352</c:v>
                </c:pt>
                <c:pt idx="22">
                  <c:v>1.7096624595095191</c:v>
                </c:pt>
                <c:pt idx="23">
                  <c:v>1.7096624595095191</c:v>
                </c:pt>
                <c:pt idx="24">
                  <c:v>1.7096624595095191</c:v>
                </c:pt>
                <c:pt idx="25">
                  <c:v>1.7171868524694611</c:v>
                </c:pt>
                <c:pt idx="26">
                  <c:v>1.7014908884083753</c:v>
                </c:pt>
                <c:pt idx="27">
                  <c:v>1.6984287297054237</c:v>
                </c:pt>
                <c:pt idx="28">
                  <c:v>1.6714965690572379</c:v>
                </c:pt>
                <c:pt idx="29">
                  <c:v>1.6497104701547449</c:v>
                </c:pt>
                <c:pt idx="30">
                  <c:v>1.6497104701547449</c:v>
                </c:pt>
                <c:pt idx="31">
                  <c:v>1.6497104701547449</c:v>
                </c:pt>
                <c:pt idx="32">
                  <c:v>1.6546833284937401</c:v>
                </c:pt>
                <c:pt idx="33">
                  <c:v>1.6626233743899999</c:v>
                </c:pt>
                <c:pt idx="34">
                  <c:v>1.6648077107407959</c:v>
                </c:pt>
                <c:pt idx="35">
                  <c:v>1.6200807060919675</c:v>
                </c:pt>
                <c:pt idx="36">
                  <c:v>1.5856609780301256</c:v>
                </c:pt>
                <c:pt idx="37">
                  <c:v>1.5856609780301256</c:v>
                </c:pt>
                <c:pt idx="38">
                  <c:v>1.5856609780301256</c:v>
                </c:pt>
                <c:pt idx="39">
                  <c:v>1.5862202329770829</c:v>
                </c:pt>
                <c:pt idx="40">
                  <c:v>1.6143938902718538</c:v>
                </c:pt>
                <c:pt idx="41">
                  <c:v>1.6226576133381072</c:v>
                </c:pt>
                <c:pt idx="42">
                  <c:v>1.6286448480884548</c:v>
                </c:pt>
                <c:pt idx="43">
                  <c:v>1.6608067649057126</c:v>
                </c:pt>
                <c:pt idx="44">
                  <c:v>1.6608067649057126</c:v>
                </c:pt>
                <c:pt idx="45">
                  <c:v>1.6608067649057126</c:v>
                </c:pt>
                <c:pt idx="46">
                  <c:v>1.6705028079038546</c:v>
                </c:pt>
                <c:pt idx="47">
                  <c:v>1.6844006633531898</c:v>
                </c:pt>
                <c:pt idx="48">
                  <c:v>1.6631179643824725</c:v>
                </c:pt>
                <c:pt idx="49">
                  <c:v>1.6740410557267424</c:v>
                </c:pt>
                <c:pt idx="50">
                  <c:v>1.6916473670263001</c:v>
                </c:pt>
                <c:pt idx="51">
                  <c:v>1.6916473670263001</c:v>
                </c:pt>
                <c:pt idx="52">
                  <c:v>1.6916473670263001</c:v>
                </c:pt>
                <c:pt idx="53">
                  <c:v>1.6831850679281559</c:v>
                </c:pt>
                <c:pt idx="54">
                  <c:v>1.6977339778919858</c:v>
                </c:pt>
                <c:pt idx="55">
                  <c:v>1.6919958882251285</c:v>
                </c:pt>
                <c:pt idx="56">
                  <c:v>1.6948164783923902</c:v>
                </c:pt>
                <c:pt idx="57">
                  <c:v>1.6956673423302779</c:v>
                </c:pt>
                <c:pt idx="58">
                  <c:v>1.6956673423302779</c:v>
                </c:pt>
                <c:pt idx="59">
                  <c:v>1.6956673423302779</c:v>
                </c:pt>
                <c:pt idx="60">
                  <c:v>1.701235047771015</c:v>
                </c:pt>
                <c:pt idx="61">
                  <c:v>1.6746889386630881</c:v>
                </c:pt>
                <c:pt idx="62">
                  <c:v>1.6901558443022953</c:v>
                </c:pt>
                <c:pt idx="63">
                  <c:v>1.6666301347850234</c:v>
                </c:pt>
                <c:pt idx="64">
                  <c:v>1.6664574599746838</c:v>
                </c:pt>
                <c:pt idx="65">
                  <c:v>1.6664574599746838</c:v>
                </c:pt>
                <c:pt idx="66">
                  <c:v>1.6664574599746838</c:v>
                </c:pt>
                <c:pt idx="67">
                  <c:v>1.6664574599746838</c:v>
                </c:pt>
                <c:pt idx="68">
                  <c:v>1.6370474157981239</c:v>
                </c:pt>
                <c:pt idx="69">
                  <c:v>1.6621414707101232</c:v>
                </c:pt>
                <c:pt idx="70">
                  <c:v>1.6401106316937919</c:v>
                </c:pt>
                <c:pt idx="71">
                  <c:v>1.6364462255400847</c:v>
                </c:pt>
                <c:pt idx="72">
                  <c:v>1.6364462255400847</c:v>
                </c:pt>
                <c:pt idx="73">
                  <c:v>1.6364462255400847</c:v>
                </c:pt>
                <c:pt idx="74">
                  <c:v>1.665357803350878</c:v>
                </c:pt>
                <c:pt idx="75">
                  <c:v>1.6695663113559411</c:v>
                </c:pt>
                <c:pt idx="76">
                  <c:v>1.6906881408349848</c:v>
                </c:pt>
                <c:pt idx="77">
                  <c:v>1.6966496505625672</c:v>
                </c:pt>
                <c:pt idx="78">
                  <c:v>1.7156350697606231</c:v>
                </c:pt>
                <c:pt idx="79">
                  <c:v>1.7110341670590026</c:v>
                </c:pt>
                <c:pt idx="80">
                  <c:v>1.7110341670590026</c:v>
                </c:pt>
                <c:pt idx="81">
                  <c:v>1.7110341670590026</c:v>
                </c:pt>
                <c:pt idx="82">
                  <c:v>1.6970244253805189</c:v>
                </c:pt>
                <c:pt idx="83">
                  <c:v>1.6649284069092476</c:v>
                </c:pt>
                <c:pt idx="84">
                  <c:v>1.6807031318277026</c:v>
                </c:pt>
                <c:pt idx="85">
                  <c:v>1.6924677485741992</c:v>
                </c:pt>
                <c:pt idx="86">
                  <c:v>1.681192788254166</c:v>
                </c:pt>
                <c:pt idx="87">
                  <c:v>1.681192788254166</c:v>
                </c:pt>
                <c:pt idx="88">
                  <c:v>1.681192788254166</c:v>
                </c:pt>
                <c:pt idx="89">
                  <c:v>1.6631216645569795</c:v>
                </c:pt>
                <c:pt idx="90">
                  <c:v>1.6193267514864127</c:v>
                </c:pt>
                <c:pt idx="91">
                  <c:v>1.6751761283065463</c:v>
                </c:pt>
                <c:pt idx="92">
                  <c:v>1.650313246201859</c:v>
                </c:pt>
                <c:pt idx="93">
                  <c:v>1.6516019641231077</c:v>
                </c:pt>
                <c:pt idx="94">
                  <c:v>1.6516019641231077</c:v>
                </c:pt>
                <c:pt idx="95">
                  <c:v>1.6516019641231077</c:v>
                </c:pt>
                <c:pt idx="96">
                  <c:v>1.7043546472782223</c:v>
                </c:pt>
                <c:pt idx="97">
                  <c:v>1.7274770377742004</c:v>
                </c:pt>
                <c:pt idx="98">
                  <c:v>1.7547349899778129</c:v>
                </c:pt>
                <c:pt idx="99">
                  <c:v>1.7618807317465104</c:v>
                </c:pt>
                <c:pt idx="100">
                  <c:v>1.7467773242029472</c:v>
                </c:pt>
                <c:pt idx="101">
                  <c:v>1.7467773242029472</c:v>
                </c:pt>
                <c:pt idx="102">
                  <c:v>1.7467773242029472</c:v>
                </c:pt>
                <c:pt idx="103">
                  <c:v>1.737402315393008</c:v>
                </c:pt>
                <c:pt idx="104">
                  <c:v>1.7426743592707341</c:v>
                </c:pt>
                <c:pt idx="105">
                  <c:v>1.7237180128723784</c:v>
                </c:pt>
                <c:pt idx="106">
                  <c:v>1.7272171445647606</c:v>
                </c:pt>
                <c:pt idx="107">
                  <c:v>1.6803170802874439</c:v>
                </c:pt>
                <c:pt idx="108">
                  <c:v>1.6803170802874439</c:v>
                </c:pt>
                <c:pt idx="109">
                  <c:v>1.6803170802874439</c:v>
                </c:pt>
                <c:pt idx="110">
                  <c:v>1.6622623430773613</c:v>
                </c:pt>
                <c:pt idx="111">
                  <c:v>1.6600898120452308</c:v>
                </c:pt>
                <c:pt idx="112">
                  <c:v>1.6669065906803526</c:v>
                </c:pt>
                <c:pt idx="113">
                  <c:v>1.6669065906803526</c:v>
                </c:pt>
                <c:pt idx="114">
                  <c:v>1.6669065906803526</c:v>
                </c:pt>
                <c:pt idx="115">
                  <c:v>1.6669065906803526</c:v>
                </c:pt>
                <c:pt idx="116">
                  <c:v>1.6669065906803526</c:v>
                </c:pt>
                <c:pt idx="117">
                  <c:v>1.6841846436414791</c:v>
                </c:pt>
                <c:pt idx="118">
                  <c:v>1.714542989684618</c:v>
                </c:pt>
                <c:pt idx="119">
                  <c:v>1.7197442016503481</c:v>
                </c:pt>
                <c:pt idx="120">
                  <c:v>1.713355233667782</c:v>
                </c:pt>
                <c:pt idx="121">
                  <c:v>1.724732389283731</c:v>
                </c:pt>
                <c:pt idx="122">
                  <c:v>1.724732389283731</c:v>
                </c:pt>
                <c:pt idx="123">
                  <c:v>1.724732389283731</c:v>
                </c:pt>
                <c:pt idx="124">
                  <c:v>1.7079348304121924</c:v>
                </c:pt>
                <c:pt idx="125">
                  <c:v>1.7304646643906481</c:v>
                </c:pt>
                <c:pt idx="126">
                  <c:v>1.7207423677733829</c:v>
                </c:pt>
                <c:pt idx="127">
                  <c:v>1.7004925460865545</c:v>
                </c:pt>
                <c:pt idx="128">
                  <c:v>1.7183946951479083</c:v>
                </c:pt>
                <c:pt idx="129">
                  <c:v>1.7183946951479083</c:v>
                </c:pt>
                <c:pt idx="130">
                  <c:v>1.7183946951479083</c:v>
                </c:pt>
                <c:pt idx="131">
                  <c:v>1.7270139873644326</c:v>
                </c:pt>
                <c:pt idx="132">
                  <c:v>1.6887314533157789</c:v>
                </c:pt>
                <c:pt idx="133">
                  <c:v>1.6944755337413624</c:v>
                </c:pt>
                <c:pt idx="134">
                  <c:v>1.6635440130471677</c:v>
                </c:pt>
                <c:pt idx="135">
                  <c:v>1.6799338479277615</c:v>
                </c:pt>
                <c:pt idx="136">
                  <c:v>1.6799338479277615</c:v>
                </c:pt>
                <c:pt idx="137">
                  <c:v>1.6799338479277615</c:v>
                </c:pt>
                <c:pt idx="138">
                  <c:v>1.6634150355357711</c:v>
                </c:pt>
                <c:pt idx="139">
                  <c:v>1.6674672552175986</c:v>
                </c:pt>
                <c:pt idx="140">
                  <c:v>1.7322314096184803</c:v>
                </c:pt>
                <c:pt idx="141">
                  <c:v>1.7371196925401662</c:v>
                </c:pt>
                <c:pt idx="142">
                  <c:v>1.7243036976372448</c:v>
                </c:pt>
                <c:pt idx="143">
                  <c:v>1.7243036976372448</c:v>
                </c:pt>
                <c:pt idx="144">
                  <c:v>1.7243036976372448</c:v>
                </c:pt>
                <c:pt idx="145">
                  <c:v>1.716065875792542</c:v>
                </c:pt>
                <c:pt idx="146">
                  <c:v>1.7090614454502653</c:v>
                </c:pt>
                <c:pt idx="147">
                  <c:v>1.6851533845672417</c:v>
                </c:pt>
                <c:pt idx="148">
                  <c:v>1.6817095792936825</c:v>
                </c:pt>
                <c:pt idx="149">
                  <c:v>1.7210602303834366</c:v>
                </c:pt>
                <c:pt idx="150">
                  <c:v>1.7210602303834366</c:v>
                </c:pt>
                <c:pt idx="151">
                  <c:v>1.7210602303834366</c:v>
                </c:pt>
                <c:pt idx="152">
                  <c:v>1.7210602303834366</c:v>
                </c:pt>
                <c:pt idx="153">
                  <c:v>1.690641976753037</c:v>
                </c:pt>
                <c:pt idx="154">
                  <c:v>1.6757100106283107</c:v>
                </c:pt>
                <c:pt idx="155">
                  <c:v>1.6916804923980797</c:v>
                </c:pt>
                <c:pt idx="156">
                  <c:v>1.6932130694392367</c:v>
                </c:pt>
                <c:pt idx="157">
                  <c:v>1.6932130694392367</c:v>
                </c:pt>
                <c:pt idx="158">
                  <c:v>1.6932130694392367</c:v>
                </c:pt>
                <c:pt idx="159">
                  <c:v>1.6800746307578236</c:v>
                </c:pt>
                <c:pt idx="160">
                  <c:v>1.6631944346556231</c:v>
                </c:pt>
                <c:pt idx="161">
                  <c:v>1.6572503686078606</c:v>
                </c:pt>
                <c:pt idx="162">
                  <c:v>1.6646227020154323</c:v>
                </c:pt>
                <c:pt idx="163">
                  <c:v>1.6502480526510164</c:v>
                </c:pt>
                <c:pt idx="164">
                  <c:v>1.6502480526510164</c:v>
                </c:pt>
                <c:pt idx="165">
                  <c:v>1.6502480526510164</c:v>
                </c:pt>
                <c:pt idx="166">
                  <c:v>1.6528490991308464</c:v>
                </c:pt>
                <c:pt idx="167">
                  <c:v>1.6494504007465187</c:v>
                </c:pt>
                <c:pt idx="168">
                  <c:v>1.6215902010921506</c:v>
                </c:pt>
                <c:pt idx="169">
                  <c:v>1.6157261292932594</c:v>
                </c:pt>
                <c:pt idx="170">
                  <c:v>1.618223570886886</c:v>
                </c:pt>
                <c:pt idx="171">
                  <c:v>1.618223570886886</c:v>
                </c:pt>
                <c:pt idx="172">
                  <c:v>1.618223570886886</c:v>
                </c:pt>
                <c:pt idx="173">
                  <c:v>1.6133509696571593</c:v>
                </c:pt>
                <c:pt idx="174">
                  <c:v>1.6036258538593171</c:v>
                </c:pt>
                <c:pt idx="175">
                  <c:v>1.548562852221373</c:v>
                </c:pt>
                <c:pt idx="176">
                  <c:v>1.548562852221373</c:v>
                </c:pt>
                <c:pt idx="177">
                  <c:v>1.548562852221373</c:v>
                </c:pt>
                <c:pt idx="178">
                  <c:v>1.548562852221373</c:v>
                </c:pt>
                <c:pt idx="179">
                  <c:v>1.548562852221373</c:v>
                </c:pt>
                <c:pt idx="180">
                  <c:v>1.5057983496516902</c:v>
                </c:pt>
                <c:pt idx="181">
                  <c:v>1.5000877469954585</c:v>
                </c:pt>
                <c:pt idx="182">
                  <c:v>1.5099733798874018</c:v>
                </c:pt>
                <c:pt idx="183">
                  <c:v>1.5099733798874018</c:v>
                </c:pt>
                <c:pt idx="184">
                  <c:v>1.5099733798874018</c:v>
                </c:pt>
                <c:pt idx="185">
                  <c:v>1.5099733798874018</c:v>
                </c:pt>
                <c:pt idx="186">
                  <c:v>1.5099733798874018</c:v>
                </c:pt>
                <c:pt idx="187">
                  <c:v>1.5024345386270026</c:v>
                </c:pt>
                <c:pt idx="188">
                  <c:v>1.5347173278114983</c:v>
                </c:pt>
                <c:pt idx="189">
                  <c:v>1.526066319813483</c:v>
                </c:pt>
                <c:pt idx="190">
                  <c:v>1.522351873204534</c:v>
                </c:pt>
                <c:pt idx="191">
                  <c:v>1.5408495741627737</c:v>
                </c:pt>
                <c:pt idx="192">
                  <c:v>1.5408495741627737</c:v>
                </c:pt>
                <c:pt idx="193">
                  <c:v>1.5408495741627737</c:v>
                </c:pt>
                <c:pt idx="194">
                  <c:v>1.5465473143076232</c:v>
                </c:pt>
                <c:pt idx="195">
                  <c:v>1.5325322866655577</c:v>
                </c:pt>
                <c:pt idx="196">
                  <c:v>1.5227023325900095</c:v>
                </c:pt>
                <c:pt idx="197">
                  <c:v>1.5138067606769416</c:v>
                </c:pt>
                <c:pt idx="198">
                  <c:v>1.5525768367666257</c:v>
                </c:pt>
                <c:pt idx="199">
                  <c:v>1.5525768367666257</c:v>
                </c:pt>
                <c:pt idx="200">
                  <c:v>1.5525768367666257</c:v>
                </c:pt>
                <c:pt idx="201">
                  <c:v>1.5654641921779016</c:v>
                </c:pt>
                <c:pt idx="202">
                  <c:v>1.5688702909112435</c:v>
                </c:pt>
                <c:pt idx="203">
                  <c:v>1.5615520505309926</c:v>
                </c:pt>
                <c:pt idx="204">
                  <c:v>1.5826190821875712</c:v>
                </c:pt>
                <c:pt idx="205">
                  <c:v>1.5770501433553323</c:v>
                </c:pt>
                <c:pt idx="206">
                  <c:v>1.5770501433553323</c:v>
                </c:pt>
                <c:pt idx="207">
                  <c:v>1.5770501433553323</c:v>
                </c:pt>
                <c:pt idx="208">
                  <c:v>1.580671557005241</c:v>
                </c:pt>
                <c:pt idx="209">
                  <c:v>1.5725886138934857</c:v>
                </c:pt>
                <c:pt idx="210">
                  <c:v>1.5486319221455092</c:v>
                </c:pt>
                <c:pt idx="211">
                  <c:v>1.5073191213741814</c:v>
                </c:pt>
                <c:pt idx="212">
                  <c:v>1.5193660085759473</c:v>
                </c:pt>
                <c:pt idx="213">
                  <c:v>1.5193660085759473</c:v>
                </c:pt>
                <c:pt idx="214">
                  <c:v>1.5193660085759473</c:v>
                </c:pt>
                <c:pt idx="215">
                  <c:v>1.541341873571028</c:v>
                </c:pt>
                <c:pt idx="216">
                  <c:v>1.5376656620986544</c:v>
                </c:pt>
                <c:pt idx="217">
                  <c:v>1.5488019539740576</c:v>
                </c:pt>
                <c:pt idx="218">
                  <c:v>1.5488019539740576</c:v>
                </c:pt>
                <c:pt idx="219">
                  <c:v>1.5596283121847805</c:v>
                </c:pt>
                <c:pt idx="220">
                  <c:v>1.5596283121847805</c:v>
                </c:pt>
                <c:pt idx="221">
                  <c:v>1.5596283121847805</c:v>
                </c:pt>
                <c:pt idx="222">
                  <c:v>1.5148348805936067</c:v>
                </c:pt>
                <c:pt idx="223">
                  <c:v>1.5148348805936067</c:v>
                </c:pt>
                <c:pt idx="224">
                  <c:v>1.4961763101436936</c:v>
                </c:pt>
                <c:pt idx="225">
                  <c:v>1.5069348318217826</c:v>
                </c:pt>
                <c:pt idx="226">
                  <c:v>1.5089877238781775</c:v>
                </c:pt>
                <c:pt idx="227">
                  <c:v>1.5089877238781775</c:v>
                </c:pt>
                <c:pt idx="228">
                  <c:v>1.5089877238781775</c:v>
                </c:pt>
                <c:pt idx="229">
                  <c:v>1.5086162968371613</c:v>
                </c:pt>
                <c:pt idx="230">
                  <c:v>1.5455161990115953</c:v>
                </c:pt>
                <c:pt idx="231">
                  <c:v>1.5623356065326051</c:v>
                </c:pt>
                <c:pt idx="232">
                  <c:v>1.5787087025285231</c:v>
                </c:pt>
                <c:pt idx="233">
                  <c:v>1.5579329274653029</c:v>
                </c:pt>
                <c:pt idx="234">
                  <c:v>1.5579329274653029</c:v>
                </c:pt>
                <c:pt idx="235">
                  <c:v>1.5579329274653029</c:v>
                </c:pt>
                <c:pt idx="236">
                  <c:v>1.5579329274653029</c:v>
                </c:pt>
                <c:pt idx="237">
                  <c:v>1.5403923383129459</c:v>
                </c:pt>
                <c:pt idx="238">
                  <c:v>1.5309156628034495</c:v>
                </c:pt>
                <c:pt idx="239">
                  <c:v>1.4764878577892548</c:v>
                </c:pt>
                <c:pt idx="240">
                  <c:v>1.5103737035293321</c:v>
                </c:pt>
                <c:pt idx="241">
                  <c:v>1.5103737035293321</c:v>
                </c:pt>
                <c:pt idx="242">
                  <c:v>1.5103737035293321</c:v>
                </c:pt>
                <c:pt idx="243">
                  <c:v>1.4815412389734801</c:v>
                </c:pt>
                <c:pt idx="244">
                  <c:v>1.463569843789204</c:v>
                </c:pt>
                <c:pt idx="245">
                  <c:v>1.5029761736953537</c:v>
                </c:pt>
                <c:pt idx="246">
                  <c:v>1.5082032868826345</c:v>
                </c:pt>
                <c:pt idx="247">
                  <c:v>1.4839415950359867</c:v>
                </c:pt>
                <c:pt idx="248">
                  <c:v>1.4839415950359867</c:v>
                </c:pt>
                <c:pt idx="249">
                  <c:v>1.4839415950359867</c:v>
                </c:pt>
                <c:pt idx="250">
                  <c:v>1.4773760758697876</c:v>
                </c:pt>
                <c:pt idx="251">
                  <c:v>1.5111503877782884</c:v>
                </c:pt>
                <c:pt idx="252">
                  <c:v>1.5103330016097523</c:v>
                </c:pt>
                <c:pt idx="253">
                  <c:v>1.4779258160822977</c:v>
                </c:pt>
                <c:pt idx="254">
                  <c:v>1.4610593634854092</c:v>
                </c:pt>
                <c:pt idx="255">
                  <c:v>1.4610593634854092</c:v>
                </c:pt>
                <c:pt idx="256">
                  <c:v>1.4610593634854092</c:v>
                </c:pt>
                <c:pt idx="257">
                  <c:v>1.4610593634854092</c:v>
                </c:pt>
                <c:pt idx="258">
                  <c:v>1.4744157600651795</c:v>
                </c:pt>
                <c:pt idx="259">
                  <c:v>1.5168521804952173</c:v>
                </c:pt>
                <c:pt idx="260">
                  <c:v>1.5167880441370911</c:v>
                </c:pt>
                <c:pt idx="261">
                  <c:v>1.4504951890683455</c:v>
                </c:pt>
                <c:pt idx="262">
                  <c:v>1.4504951890683455</c:v>
                </c:pt>
                <c:pt idx="263">
                  <c:v>1.4504951890683455</c:v>
                </c:pt>
                <c:pt idx="264">
                  <c:v>1.4616184422335803</c:v>
                </c:pt>
                <c:pt idx="265">
                  <c:v>1.4672671991159048</c:v>
                </c:pt>
                <c:pt idx="266">
                  <c:v>1.4379984663657661</c:v>
                </c:pt>
                <c:pt idx="267">
                  <c:v>1.3853393447660503</c:v>
                </c:pt>
                <c:pt idx="268">
                  <c:v>1.3980038087129594</c:v>
                </c:pt>
                <c:pt idx="269">
                  <c:v>1.3980038087129594</c:v>
                </c:pt>
                <c:pt idx="270">
                  <c:v>1.3980038087129594</c:v>
                </c:pt>
                <c:pt idx="271">
                  <c:v>1.4095918742758229</c:v>
                </c:pt>
                <c:pt idx="272">
                  <c:v>1.385911990820748</c:v>
                </c:pt>
                <c:pt idx="273">
                  <c:v>1.3854535215794177</c:v>
                </c:pt>
                <c:pt idx="274">
                  <c:v>1.3740717847950312</c:v>
                </c:pt>
                <c:pt idx="275">
                  <c:v>1.3997987457465613</c:v>
                </c:pt>
                <c:pt idx="276">
                  <c:v>1.3997987457465613</c:v>
                </c:pt>
                <c:pt idx="277">
                  <c:v>1.3997987457465613</c:v>
                </c:pt>
                <c:pt idx="278">
                  <c:v>1.3763946133916714</c:v>
                </c:pt>
                <c:pt idx="279">
                  <c:v>1.3773223000002819</c:v>
                </c:pt>
                <c:pt idx="280">
                  <c:v>1.3798824683617463</c:v>
                </c:pt>
                <c:pt idx="281">
                  <c:v>1.3530102153008208</c:v>
                </c:pt>
                <c:pt idx="282">
                  <c:v>1.3290514091674113</c:v>
                </c:pt>
                <c:pt idx="283">
                  <c:v>1.3290514091674113</c:v>
                </c:pt>
                <c:pt idx="284">
                  <c:v>1.3290514091674113</c:v>
                </c:pt>
                <c:pt idx="285">
                  <c:v>1.3159700588926821</c:v>
                </c:pt>
                <c:pt idx="286">
                  <c:v>1.3236900325051522</c:v>
                </c:pt>
                <c:pt idx="287">
                  <c:v>1.3154386433539225</c:v>
                </c:pt>
                <c:pt idx="288">
                  <c:v>1.3467992080921758</c:v>
                </c:pt>
                <c:pt idx="289">
                  <c:v>1.346440819761328</c:v>
                </c:pt>
                <c:pt idx="290">
                  <c:v>1.346440819761328</c:v>
                </c:pt>
                <c:pt idx="291">
                  <c:v>1.346440819761328</c:v>
                </c:pt>
                <c:pt idx="292">
                  <c:v>1.346440819761328</c:v>
                </c:pt>
                <c:pt idx="293">
                  <c:v>1.3231166816553099</c:v>
                </c:pt>
                <c:pt idx="294">
                  <c:v>1.316412846442053</c:v>
                </c:pt>
                <c:pt idx="295">
                  <c:v>1.3425066532661614</c:v>
                </c:pt>
                <c:pt idx="296">
                  <c:v>1.3510487704143912</c:v>
                </c:pt>
                <c:pt idx="297">
                  <c:v>1.3510487704143912</c:v>
                </c:pt>
                <c:pt idx="298">
                  <c:v>1.3510487704143912</c:v>
                </c:pt>
                <c:pt idx="299">
                  <c:v>1.3462307908083435</c:v>
                </c:pt>
                <c:pt idx="300">
                  <c:v>1.3812016686729836</c:v>
                </c:pt>
                <c:pt idx="301">
                  <c:v>1.3650680268273221</c:v>
                </c:pt>
                <c:pt idx="302">
                  <c:v>1.3731115014109998</c:v>
                </c:pt>
                <c:pt idx="303">
                  <c:v>1.3437312348292842</c:v>
                </c:pt>
                <c:pt idx="304">
                  <c:v>1.3437312348292842</c:v>
                </c:pt>
                <c:pt idx="305">
                  <c:v>1.3437312348292842</c:v>
                </c:pt>
                <c:pt idx="306">
                  <c:v>1.3326578459205047</c:v>
                </c:pt>
                <c:pt idx="307">
                  <c:v>1.3550091905286807</c:v>
                </c:pt>
                <c:pt idx="308">
                  <c:v>1.3246695215568642</c:v>
                </c:pt>
                <c:pt idx="309">
                  <c:v>1.3448881560585599</c:v>
                </c:pt>
                <c:pt idx="310">
                  <c:v>1.3396129406026842</c:v>
                </c:pt>
                <c:pt idx="311">
                  <c:v>1.3396129406026842</c:v>
                </c:pt>
                <c:pt idx="312">
                  <c:v>1.3396129406026842</c:v>
                </c:pt>
                <c:pt idx="313">
                  <c:v>1.3535365210747843</c:v>
                </c:pt>
                <c:pt idx="314">
                  <c:v>1.3581048270009839</c:v>
                </c:pt>
                <c:pt idx="315">
                  <c:v>1.3849596363820891</c:v>
                </c:pt>
                <c:pt idx="316">
                  <c:v>1.3654780414024859</c:v>
                </c:pt>
                <c:pt idx="317">
                  <c:v>1.3481735586234505</c:v>
                </c:pt>
                <c:pt idx="318">
                  <c:v>1.3481735586234505</c:v>
                </c:pt>
                <c:pt idx="319">
                  <c:v>1.3481735586234505</c:v>
                </c:pt>
                <c:pt idx="320">
                  <c:v>1.3878824218452666</c:v>
                </c:pt>
                <c:pt idx="321">
                  <c:v>1.3946433454652072</c:v>
                </c:pt>
                <c:pt idx="322">
                  <c:v>1.4156959288213289</c:v>
                </c:pt>
                <c:pt idx="323">
                  <c:v>1.4281045521308775</c:v>
                </c:pt>
                <c:pt idx="324">
                  <c:v>1.4348744618889071</c:v>
                </c:pt>
                <c:pt idx="325">
                  <c:v>1.4348744618889071</c:v>
                </c:pt>
                <c:pt idx="326">
                  <c:v>1.4348744618889071</c:v>
                </c:pt>
                <c:pt idx="327">
                  <c:v>1.403188810390372</c:v>
                </c:pt>
                <c:pt idx="328">
                  <c:v>1.3972854462621893</c:v>
                </c:pt>
                <c:pt idx="329">
                  <c:v>1.3958543597218032</c:v>
                </c:pt>
                <c:pt idx="330">
                  <c:v>1.4144461508317991</c:v>
                </c:pt>
                <c:pt idx="331">
                  <c:v>1.4072309867413937</c:v>
                </c:pt>
                <c:pt idx="332">
                  <c:v>1.4072309867413937</c:v>
                </c:pt>
                <c:pt idx="333">
                  <c:v>1.4072309867413937</c:v>
                </c:pt>
                <c:pt idx="334">
                  <c:v>1.3991124514748543</c:v>
                </c:pt>
                <c:pt idx="335">
                  <c:v>1.4134321268180188</c:v>
                </c:pt>
                <c:pt idx="336">
                  <c:v>1.3947011386670349</c:v>
                </c:pt>
                <c:pt idx="337">
                  <c:v>1.374282166145588</c:v>
                </c:pt>
                <c:pt idx="338">
                  <c:v>1.3844165917234494</c:v>
                </c:pt>
                <c:pt idx="339">
                  <c:v>1.3844165917234494</c:v>
                </c:pt>
                <c:pt idx="340">
                  <c:v>1.3844165917234494</c:v>
                </c:pt>
                <c:pt idx="341">
                  <c:v>1.3653087143690814</c:v>
                </c:pt>
                <c:pt idx="342">
                  <c:v>1.3631201492474199</c:v>
                </c:pt>
                <c:pt idx="343">
                  <c:v>1.3766464014569524</c:v>
                </c:pt>
                <c:pt idx="344">
                  <c:v>1.3506091544431695</c:v>
                </c:pt>
                <c:pt idx="345">
                  <c:v>1.349583148911937</c:v>
                </c:pt>
                <c:pt idx="346">
                  <c:v>1.349583148911937</c:v>
                </c:pt>
                <c:pt idx="347">
                  <c:v>1.349583148911937</c:v>
                </c:pt>
                <c:pt idx="348">
                  <c:v>1.3365773879164282</c:v>
                </c:pt>
                <c:pt idx="349">
                  <c:v>1.3108934194686972</c:v>
                </c:pt>
                <c:pt idx="350">
                  <c:v>1.3190660477625573</c:v>
                </c:pt>
                <c:pt idx="351">
                  <c:v>1.3216739659950436</c:v>
                </c:pt>
                <c:pt idx="352">
                  <c:v>1.3216739659950436</c:v>
                </c:pt>
                <c:pt idx="353">
                  <c:v>1.3216739659950436</c:v>
                </c:pt>
                <c:pt idx="354">
                  <c:v>1.3216739659950436</c:v>
                </c:pt>
                <c:pt idx="355">
                  <c:v>1.3136158669121232</c:v>
                </c:pt>
                <c:pt idx="356">
                  <c:v>1.3169645248412096</c:v>
                </c:pt>
                <c:pt idx="357">
                  <c:v>1.2980168121833708</c:v>
                </c:pt>
                <c:pt idx="358">
                  <c:v>1.2834273764987469</c:v>
                </c:pt>
                <c:pt idx="359">
                  <c:v>1.282066593273999</c:v>
                </c:pt>
                <c:pt idx="360">
                  <c:v>1.282066593273999</c:v>
                </c:pt>
                <c:pt idx="361">
                  <c:v>1.282066593273999</c:v>
                </c:pt>
                <c:pt idx="362">
                  <c:v>1.264517370381125</c:v>
                </c:pt>
                <c:pt idx="363">
                  <c:v>1.2441220084970102</c:v>
                </c:pt>
                <c:pt idx="364">
                  <c:v>1.2581402077172248</c:v>
                </c:pt>
                <c:pt idx="365">
                  <c:v>1.2501827181411451</c:v>
                </c:pt>
                <c:pt idx="366">
                  <c:v>1.2446796776548927</c:v>
                </c:pt>
                <c:pt idx="367">
                  <c:v>1.2446796776548927</c:v>
                </c:pt>
                <c:pt idx="368">
                  <c:v>1.2446796776548927</c:v>
                </c:pt>
                <c:pt idx="369">
                  <c:v>1.2347112313335005</c:v>
                </c:pt>
                <c:pt idx="370">
                  <c:v>1.2636233377406523</c:v>
                </c:pt>
                <c:pt idx="371">
                  <c:v>1.2579596039615124</c:v>
                </c:pt>
                <c:pt idx="372">
                  <c:v>1.2301270675165554</c:v>
                </c:pt>
                <c:pt idx="373">
                  <c:v>1.2467426130420931</c:v>
                </c:pt>
                <c:pt idx="374">
                  <c:v>1.2467426130420931</c:v>
                </c:pt>
                <c:pt idx="375">
                  <c:v>1.2467426130420931</c:v>
                </c:pt>
                <c:pt idx="376">
                  <c:v>1.2584328739008719</c:v>
                </c:pt>
                <c:pt idx="377">
                  <c:v>1.2707831754122347</c:v>
                </c:pt>
                <c:pt idx="378">
                  <c:v>1.2819189386912799</c:v>
                </c:pt>
                <c:pt idx="379">
                  <c:v>1.2740541296766681</c:v>
                </c:pt>
                <c:pt idx="380">
                  <c:v>1.2852304186765076</c:v>
                </c:pt>
                <c:pt idx="381">
                  <c:v>1.2852304186765076</c:v>
                </c:pt>
                <c:pt idx="382">
                  <c:v>1.2852304186765076</c:v>
                </c:pt>
                <c:pt idx="383">
                  <c:v>1.3012539362808806</c:v>
                </c:pt>
                <c:pt idx="384">
                  <c:v>1.341176352431402</c:v>
                </c:pt>
                <c:pt idx="385">
                  <c:v>1.3504179787602935</c:v>
                </c:pt>
                <c:pt idx="386">
                  <c:v>1.3848530361165223</c:v>
                </c:pt>
                <c:pt idx="387">
                  <c:v>1.3609550185643042</c:v>
                </c:pt>
                <c:pt idx="388">
                  <c:v>1.3609550185643042</c:v>
                </c:pt>
                <c:pt idx="389">
                  <c:v>1.3609550185643042</c:v>
                </c:pt>
                <c:pt idx="390">
                  <c:v>1.352389466977528</c:v>
                </c:pt>
                <c:pt idx="391">
                  <c:v>1.352389466977528</c:v>
                </c:pt>
                <c:pt idx="392">
                  <c:v>1.3403790529244768</c:v>
                </c:pt>
                <c:pt idx="393">
                  <c:v>1.3277607530595157</c:v>
                </c:pt>
                <c:pt idx="394">
                  <c:v>1.3901671915041174</c:v>
                </c:pt>
                <c:pt idx="395">
                  <c:v>1.3901671915041174</c:v>
                </c:pt>
                <c:pt idx="396">
                  <c:v>1.3901671915041174</c:v>
                </c:pt>
                <c:pt idx="397">
                  <c:v>1.4117453758390583</c:v>
                </c:pt>
                <c:pt idx="398">
                  <c:v>1.4248718330030192</c:v>
                </c:pt>
                <c:pt idx="399">
                  <c:v>1.4578490216033808</c:v>
                </c:pt>
                <c:pt idx="400">
                  <c:v>1.4415758303191593</c:v>
                </c:pt>
                <c:pt idx="401">
                  <c:v>1.4638926399652679</c:v>
                </c:pt>
                <c:pt idx="402">
                  <c:v>1.4638926399652679</c:v>
                </c:pt>
                <c:pt idx="403">
                  <c:v>1.4638926399652679</c:v>
                </c:pt>
                <c:pt idx="404">
                  <c:v>1.4734086078040554</c:v>
                </c:pt>
                <c:pt idx="405">
                  <c:v>1.5247709063383639</c:v>
                </c:pt>
                <c:pt idx="406">
                  <c:v>1.4999876660849756</c:v>
                </c:pt>
                <c:pt idx="407">
                  <c:v>1.501780841130717</c:v>
                </c:pt>
                <c:pt idx="408">
                  <c:v>1.501570107382588</c:v>
                </c:pt>
                <c:pt idx="409">
                  <c:v>1.501570107382588</c:v>
                </c:pt>
                <c:pt idx="410">
                  <c:v>1.501570107382588</c:v>
                </c:pt>
                <c:pt idx="411">
                  <c:v>1.5128639209727299</c:v>
                </c:pt>
                <c:pt idx="412">
                  <c:v>1.4847477044822153</c:v>
                </c:pt>
                <c:pt idx="413">
                  <c:v>1.461675530640264</c:v>
                </c:pt>
                <c:pt idx="414">
                  <c:v>1.4574180393726757</c:v>
                </c:pt>
                <c:pt idx="415">
                  <c:v>1.4645295985768774</c:v>
                </c:pt>
                <c:pt idx="416">
                  <c:v>1.4645295985768774</c:v>
                </c:pt>
                <c:pt idx="417">
                  <c:v>1.4645295985768774</c:v>
                </c:pt>
                <c:pt idx="418">
                  <c:v>1.4675269161265587</c:v>
                </c:pt>
                <c:pt idx="419">
                  <c:v>1.4897094622976885</c:v>
                </c:pt>
                <c:pt idx="420">
                  <c:v>1.5173446561022572</c:v>
                </c:pt>
                <c:pt idx="421">
                  <c:v>1.5173446561022572</c:v>
                </c:pt>
                <c:pt idx="422">
                  <c:v>1.5231444153442359</c:v>
                </c:pt>
                <c:pt idx="423">
                  <c:v>1.5231444153442359</c:v>
                </c:pt>
                <c:pt idx="424">
                  <c:v>1.5231444153442359</c:v>
                </c:pt>
                <c:pt idx="425">
                  <c:v>1.5220614976051061</c:v>
                </c:pt>
                <c:pt idx="426">
                  <c:v>1.4984718279284943</c:v>
                </c:pt>
                <c:pt idx="427">
                  <c:v>1.5059548141737122</c:v>
                </c:pt>
                <c:pt idx="428">
                  <c:v>1.5083056583773358</c:v>
                </c:pt>
                <c:pt idx="429">
                  <c:v>1.5073822005395912</c:v>
                </c:pt>
                <c:pt idx="430">
                  <c:v>1.5073822005395912</c:v>
                </c:pt>
                <c:pt idx="431">
                  <c:v>1.5003171578149093</c:v>
                </c:pt>
                <c:pt idx="432">
                  <c:v>1.5122130426570211</c:v>
                </c:pt>
                <c:pt idx="433">
                  <c:v>1.5113708124596505</c:v>
                </c:pt>
                <c:pt idx="434">
                  <c:v>1.4815874030554277</c:v>
                </c:pt>
                <c:pt idx="435">
                  <c:v>1.4600109807083472</c:v>
                </c:pt>
                <c:pt idx="436">
                  <c:v>1.4859620665157467</c:v>
                </c:pt>
                <c:pt idx="437">
                  <c:v>1.4859620665157467</c:v>
                </c:pt>
                <c:pt idx="438">
                  <c:v>1.4859620665157467</c:v>
                </c:pt>
                <c:pt idx="439">
                  <c:v>1.5055046262753269</c:v>
                </c:pt>
                <c:pt idx="440">
                  <c:v>1.5020169475040384</c:v>
                </c:pt>
                <c:pt idx="441">
                  <c:v>1.4890622841564871</c:v>
                </c:pt>
                <c:pt idx="442">
                  <c:v>1.4678632796091489</c:v>
                </c:pt>
                <c:pt idx="443">
                  <c:v>1.4945255037170895</c:v>
                </c:pt>
                <c:pt idx="444">
                  <c:v>1.4945255037170895</c:v>
                </c:pt>
                <c:pt idx="445">
                  <c:v>1.4945255037170895</c:v>
                </c:pt>
                <c:pt idx="446">
                  <c:v>1.5013838652657219</c:v>
                </c:pt>
                <c:pt idx="447">
                  <c:v>1.4864074970469086</c:v>
                </c:pt>
                <c:pt idx="448">
                  <c:v>1.4910550924268353</c:v>
                </c:pt>
                <c:pt idx="449">
                  <c:v>1.4918123948093247</c:v>
                </c:pt>
                <c:pt idx="450">
                  <c:v>1.5041308043404102</c:v>
                </c:pt>
                <c:pt idx="451">
                  <c:v>1.5041308043404102</c:v>
                </c:pt>
                <c:pt idx="452">
                  <c:v>1.5041308043404102</c:v>
                </c:pt>
                <c:pt idx="453">
                  <c:v>1.5041308043404102</c:v>
                </c:pt>
                <c:pt idx="454">
                  <c:v>1.477851988790938</c:v>
                </c:pt>
                <c:pt idx="455">
                  <c:v>1.4766876672126481</c:v>
                </c:pt>
                <c:pt idx="456">
                  <c:v>1.4992377640515009</c:v>
                </c:pt>
                <c:pt idx="457">
                  <c:v>1.4867160211213006</c:v>
                </c:pt>
                <c:pt idx="458">
                  <c:v>1.4867160211213006</c:v>
                </c:pt>
                <c:pt idx="459">
                  <c:v>1.4867160211213006</c:v>
                </c:pt>
                <c:pt idx="460">
                  <c:v>1.4935997552951261</c:v>
                </c:pt>
                <c:pt idx="461">
                  <c:v>1.4972772001590016</c:v>
                </c:pt>
                <c:pt idx="462">
                  <c:v>1.4829559390267624</c:v>
                </c:pt>
                <c:pt idx="463">
                  <c:v>1.4785379306650728</c:v>
                </c:pt>
                <c:pt idx="464">
                  <c:v>1.4956894728978074</c:v>
                </c:pt>
                <c:pt idx="465">
                  <c:v>1.4956894728978074</c:v>
                </c:pt>
                <c:pt idx="466">
                  <c:v>1.4956894728978074</c:v>
                </c:pt>
                <c:pt idx="467">
                  <c:v>1.4964245742332534</c:v>
                </c:pt>
                <c:pt idx="468">
                  <c:v>1.5162074691370209</c:v>
                </c:pt>
                <c:pt idx="469">
                  <c:v>1.5220727743274138</c:v>
                </c:pt>
                <c:pt idx="470">
                  <c:v>1.5311750274165312</c:v>
                </c:pt>
                <c:pt idx="471">
                  <c:v>1.5218537592363404</c:v>
                </c:pt>
                <c:pt idx="472">
                  <c:v>1.5218537592363404</c:v>
                </c:pt>
                <c:pt idx="473">
                  <c:v>1.5218537592363404</c:v>
                </c:pt>
                <c:pt idx="474">
                  <c:v>1.4974185115854224</c:v>
                </c:pt>
                <c:pt idx="475">
                  <c:v>1.5062097738171423</c:v>
                </c:pt>
                <c:pt idx="476">
                  <c:v>1.5091958146445155</c:v>
                </c:pt>
                <c:pt idx="477">
                  <c:v>1.5157118219518315</c:v>
                </c:pt>
                <c:pt idx="478">
                  <c:v>1.5111043998951263</c:v>
                </c:pt>
                <c:pt idx="479">
                  <c:v>1.5111043998951263</c:v>
                </c:pt>
                <c:pt idx="480">
                  <c:v>1.5111043998951263</c:v>
                </c:pt>
                <c:pt idx="481">
                  <c:v>1.5043462954557625</c:v>
                </c:pt>
                <c:pt idx="482">
                  <c:v>1.5039198943934955</c:v>
                </c:pt>
                <c:pt idx="483">
                  <c:v>1.5317918993665303</c:v>
                </c:pt>
                <c:pt idx="484">
                  <c:v>1.5444288763028138</c:v>
                </c:pt>
                <c:pt idx="485">
                  <c:v>1.5380962919317873</c:v>
                </c:pt>
                <c:pt idx="486">
                  <c:v>1.5380962919317873</c:v>
                </c:pt>
                <c:pt idx="487">
                  <c:v>1.5380962919317873</c:v>
                </c:pt>
                <c:pt idx="488">
                  <c:v>1.5274047257924011</c:v>
                </c:pt>
                <c:pt idx="489">
                  <c:v>1.5162226222326221</c:v>
                </c:pt>
                <c:pt idx="490">
                  <c:v>1.5118551829225317</c:v>
                </c:pt>
                <c:pt idx="491">
                  <c:v>1.494037256880915</c:v>
                </c:pt>
                <c:pt idx="492">
                  <c:v>1.4893128388302657</c:v>
                </c:pt>
                <c:pt idx="493">
                  <c:v>1.4893128388302657</c:v>
                </c:pt>
                <c:pt idx="494">
                  <c:v>1.4893128388302657</c:v>
                </c:pt>
                <c:pt idx="495">
                  <c:v>1.4851894348388697</c:v>
                </c:pt>
                <c:pt idx="496">
                  <c:v>1.4254252733900363</c:v>
                </c:pt>
                <c:pt idx="497">
                  <c:v>1.4254252733900363</c:v>
                </c:pt>
                <c:pt idx="498">
                  <c:v>1.4254252733900363</c:v>
                </c:pt>
                <c:pt idx="499">
                  <c:v>1.4254252733900363</c:v>
                </c:pt>
                <c:pt idx="500">
                  <c:v>1.4254252733900363</c:v>
                </c:pt>
                <c:pt idx="501">
                  <c:v>1.4254252733900363</c:v>
                </c:pt>
                <c:pt idx="502">
                  <c:v>1.4365932810469308</c:v>
                </c:pt>
                <c:pt idx="503">
                  <c:v>1.45833973522256</c:v>
                </c:pt>
                <c:pt idx="504">
                  <c:v>1.4782028005739849</c:v>
                </c:pt>
                <c:pt idx="505">
                  <c:v>1.4423824683617459</c:v>
                </c:pt>
                <c:pt idx="506">
                  <c:v>1.4807982086926614</c:v>
                </c:pt>
                <c:pt idx="507">
                  <c:v>1.4807982086926614</c:v>
                </c:pt>
                <c:pt idx="508">
                  <c:v>1.4807982086926614</c:v>
                </c:pt>
                <c:pt idx="509">
                  <c:v>1.5064157501980475</c:v>
                </c:pt>
                <c:pt idx="510">
                  <c:v>1.4961514661148589</c:v>
                </c:pt>
                <c:pt idx="511">
                  <c:v>1.4885706895433772</c:v>
                </c:pt>
                <c:pt idx="512">
                  <c:v>1.4923688305757048</c:v>
                </c:pt>
                <c:pt idx="513">
                  <c:v>1.5070430178764238</c:v>
                </c:pt>
                <c:pt idx="514">
                  <c:v>1.5070430178764238</c:v>
                </c:pt>
                <c:pt idx="515">
                  <c:v>1.5070430178764238</c:v>
                </c:pt>
                <c:pt idx="516">
                  <c:v>1.4744314417571389</c:v>
                </c:pt>
                <c:pt idx="517">
                  <c:v>1.4744314417571389</c:v>
                </c:pt>
                <c:pt idx="518">
                  <c:v>1.4215425569403997</c:v>
                </c:pt>
                <c:pt idx="519">
                  <c:v>1.4391109855009541</c:v>
                </c:pt>
                <c:pt idx="520">
                  <c:v>1.4310777304468685</c:v>
                </c:pt>
                <c:pt idx="521">
                  <c:v>1.4310777304468685</c:v>
                </c:pt>
                <c:pt idx="522">
                  <c:v>1.4310777304468685</c:v>
                </c:pt>
                <c:pt idx="523">
                  <c:v>1.4265520646268954</c:v>
                </c:pt>
                <c:pt idx="524">
                  <c:v>1.4305431433299598</c:v>
                </c:pt>
                <c:pt idx="525">
                  <c:v>1.4066260963088471</c:v>
                </c:pt>
                <c:pt idx="526">
                  <c:v>1.40522725414631</c:v>
                </c:pt>
                <c:pt idx="527">
                  <c:v>1.3981218618996201</c:v>
                </c:pt>
                <c:pt idx="528">
                  <c:v>1.3981218618996201</c:v>
                </c:pt>
                <c:pt idx="529">
                  <c:v>1.3981218618996201</c:v>
                </c:pt>
                <c:pt idx="530">
                  <c:v>1.3984094183184717</c:v>
                </c:pt>
                <c:pt idx="531">
                  <c:v>1.3778845503266022</c:v>
                </c:pt>
                <c:pt idx="532">
                  <c:v>1.3895660012460775</c:v>
                </c:pt>
                <c:pt idx="533">
                  <c:v>1.3986400625294249</c:v>
                </c:pt>
                <c:pt idx="534">
                  <c:v>1.3932297026046407</c:v>
                </c:pt>
                <c:pt idx="535">
                  <c:v>1.3932297026046407</c:v>
                </c:pt>
                <c:pt idx="536">
                  <c:v>1.3932297026046407</c:v>
                </c:pt>
                <c:pt idx="537">
                  <c:v>1.3857579930817305</c:v>
                </c:pt>
                <c:pt idx="538">
                  <c:v>1.3742652510621263</c:v>
                </c:pt>
                <c:pt idx="539">
                  <c:v>1.3724306693016606</c:v>
                </c:pt>
                <c:pt idx="540">
                  <c:v>1.3461953748523456</c:v>
                </c:pt>
                <c:pt idx="541">
                  <c:v>1.3461953748523456</c:v>
                </c:pt>
                <c:pt idx="542">
                  <c:v>1.3461953748523456</c:v>
                </c:pt>
                <c:pt idx="543">
                  <c:v>1.3461953748523456</c:v>
                </c:pt>
                <c:pt idx="544">
                  <c:v>1.3461953748523456</c:v>
                </c:pt>
                <c:pt idx="545">
                  <c:v>1.3403889200564965</c:v>
                </c:pt>
                <c:pt idx="546">
                  <c:v>1.3339610121422105</c:v>
                </c:pt>
                <c:pt idx="547">
                  <c:v>1.3247775314127197</c:v>
                </c:pt>
                <c:pt idx="548">
                  <c:v>1.3247775314127197</c:v>
                </c:pt>
                <c:pt idx="549">
                  <c:v>1.3247775314127197</c:v>
                </c:pt>
                <c:pt idx="550">
                  <c:v>1.3247775314127197</c:v>
                </c:pt>
                <c:pt idx="551">
                  <c:v>1.3238419158587362</c:v>
                </c:pt>
                <c:pt idx="552">
                  <c:v>1.292718162288949</c:v>
                </c:pt>
                <c:pt idx="553">
                  <c:v>1.2806192964452949</c:v>
                </c:pt>
                <c:pt idx="554">
                  <c:v>1.2882853532292302</c:v>
                </c:pt>
                <c:pt idx="555">
                  <c:v>1.279338859866991</c:v>
                </c:pt>
                <c:pt idx="556">
                  <c:v>1.279338859866991</c:v>
                </c:pt>
                <c:pt idx="557">
                  <c:v>1.279338859866991</c:v>
                </c:pt>
                <c:pt idx="558">
                  <c:v>1.2761889541685811</c:v>
                </c:pt>
                <c:pt idx="559">
                  <c:v>1.2847418194427607</c:v>
                </c:pt>
                <c:pt idx="560">
                  <c:v>1.3005854380865656</c:v>
                </c:pt>
                <c:pt idx="561">
                  <c:v>1.2827278673180851</c:v>
                </c:pt>
                <c:pt idx="562">
                  <c:v>1.2815261915971505</c:v>
                </c:pt>
                <c:pt idx="563">
                  <c:v>1.2815261915971505</c:v>
                </c:pt>
                <c:pt idx="564">
                  <c:v>1.2815261915971505</c:v>
                </c:pt>
                <c:pt idx="565">
                  <c:v>1.2772200694646094</c:v>
                </c:pt>
                <c:pt idx="566">
                  <c:v>1.290979432668101</c:v>
                </c:pt>
                <c:pt idx="567">
                  <c:v>1.2782547087363587</c:v>
                </c:pt>
                <c:pt idx="568">
                  <c:v>1.2878399226980684</c:v>
                </c:pt>
                <c:pt idx="569">
                  <c:v>1.2732908365354525</c:v>
                </c:pt>
                <c:pt idx="570">
                  <c:v>1.2732908365354525</c:v>
                </c:pt>
                <c:pt idx="571">
                  <c:v>1.2732908365354525</c:v>
                </c:pt>
                <c:pt idx="572">
                  <c:v>1.268120106959711</c:v>
                </c:pt>
                <c:pt idx="573">
                  <c:v>1.2809731036077054</c:v>
                </c:pt>
                <c:pt idx="574">
                  <c:v>1.3063328662890845</c:v>
                </c:pt>
                <c:pt idx="575">
                  <c:v>1.3049090038989268</c:v>
                </c:pt>
                <c:pt idx="576">
                  <c:v>1.3066440333452678</c:v>
                </c:pt>
                <c:pt idx="577">
                  <c:v>1.3066440333452678</c:v>
                </c:pt>
                <c:pt idx="578">
                  <c:v>1.3066440333452678</c:v>
                </c:pt>
                <c:pt idx="579">
                  <c:v>1.3124444973823908</c:v>
                </c:pt>
                <c:pt idx="580">
                  <c:v>1.3130120336722928</c:v>
                </c:pt>
                <c:pt idx="581">
                  <c:v>1.3143481490669919</c:v>
                </c:pt>
                <c:pt idx="582">
                  <c:v>1.2939559587610265</c:v>
                </c:pt>
                <c:pt idx="583">
                  <c:v>1.2939559587610265</c:v>
                </c:pt>
                <c:pt idx="584">
                  <c:v>1.2939559587610265</c:v>
                </c:pt>
                <c:pt idx="585">
                  <c:v>1.2939559587610265</c:v>
                </c:pt>
                <c:pt idx="586">
                  <c:v>1.2776489373098814</c:v>
                </c:pt>
                <c:pt idx="587">
                  <c:v>1.2479559178829081</c:v>
                </c:pt>
                <c:pt idx="588">
                  <c:v>1.2479559178829081</c:v>
                </c:pt>
                <c:pt idx="589">
                  <c:v>1.2770036973553267</c:v>
                </c:pt>
                <c:pt idx="590">
                  <c:v>1.2715498163303853</c:v>
                </c:pt>
                <c:pt idx="591">
                  <c:v>1.2715498163303853</c:v>
                </c:pt>
                <c:pt idx="592">
                  <c:v>1.2715498163303853</c:v>
                </c:pt>
                <c:pt idx="593">
                  <c:v>1.2850299044579703</c:v>
                </c:pt>
                <c:pt idx="594">
                  <c:v>1.3102693233684699</c:v>
                </c:pt>
                <c:pt idx="595">
                  <c:v>1.2759413948741658</c:v>
                </c:pt>
                <c:pt idx="596">
                  <c:v>1.3093470989222271</c:v>
                </c:pt>
                <c:pt idx="597">
                  <c:v>1.3023807275177395</c:v>
                </c:pt>
                <c:pt idx="598">
                  <c:v>1.3023807275177395</c:v>
                </c:pt>
                <c:pt idx="599">
                  <c:v>1.3023807275177395</c:v>
                </c:pt>
                <c:pt idx="600">
                  <c:v>1.3007653370471337</c:v>
                </c:pt>
                <c:pt idx="601">
                  <c:v>1.3007653370471337</c:v>
                </c:pt>
                <c:pt idx="602">
                  <c:v>1.3093065732014333</c:v>
                </c:pt>
                <c:pt idx="603">
                  <c:v>1.3179729104938358</c:v>
                </c:pt>
                <c:pt idx="604">
                  <c:v>1.3386827872110694</c:v>
                </c:pt>
                <c:pt idx="605">
                  <c:v>1.3386827872110694</c:v>
                </c:pt>
                <c:pt idx="606">
                  <c:v>1.3386827872110694</c:v>
                </c:pt>
                <c:pt idx="607">
                  <c:v>1.3372844736448906</c:v>
                </c:pt>
                <c:pt idx="608">
                  <c:v>1.3509360031913125</c:v>
                </c:pt>
                <c:pt idx="609">
                  <c:v>1.3452812555502618</c:v>
                </c:pt>
                <c:pt idx="610">
                  <c:v>1.3287701959048583</c:v>
                </c:pt>
                <c:pt idx="611">
                  <c:v>1.3459916890556591</c:v>
                </c:pt>
                <c:pt idx="612">
                  <c:v>1.3459916890556591</c:v>
                </c:pt>
                <c:pt idx="613">
                  <c:v>1.3459916890556591</c:v>
                </c:pt>
                <c:pt idx="614">
                  <c:v>1.3441000188885099</c:v>
                </c:pt>
                <c:pt idx="615">
                  <c:v>1.3495257081076815</c:v>
                </c:pt>
                <c:pt idx="616">
                  <c:v>1.3426567746318856</c:v>
                </c:pt>
                <c:pt idx="617">
                  <c:v>1.3548248865984613</c:v>
                </c:pt>
                <c:pt idx="618">
                  <c:v>1.3565507537079271</c:v>
                </c:pt>
                <c:pt idx="619">
                  <c:v>1.3565507537079271</c:v>
                </c:pt>
                <c:pt idx="620">
                  <c:v>1.3565507537079271</c:v>
                </c:pt>
                <c:pt idx="621">
                  <c:v>1.3507363699667052</c:v>
                </c:pt>
                <c:pt idx="622">
                  <c:v>1.3507363699667052</c:v>
                </c:pt>
                <c:pt idx="623">
                  <c:v>1.3549195053465761</c:v>
                </c:pt>
                <c:pt idx="624">
                  <c:v>1.3342970232272287</c:v>
                </c:pt>
                <c:pt idx="625">
                  <c:v>1.340074933819736</c:v>
                </c:pt>
                <c:pt idx="626">
                  <c:v>1.340074933819736</c:v>
                </c:pt>
                <c:pt idx="627">
                  <c:v>1.340074933819736</c:v>
                </c:pt>
                <c:pt idx="628">
                  <c:v>1.3499915776980262</c:v>
                </c:pt>
                <c:pt idx="629">
                  <c:v>1.3495318750651935</c:v>
                </c:pt>
                <c:pt idx="630">
                  <c:v>1.3525531556497787</c:v>
                </c:pt>
                <c:pt idx="631">
                  <c:v>1.3102111777690697</c:v>
                </c:pt>
                <c:pt idx="632">
                  <c:v>1.3090426274199141</c:v>
                </c:pt>
                <c:pt idx="633">
                  <c:v>1.3090426274199141</c:v>
                </c:pt>
                <c:pt idx="634">
                  <c:v>1.3090426274199141</c:v>
                </c:pt>
                <c:pt idx="635">
                  <c:v>1.2962460143834593</c:v>
                </c:pt>
                <c:pt idx="636">
                  <c:v>1.3002890717284115</c:v>
                </c:pt>
                <c:pt idx="637">
                  <c:v>1.3094868245595737</c:v>
                </c:pt>
                <c:pt idx="638">
                  <c:v>1.3116850806144686</c:v>
                </c:pt>
                <c:pt idx="639">
                  <c:v>1.3283582431430481</c:v>
                </c:pt>
                <c:pt idx="640">
                  <c:v>1.3283582431430481</c:v>
                </c:pt>
                <c:pt idx="641">
                  <c:v>1.3283582431430481</c:v>
                </c:pt>
                <c:pt idx="642">
                  <c:v>1.3321392928931277</c:v>
                </c:pt>
                <c:pt idx="643">
                  <c:v>1.339183896558626</c:v>
                </c:pt>
                <c:pt idx="644">
                  <c:v>1.3386558287968018</c:v>
                </c:pt>
                <c:pt idx="645">
                  <c:v>1.3389417994265786</c:v>
                </c:pt>
                <c:pt idx="646">
                  <c:v>1.3348206860194014</c:v>
                </c:pt>
                <c:pt idx="647">
                  <c:v>1.3348206860194014</c:v>
                </c:pt>
                <c:pt idx="648">
                  <c:v>1.3348206860194014</c:v>
                </c:pt>
                <c:pt idx="649">
                  <c:v>1.3154416387332857</c:v>
                </c:pt>
                <c:pt idx="650">
                  <c:v>1.3177479046440361</c:v>
                </c:pt>
                <c:pt idx="651">
                  <c:v>1.3133602024735489</c:v>
                </c:pt>
                <c:pt idx="652">
                  <c:v>1.3094956344988764</c:v>
                </c:pt>
                <c:pt idx="653">
                  <c:v>1.2876404656722478</c:v>
                </c:pt>
                <c:pt idx="654">
                  <c:v>1.2876404656722478</c:v>
                </c:pt>
                <c:pt idx="655">
                  <c:v>1.2876404656722478</c:v>
                </c:pt>
                <c:pt idx="656">
                  <c:v>1.2935177523800931</c:v>
                </c:pt>
                <c:pt idx="657">
                  <c:v>1.2935177523800931</c:v>
                </c:pt>
                <c:pt idx="658">
                  <c:v>1.2712897469221596</c:v>
                </c:pt>
                <c:pt idx="659">
                  <c:v>1.2709012285988954</c:v>
                </c:pt>
                <c:pt idx="660">
                  <c:v>1.2672764671720516</c:v>
                </c:pt>
                <c:pt idx="661">
                  <c:v>1.2672764671720516</c:v>
                </c:pt>
                <c:pt idx="662">
                  <c:v>1.2672764671720516</c:v>
                </c:pt>
                <c:pt idx="663">
                  <c:v>1.2481049820559156</c:v>
                </c:pt>
                <c:pt idx="664">
                  <c:v>1.249007296039333</c:v>
                </c:pt>
                <c:pt idx="665">
                  <c:v>1.2568232979902061</c:v>
                </c:pt>
                <c:pt idx="666">
                  <c:v>1.251303694818064</c:v>
                </c:pt>
                <c:pt idx="667">
                  <c:v>1.2523090850913272</c:v>
                </c:pt>
                <c:pt idx="668">
                  <c:v>1.2523090850913272</c:v>
                </c:pt>
                <c:pt idx="669">
                  <c:v>1.2523090850913272</c:v>
                </c:pt>
                <c:pt idx="670">
                  <c:v>1.2533513009108772</c:v>
                </c:pt>
                <c:pt idx="671">
                  <c:v>1.241807285044529</c:v>
                </c:pt>
                <c:pt idx="672">
                  <c:v>1.2335897260602231</c:v>
                </c:pt>
                <c:pt idx="673">
                  <c:v>1.2093342011710875</c:v>
                </c:pt>
                <c:pt idx="674">
                  <c:v>1.2107439676583605</c:v>
                </c:pt>
                <c:pt idx="675">
                  <c:v>1.2107439676583605</c:v>
                </c:pt>
                <c:pt idx="676">
                  <c:v>1.2107439676583605</c:v>
                </c:pt>
                <c:pt idx="677">
                  <c:v>1.197742964030075</c:v>
                </c:pt>
                <c:pt idx="678">
                  <c:v>1.2086232390693321</c:v>
                </c:pt>
                <c:pt idx="679">
                  <c:v>1.204409092703115</c:v>
                </c:pt>
                <c:pt idx="680">
                  <c:v>1.2031674198577442</c:v>
                </c:pt>
                <c:pt idx="681">
                  <c:v>1.1868501788770074</c:v>
                </c:pt>
                <c:pt idx="682">
                  <c:v>1.1868501788770074</c:v>
                </c:pt>
                <c:pt idx="683">
                  <c:v>1.1868501788770074</c:v>
                </c:pt>
                <c:pt idx="684">
                  <c:v>1.1803924933678775</c:v>
                </c:pt>
                <c:pt idx="685">
                  <c:v>1.1923558623450505</c:v>
                </c:pt>
                <c:pt idx="686">
                  <c:v>1.1963710802818053</c:v>
                </c:pt>
                <c:pt idx="687">
                  <c:v>1.1970885617386451</c:v>
                </c:pt>
                <c:pt idx="688">
                  <c:v>1.178734286592259</c:v>
                </c:pt>
                <c:pt idx="689">
                  <c:v>1.178734286592259</c:v>
                </c:pt>
                <c:pt idx="690">
                  <c:v>1.178734286592259</c:v>
                </c:pt>
                <c:pt idx="691">
                  <c:v>1.1766049242627137</c:v>
                </c:pt>
                <c:pt idx="692">
                  <c:v>1.1829279938992934</c:v>
                </c:pt>
                <c:pt idx="693">
                  <c:v>1.1720078979343862</c:v>
                </c:pt>
                <c:pt idx="694">
                  <c:v>1.1615087408693789</c:v>
                </c:pt>
                <c:pt idx="695">
                  <c:v>1.1540514796469257</c:v>
                </c:pt>
                <c:pt idx="696">
                  <c:v>1.1540514796469257</c:v>
                </c:pt>
                <c:pt idx="697">
                  <c:v>1.1540514796469257</c:v>
                </c:pt>
                <c:pt idx="698">
                  <c:v>1.1501795113232385</c:v>
                </c:pt>
                <c:pt idx="699">
                  <c:v>1.1454783515123494</c:v>
                </c:pt>
                <c:pt idx="700">
                  <c:v>1.1570556689492633</c:v>
                </c:pt>
                <c:pt idx="701">
                  <c:v>1.1470461683107189</c:v>
                </c:pt>
                <c:pt idx="702">
                  <c:v>1.1397273993341095</c:v>
                </c:pt>
                <c:pt idx="703">
                  <c:v>1.1397273993341095</c:v>
                </c:pt>
                <c:pt idx="704">
                  <c:v>1.1397273993341095</c:v>
                </c:pt>
                <c:pt idx="705">
                  <c:v>1.1442000293194781</c:v>
                </c:pt>
                <c:pt idx="706">
                  <c:v>1.1484622779542897</c:v>
                </c:pt>
                <c:pt idx="707">
                  <c:v>1.1512418138043996</c:v>
                </c:pt>
                <c:pt idx="708">
                  <c:v>1.1490329858223409</c:v>
                </c:pt>
                <c:pt idx="709">
                  <c:v>1.152977548045885</c:v>
                </c:pt>
                <c:pt idx="710">
                  <c:v>1.152977548045885</c:v>
                </c:pt>
                <c:pt idx="711">
                  <c:v>1.152977548045885</c:v>
                </c:pt>
                <c:pt idx="712">
                  <c:v>1.1484346147448783</c:v>
                </c:pt>
                <c:pt idx="713">
                  <c:v>1.1423945203587127</c:v>
                </c:pt>
                <c:pt idx="714">
                  <c:v>1.1247147341653674</c:v>
                </c:pt>
                <c:pt idx="715">
                  <c:v>1.1105011304914114</c:v>
                </c:pt>
                <c:pt idx="716">
                  <c:v>1.0981131224398317</c:v>
                </c:pt>
                <c:pt idx="717">
                  <c:v>1.0981131224398317</c:v>
                </c:pt>
                <c:pt idx="718">
                  <c:v>1.0981131224398317</c:v>
                </c:pt>
                <c:pt idx="719">
                  <c:v>1.1007196310820297</c:v>
                </c:pt>
                <c:pt idx="720">
                  <c:v>1.1127688088680143</c:v>
                </c:pt>
                <c:pt idx="721">
                  <c:v>1.1141329398696975</c:v>
                </c:pt>
                <c:pt idx="722">
                  <c:v>1.1149785178440035</c:v>
                </c:pt>
                <c:pt idx="723">
                  <c:v>1.1082898357263478</c:v>
                </c:pt>
                <c:pt idx="724">
                  <c:v>1.1082898357263478</c:v>
                </c:pt>
                <c:pt idx="725">
                  <c:v>1.1082898357263478</c:v>
                </c:pt>
                <c:pt idx="726">
                  <c:v>1.0966427435701538</c:v>
                </c:pt>
                <c:pt idx="727">
                  <c:v>1.0927491027957814</c:v>
                </c:pt>
                <c:pt idx="728">
                  <c:v>1.0867141181744113</c:v>
                </c:pt>
                <c:pt idx="729">
                  <c:v>1.0957465965442486</c:v>
                </c:pt>
                <c:pt idx="730">
                  <c:v>1.0763479911928797</c:v>
                </c:pt>
                <c:pt idx="731">
                  <c:v>1.0763479911928797</c:v>
                </c:pt>
                <c:pt idx="732">
                  <c:v>1.0763479911928797</c:v>
                </c:pt>
                <c:pt idx="733">
                  <c:v>1.0796089021265078</c:v>
                </c:pt>
                <c:pt idx="734">
                  <c:v>1.0706144826944601</c:v>
                </c:pt>
                <c:pt idx="735">
                  <c:v>1.0706923625578988</c:v>
                </c:pt>
                <c:pt idx="736">
                  <c:v>1.0926796804740735</c:v>
                </c:pt>
                <c:pt idx="737">
                  <c:v>1.085849863128783</c:v>
                </c:pt>
                <c:pt idx="738">
                  <c:v>1.085849863128783</c:v>
                </c:pt>
                <c:pt idx="739">
                  <c:v>1.085849863128783</c:v>
                </c:pt>
                <c:pt idx="740">
                  <c:v>1.0910745095330592</c:v>
                </c:pt>
                <c:pt idx="741">
                  <c:v>1.0910745095330592</c:v>
                </c:pt>
                <c:pt idx="742">
                  <c:v>1.0894192981368034</c:v>
                </c:pt>
                <c:pt idx="743">
                  <c:v>1.0871505625674842</c:v>
                </c:pt>
                <c:pt idx="744">
                  <c:v>1.0961425152165269</c:v>
                </c:pt>
                <c:pt idx="745">
                  <c:v>1.0961425152165269</c:v>
                </c:pt>
                <c:pt idx="746">
                  <c:v>1.0961425152165269</c:v>
                </c:pt>
                <c:pt idx="747">
                  <c:v>1.1057455252556292</c:v>
                </c:pt>
                <c:pt idx="748">
                  <c:v>1.1130605940577312</c:v>
                </c:pt>
                <c:pt idx="749">
                  <c:v>1.1092539954836727</c:v>
                </c:pt>
                <c:pt idx="750">
                  <c:v>1.1003693478953407</c:v>
                </c:pt>
                <c:pt idx="751">
                  <c:v>1.1014309455813571</c:v>
                </c:pt>
                <c:pt idx="752">
                  <c:v>1.1014309455813571</c:v>
                </c:pt>
                <c:pt idx="753">
                  <c:v>1.1014309455813571</c:v>
                </c:pt>
                <c:pt idx="754">
                  <c:v>1.0975161609526574</c:v>
                </c:pt>
                <c:pt idx="755">
                  <c:v>1.1049684886091009</c:v>
                </c:pt>
                <c:pt idx="756">
                  <c:v>1.1270074327695909</c:v>
                </c:pt>
                <c:pt idx="757">
                  <c:v>1.1234600226098284</c:v>
                </c:pt>
                <c:pt idx="758">
                  <c:v>1.1291771446211445</c:v>
                </c:pt>
                <c:pt idx="759">
                  <c:v>1.1291771446211445</c:v>
                </c:pt>
                <c:pt idx="760">
                  <c:v>1.1291771446211445</c:v>
                </c:pt>
                <c:pt idx="761">
                  <c:v>1.1140483644523882</c:v>
                </c:pt>
                <c:pt idx="762">
                  <c:v>1.1145870041413763</c:v>
                </c:pt>
                <c:pt idx="763">
                  <c:v>1.1041052907561888</c:v>
                </c:pt>
                <c:pt idx="764">
                  <c:v>1.0866794070135573</c:v>
                </c:pt>
                <c:pt idx="765">
                  <c:v>1.1036970381688858</c:v>
                </c:pt>
                <c:pt idx="766">
                  <c:v>1.1036970381688858</c:v>
                </c:pt>
                <c:pt idx="767">
                  <c:v>1.1036970381688858</c:v>
                </c:pt>
                <c:pt idx="768">
                  <c:v>1.0853325434929082</c:v>
                </c:pt>
                <c:pt idx="769">
                  <c:v>1.1900510060245888</c:v>
                </c:pt>
                <c:pt idx="770">
                  <c:v>1.2102125521196008</c:v>
                </c:pt>
                <c:pt idx="771">
                  <c:v>1.2065069154499555</c:v>
                </c:pt>
                <c:pt idx="772">
                  <c:v>1.2020623010715705</c:v>
                </c:pt>
                <c:pt idx="773">
                  <c:v>1.2020623010715705</c:v>
                </c:pt>
                <c:pt idx="774">
                  <c:v>1.2020623010715705</c:v>
                </c:pt>
                <c:pt idx="775">
                  <c:v>1.1900046657438548</c:v>
                </c:pt>
                <c:pt idx="776">
                  <c:v>1.1866940667525576</c:v>
                </c:pt>
                <c:pt idx="777">
                  <c:v>1.1678044996941188</c:v>
                </c:pt>
                <c:pt idx="778">
                  <c:v>1.1545608703374277</c:v>
                </c:pt>
                <c:pt idx="779">
                  <c:v>1.1577974658385792</c:v>
                </c:pt>
                <c:pt idx="780">
                  <c:v>1.1577974658385792</c:v>
                </c:pt>
                <c:pt idx="781">
                  <c:v>1.1577974658385792</c:v>
                </c:pt>
                <c:pt idx="782">
                  <c:v>1.1428713142737932</c:v>
                </c:pt>
                <c:pt idx="783">
                  <c:v>1.1645643802172458</c:v>
                </c:pt>
                <c:pt idx="784">
                  <c:v>1.1756291353855088</c:v>
                </c:pt>
                <c:pt idx="785">
                  <c:v>1.1523973254433866</c:v>
                </c:pt>
                <c:pt idx="786">
                  <c:v>1.1523973254433866</c:v>
                </c:pt>
                <c:pt idx="787">
                  <c:v>1.1523973254433866</c:v>
                </c:pt>
                <c:pt idx="788">
                  <c:v>1.1523973254433866</c:v>
                </c:pt>
                <c:pt idx="789">
                  <c:v>1.1395929596603451</c:v>
                </c:pt>
                <c:pt idx="790">
                  <c:v>1.142859156557555</c:v>
                </c:pt>
                <c:pt idx="791">
                  <c:v>1.1479060183866956</c:v>
                </c:pt>
                <c:pt idx="792">
                  <c:v>1.1345267159647374</c:v>
                </c:pt>
                <c:pt idx="793">
                  <c:v>1.1234543842486742</c:v>
                </c:pt>
                <c:pt idx="794">
                  <c:v>1.1234543842486742</c:v>
                </c:pt>
                <c:pt idx="795">
                  <c:v>1.1234543842486742</c:v>
                </c:pt>
                <c:pt idx="796">
                  <c:v>1.1234543842486742</c:v>
                </c:pt>
                <c:pt idx="797">
                  <c:v>1.1172231141796325</c:v>
                </c:pt>
                <c:pt idx="798">
                  <c:v>1.1304709723071891</c:v>
                </c:pt>
                <c:pt idx="799">
                  <c:v>1.1335736567309345</c:v>
                </c:pt>
                <c:pt idx="800">
                  <c:v>1.1069914268718655</c:v>
                </c:pt>
                <c:pt idx="801">
                  <c:v>1.1069914268718655</c:v>
                </c:pt>
                <c:pt idx="802">
                  <c:v>1.1069914268718655</c:v>
                </c:pt>
                <c:pt idx="803">
                  <c:v>1.1069914268718655</c:v>
                </c:pt>
                <c:pt idx="804">
                  <c:v>1.1257636455387876</c:v>
                </c:pt>
                <c:pt idx="805">
                  <c:v>1.1340116869130819</c:v>
                </c:pt>
                <c:pt idx="806">
                  <c:v>1.1391219803052046</c:v>
                </c:pt>
                <c:pt idx="807">
                  <c:v>1.1381227569894532</c:v>
                </c:pt>
                <c:pt idx="808">
                  <c:v>1.1381227569894532</c:v>
                </c:pt>
                <c:pt idx="809">
                  <c:v>1.1381227569894532</c:v>
                </c:pt>
                <c:pt idx="810">
                  <c:v>1.1315965301525459</c:v>
                </c:pt>
                <c:pt idx="811">
                  <c:v>1.1413235841370346</c:v>
                </c:pt>
                <c:pt idx="812">
                  <c:v>1.1588402102544875</c:v>
                </c:pt>
                <c:pt idx="813">
                  <c:v>1.1490183613230978</c:v>
                </c:pt>
                <c:pt idx="814">
                  <c:v>1.145011424729288</c:v>
                </c:pt>
                <c:pt idx="815">
                  <c:v>1.145011424729288</c:v>
                </c:pt>
                <c:pt idx="816">
                  <c:v>1.145011424729288</c:v>
                </c:pt>
                <c:pt idx="817">
                  <c:v>1.1499786447071294</c:v>
                </c:pt>
                <c:pt idx="818">
                  <c:v>1.1546005150642913</c:v>
                </c:pt>
                <c:pt idx="819">
                  <c:v>1.1389568820426654</c:v>
                </c:pt>
                <c:pt idx="820">
                  <c:v>1.133106025152729</c:v>
                </c:pt>
                <c:pt idx="821">
                  <c:v>1.125095675940831</c:v>
                </c:pt>
                <c:pt idx="822">
                  <c:v>1.125095675940831</c:v>
                </c:pt>
                <c:pt idx="823">
                  <c:v>1.125095675940831</c:v>
                </c:pt>
                <c:pt idx="824">
                  <c:v>1.1194048075486378</c:v>
                </c:pt>
                <c:pt idx="825">
                  <c:v>1.1192382996958103</c:v>
                </c:pt>
                <c:pt idx="826">
                  <c:v>1.1097064739662768</c:v>
                </c:pt>
                <c:pt idx="827">
                  <c:v>1.1432529608444009</c:v>
                </c:pt>
                <c:pt idx="828">
                  <c:v>1.1313713481039602</c:v>
                </c:pt>
                <c:pt idx="829">
                  <c:v>1.1313713481039602</c:v>
                </c:pt>
                <c:pt idx="830">
                  <c:v>1.1313713481039602</c:v>
                </c:pt>
                <c:pt idx="831">
                  <c:v>1.1590858313622565</c:v>
                </c:pt>
                <c:pt idx="832">
                  <c:v>1.1670505450885647</c:v>
                </c:pt>
                <c:pt idx="833">
                  <c:v>1.1399966310792105</c:v>
                </c:pt>
                <c:pt idx="834">
                  <c:v>1.154706410534714</c:v>
                </c:pt>
                <c:pt idx="835">
                  <c:v>1.1395737539926645</c:v>
                </c:pt>
                <c:pt idx="836">
                  <c:v>1.1395737539926645</c:v>
                </c:pt>
                <c:pt idx="837">
                  <c:v>1.1395737539926645</c:v>
                </c:pt>
                <c:pt idx="838">
                  <c:v>1.1379839123460376</c:v>
                </c:pt>
                <c:pt idx="839">
                  <c:v>1.1403236560261396</c:v>
                </c:pt>
                <c:pt idx="840">
                  <c:v>1.1583718738811377</c:v>
                </c:pt>
                <c:pt idx="841">
                  <c:v>1.1689268859613262</c:v>
                </c:pt>
                <c:pt idx="842">
                  <c:v>1.176752931243005</c:v>
                </c:pt>
                <c:pt idx="843">
                  <c:v>1.176752931243005</c:v>
                </c:pt>
                <c:pt idx="844">
                  <c:v>1.176752931243005</c:v>
                </c:pt>
                <c:pt idx="845">
                  <c:v>1.1603558722121827</c:v>
                </c:pt>
                <c:pt idx="846">
                  <c:v>1.1803359335575523</c:v>
                </c:pt>
                <c:pt idx="847">
                  <c:v>1.1745781096266559</c:v>
                </c:pt>
                <c:pt idx="848">
                  <c:v>1.1745781096266559</c:v>
                </c:pt>
                <c:pt idx="849">
                  <c:v>1.1745781096266559</c:v>
                </c:pt>
                <c:pt idx="850">
                  <c:v>1.1745781096266559</c:v>
                </c:pt>
                <c:pt idx="851">
                  <c:v>1.1745781096266559</c:v>
                </c:pt>
                <c:pt idx="852">
                  <c:v>1.188661502397713</c:v>
                </c:pt>
                <c:pt idx="853">
                  <c:v>1.2085395446459533</c:v>
                </c:pt>
                <c:pt idx="854">
                  <c:v>1.2166882099049092</c:v>
                </c:pt>
                <c:pt idx="855">
                  <c:v>1.2075406737277743</c:v>
                </c:pt>
                <c:pt idx="856">
                  <c:v>1.1937189361540175</c:v>
                </c:pt>
                <c:pt idx="857">
                  <c:v>1.1937189361540175</c:v>
                </c:pt>
                <c:pt idx="858">
                  <c:v>1.1937189361540175</c:v>
                </c:pt>
                <c:pt idx="859">
                  <c:v>1.1948786765638699</c:v>
                </c:pt>
                <c:pt idx="860">
                  <c:v>1.1977214677781756</c:v>
                </c:pt>
                <c:pt idx="861">
                  <c:v>1.1754728470622731</c:v>
                </c:pt>
                <c:pt idx="862">
                  <c:v>1.1799616873359589</c:v>
                </c:pt>
                <c:pt idx="863">
                  <c:v>1.165106015285597</c:v>
                </c:pt>
                <c:pt idx="864">
                  <c:v>1.165106015285597</c:v>
                </c:pt>
                <c:pt idx="865">
                  <c:v>1.165106015285597</c:v>
                </c:pt>
                <c:pt idx="866">
                  <c:v>1.1446734754576233</c:v>
                </c:pt>
                <c:pt idx="867">
                  <c:v>1.1423918773769215</c:v>
                </c:pt>
                <c:pt idx="868">
                  <c:v>1.1311768246441489</c:v>
                </c:pt>
                <c:pt idx="869">
                  <c:v>1.1275476582476538</c:v>
                </c:pt>
                <c:pt idx="870">
                  <c:v>1.1444803615881007</c:v>
                </c:pt>
                <c:pt idx="871">
                  <c:v>1.1444803615881007</c:v>
                </c:pt>
                <c:pt idx="872">
                  <c:v>1.1444803615881007</c:v>
                </c:pt>
                <c:pt idx="873">
                  <c:v>1.1378602207982227</c:v>
                </c:pt>
                <c:pt idx="874">
                  <c:v>1.1424047398883039</c:v>
                </c:pt>
                <c:pt idx="875">
                  <c:v>1.1394912929607879</c:v>
                </c:pt>
                <c:pt idx="876">
                  <c:v>1.1329886767612125</c:v>
                </c:pt>
                <c:pt idx="877">
                  <c:v>1.1635107114766021</c:v>
                </c:pt>
                <c:pt idx="878">
                  <c:v>1.1635107114766021</c:v>
                </c:pt>
                <c:pt idx="879">
                  <c:v>1.1635107114766021</c:v>
                </c:pt>
                <c:pt idx="880">
                  <c:v>1.1662708654602454</c:v>
                </c:pt>
                <c:pt idx="881">
                  <c:v>1.1600943932136683</c:v>
                </c:pt>
                <c:pt idx="882">
                  <c:v>1.1600943932136683</c:v>
                </c:pt>
                <c:pt idx="883">
                  <c:v>1.1584828791163559</c:v>
                </c:pt>
                <c:pt idx="884">
                  <c:v>1.1368553591213177</c:v>
                </c:pt>
                <c:pt idx="885">
                  <c:v>1.1368553591213177</c:v>
                </c:pt>
                <c:pt idx="886">
                  <c:v>1.1368553591213177</c:v>
                </c:pt>
                <c:pt idx="887">
                  <c:v>1.1268063899546958</c:v>
                </c:pt>
                <c:pt idx="888">
                  <c:v>1.1303076360325108</c:v>
                </c:pt>
                <c:pt idx="889">
                  <c:v>1.1339156585746786</c:v>
                </c:pt>
                <c:pt idx="890">
                  <c:v>1.12469940487098</c:v>
                </c:pt>
                <c:pt idx="891">
                  <c:v>1.1215320554927504</c:v>
                </c:pt>
                <c:pt idx="892">
                  <c:v>1.1215320554927504</c:v>
                </c:pt>
                <c:pt idx="893">
                  <c:v>1.1215320554927504</c:v>
                </c:pt>
                <c:pt idx="894">
                  <c:v>1.1268604829820164</c:v>
                </c:pt>
                <c:pt idx="895">
                  <c:v>1.1002955206039813</c:v>
                </c:pt>
                <c:pt idx="896">
                  <c:v>1.0947547735775121</c:v>
                </c:pt>
                <c:pt idx="897">
                  <c:v>1.0871516197602005</c:v>
                </c:pt>
                <c:pt idx="898">
                  <c:v>1.0865363335992759</c:v>
                </c:pt>
                <c:pt idx="899">
                  <c:v>1.0865363335992759</c:v>
                </c:pt>
                <c:pt idx="900">
                  <c:v>1.0865363335992759</c:v>
                </c:pt>
                <c:pt idx="901">
                  <c:v>1.0936831325606899</c:v>
                </c:pt>
                <c:pt idx="902">
                  <c:v>1.0851917606628456</c:v>
                </c:pt>
                <c:pt idx="903">
                  <c:v>1.0891521807771352</c:v>
                </c:pt>
                <c:pt idx="904">
                  <c:v>1.0499456602943786</c:v>
                </c:pt>
                <c:pt idx="905">
                  <c:v>1.0611975385734382</c:v>
                </c:pt>
                <c:pt idx="906">
                  <c:v>1.0611975385734382</c:v>
                </c:pt>
                <c:pt idx="907">
                  <c:v>1.0611975385734382</c:v>
                </c:pt>
                <c:pt idx="908">
                  <c:v>1.0611975385734382</c:v>
                </c:pt>
                <c:pt idx="909">
                  <c:v>1.0533450634738508</c:v>
                </c:pt>
                <c:pt idx="910">
                  <c:v>1.0342285523789654</c:v>
                </c:pt>
                <c:pt idx="911">
                  <c:v>1.0328818650571023</c:v>
                </c:pt>
                <c:pt idx="912">
                  <c:v>1.0208448449873559</c:v>
                </c:pt>
                <c:pt idx="913">
                  <c:v>1.0208448449873559</c:v>
                </c:pt>
                <c:pt idx="914">
                  <c:v>1.0208448449873559</c:v>
                </c:pt>
                <c:pt idx="915">
                  <c:v>1.0088300259646532</c:v>
                </c:pt>
                <c:pt idx="916">
                  <c:v>1.015724684463214</c:v>
                </c:pt>
                <c:pt idx="917">
                  <c:v>1.0146035315875086</c:v>
                </c:pt>
                <c:pt idx="918">
                  <c:v>1.0062888870720836</c:v>
                </c:pt>
                <c:pt idx="919">
                  <c:v>1.0288077967258038</c:v>
                </c:pt>
                <c:pt idx="920">
                  <c:v>1.0288077967258038</c:v>
                </c:pt>
                <c:pt idx="921">
                  <c:v>1.0288077967258038</c:v>
                </c:pt>
                <c:pt idx="922">
                  <c:v>1.028933250261479</c:v>
                </c:pt>
                <c:pt idx="923">
                  <c:v>1.0256904878028152</c:v>
                </c:pt>
                <c:pt idx="924">
                  <c:v>1.0445164470994859</c:v>
                </c:pt>
                <c:pt idx="925">
                  <c:v>1.0427201004755957</c:v>
                </c:pt>
                <c:pt idx="926">
                  <c:v>1.0660135799928394</c:v>
                </c:pt>
                <c:pt idx="927">
                  <c:v>1.0660135799928394</c:v>
                </c:pt>
                <c:pt idx="928">
                  <c:v>1.0660135799928394</c:v>
                </c:pt>
                <c:pt idx="929">
                  <c:v>1.0691137976335798</c:v>
                </c:pt>
                <c:pt idx="930">
                  <c:v>1.0821142726655071</c:v>
                </c:pt>
                <c:pt idx="931">
                  <c:v>1.0763675492581326</c:v>
                </c:pt>
                <c:pt idx="932">
                  <c:v>1.0542278193920156</c:v>
                </c:pt>
                <c:pt idx="933">
                  <c:v>1.0627628885888027</c:v>
                </c:pt>
                <c:pt idx="934">
                  <c:v>1.0627628885888027</c:v>
                </c:pt>
                <c:pt idx="935">
                  <c:v>1.0627628885888027</c:v>
                </c:pt>
                <c:pt idx="936">
                  <c:v>1.048498011068103</c:v>
                </c:pt>
                <c:pt idx="937">
                  <c:v>1.0907825481445563</c:v>
                </c:pt>
                <c:pt idx="938">
                  <c:v>1.0745750790075355</c:v>
                </c:pt>
                <c:pt idx="939">
                  <c:v>1.1075062797247353</c:v>
                </c:pt>
                <c:pt idx="940">
                  <c:v>1.0846635167022354</c:v>
                </c:pt>
                <c:pt idx="941">
                  <c:v>1.0846635167022354</c:v>
                </c:pt>
                <c:pt idx="942">
                  <c:v>1.0846635167022354</c:v>
                </c:pt>
                <c:pt idx="943">
                  <c:v>1.0817817855562102</c:v>
                </c:pt>
                <c:pt idx="944">
                  <c:v>1.0921842094876704</c:v>
                </c:pt>
                <c:pt idx="945">
                  <c:v>1.091630240504295</c:v>
                </c:pt>
                <c:pt idx="946">
                  <c:v>1.0760507438407951</c:v>
                </c:pt>
                <c:pt idx="947">
                  <c:v>1.0565189322071646</c:v>
                </c:pt>
                <c:pt idx="948">
                  <c:v>1.0565189322071646</c:v>
                </c:pt>
                <c:pt idx="949">
                  <c:v>1.0565189322071646</c:v>
                </c:pt>
                <c:pt idx="950">
                  <c:v>1.0531484256286068</c:v>
                </c:pt>
                <c:pt idx="951">
                  <c:v>1.0705718425882333</c:v>
                </c:pt>
                <c:pt idx="952">
                  <c:v>1.0511572031473333</c:v>
                </c:pt>
                <c:pt idx="953">
                  <c:v>1.0511572031473333</c:v>
                </c:pt>
                <c:pt idx="954">
                  <c:v>1.0428062616819793</c:v>
                </c:pt>
                <c:pt idx="955">
                  <c:v>1.0428062616819793</c:v>
                </c:pt>
                <c:pt idx="956">
                  <c:v>1.0428062616819793</c:v>
                </c:pt>
                <c:pt idx="957">
                  <c:v>1.0783534857758241</c:v>
                </c:pt>
                <c:pt idx="958">
                  <c:v>1.1146030382309078</c:v>
                </c:pt>
                <c:pt idx="959">
                  <c:v>1.1304505332480062</c:v>
                </c:pt>
                <c:pt idx="960">
                  <c:v>1.1285822975194031</c:v>
                </c:pt>
                <c:pt idx="961">
                  <c:v>1.0853561541302403</c:v>
                </c:pt>
                <c:pt idx="962">
                  <c:v>1.0853561541302403</c:v>
                </c:pt>
                <c:pt idx="963">
                  <c:v>1.0853561541302403</c:v>
                </c:pt>
                <c:pt idx="964">
                  <c:v>1.0880304993050718</c:v>
                </c:pt>
                <c:pt idx="965">
                  <c:v>1.1158038329579125</c:v>
                </c:pt>
                <c:pt idx="966">
                  <c:v>1.1158038329579125</c:v>
                </c:pt>
                <c:pt idx="967">
                  <c:v>1.1439621609582957</c:v>
                </c:pt>
                <c:pt idx="968">
                  <c:v>1.1330926340449883</c:v>
                </c:pt>
                <c:pt idx="969">
                  <c:v>1.1330926340449883</c:v>
                </c:pt>
                <c:pt idx="970">
                  <c:v>1.1330926340449883</c:v>
                </c:pt>
                <c:pt idx="971">
                  <c:v>1.1320683905016167</c:v>
                </c:pt>
                <c:pt idx="972">
                  <c:v>1.1246009097495722</c:v>
                </c:pt>
                <c:pt idx="973">
                  <c:v>1.1253146910319045</c:v>
                </c:pt>
                <c:pt idx="974">
                  <c:v>1.1287274853191172</c:v>
                </c:pt>
                <c:pt idx="975">
                  <c:v>1.1295765872691443</c:v>
                </c:pt>
                <c:pt idx="976">
                  <c:v>1.1295765872691443</c:v>
                </c:pt>
                <c:pt idx="977">
                  <c:v>1.1295765872691443</c:v>
                </c:pt>
                <c:pt idx="978">
                  <c:v>1.1248151674734219</c:v>
                </c:pt>
                <c:pt idx="979">
                  <c:v>1.1189611390053367</c:v>
                </c:pt>
                <c:pt idx="980">
                  <c:v>1.1238347974277796</c:v>
                </c:pt>
                <c:pt idx="981">
                  <c:v>1.1046978472737115</c:v>
                </c:pt>
                <c:pt idx="982">
                  <c:v>1.0883309182353056</c:v>
                </c:pt>
                <c:pt idx="983">
                  <c:v>1.0883309182353056</c:v>
                </c:pt>
                <c:pt idx="984">
                  <c:v>1.0883309182353056</c:v>
                </c:pt>
                <c:pt idx="985">
                  <c:v>1.0769019601762553</c:v>
                </c:pt>
                <c:pt idx="986">
                  <c:v>1.0751975893186887</c:v>
                </c:pt>
                <c:pt idx="987">
                  <c:v>1.0751975893186887</c:v>
                </c:pt>
                <c:pt idx="988">
                  <c:v>1.0865884884399499</c:v>
                </c:pt>
                <c:pt idx="989">
                  <c:v>1.0767328093416366</c:v>
                </c:pt>
                <c:pt idx="990">
                  <c:v>1.0767328093416366</c:v>
                </c:pt>
                <c:pt idx="991">
                  <c:v>1.0767328093416366</c:v>
                </c:pt>
                <c:pt idx="992">
                  <c:v>1.0685441469582451</c:v>
                </c:pt>
                <c:pt idx="993">
                  <c:v>1.0616741562897327</c:v>
                </c:pt>
                <c:pt idx="994">
                  <c:v>1.0455500291785189</c:v>
                </c:pt>
                <c:pt idx="995">
                  <c:v>1.0476996543684611</c:v>
                </c:pt>
                <c:pt idx="996">
                  <c:v>1.0284203355952559</c:v>
                </c:pt>
                <c:pt idx="997">
                  <c:v>1.0284203355952559</c:v>
                </c:pt>
                <c:pt idx="998">
                  <c:v>1.0284203355952559</c:v>
                </c:pt>
                <c:pt idx="999">
                  <c:v>1.0281299599958276</c:v>
                </c:pt>
                <c:pt idx="1000">
                  <c:v>1.0458414619706635</c:v>
                </c:pt>
                <c:pt idx="1001">
                  <c:v>1.0286923865209336</c:v>
                </c:pt>
                <c:pt idx="1002">
                  <c:v>1.0228961512546764</c:v>
                </c:pt>
                <c:pt idx="1003">
                  <c:v>1.0342340145413333</c:v>
                </c:pt>
                <c:pt idx="1004">
                  <c:v>1.0342340145413333</c:v>
                </c:pt>
                <c:pt idx="1005">
                  <c:v>1.0342340145413333</c:v>
                </c:pt>
                <c:pt idx="1006">
                  <c:v>1.0394701138667033</c:v>
                </c:pt>
                <c:pt idx="1007">
                  <c:v>1.0288937817334014</c:v>
                </c:pt>
                <c:pt idx="1008">
                  <c:v>1.0173094163450451</c:v>
                </c:pt>
                <c:pt idx="1009">
                  <c:v>1.0105067336128082</c:v>
                </c:pt>
                <c:pt idx="1010">
                  <c:v>1.0057384420644297</c:v>
                </c:pt>
                <c:pt idx="1011">
                  <c:v>1.0057384420644297</c:v>
                </c:pt>
                <c:pt idx="1012">
                  <c:v>1.0057384420644297</c:v>
                </c:pt>
                <c:pt idx="1013">
                  <c:v>1.0203581839402558</c:v>
                </c:pt>
                <c:pt idx="1014">
                  <c:v>1.005380758528726</c:v>
                </c:pt>
                <c:pt idx="1015">
                  <c:v>1.0011750697042396</c:v>
                </c:pt>
                <c:pt idx="1016">
                  <c:v>1.0322801462027045</c:v>
                </c:pt>
                <c:pt idx="1017">
                  <c:v>1.0219482017856689</c:v>
                </c:pt>
                <c:pt idx="1018">
                  <c:v>1.0219482017856689</c:v>
                </c:pt>
                <c:pt idx="1019">
                  <c:v>1.0219482017856689</c:v>
                </c:pt>
                <c:pt idx="1020">
                  <c:v>1.0612745374429469</c:v>
                </c:pt>
                <c:pt idx="1021">
                  <c:v>1.059473433451833</c:v>
                </c:pt>
                <c:pt idx="1022">
                  <c:v>1.059473433451833</c:v>
                </c:pt>
                <c:pt idx="1023">
                  <c:v>1.0495516798087468</c:v>
                </c:pt>
                <c:pt idx="1024">
                  <c:v>1.0504337309317675</c:v>
                </c:pt>
                <c:pt idx="1025">
                  <c:v>1.0504337309317675</c:v>
                </c:pt>
                <c:pt idx="1026">
                  <c:v>1.0504337309317675</c:v>
                </c:pt>
                <c:pt idx="1027">
                  <c:v>1.026116007871152</c:v>
                </c:pt>
                <c:pt idx="1028">
                  <c:v>1.020210529357537</c:v>
                </c:pt>
                <c:pt idx="1029">
                  <c:v>1.0320917897004056</c:v>
                </c:pt>
                <c:pt idx="1030">
                  <c:v>1.0327079568552602</c:v>
                </c:pt>
                <c:pt idx="1031">
                  <c:v>1.0169533185984163</c:v>
                </c:pt>
                <c:pt idx="1032">
                  <c:v>1.0169533185984163</c:v>
                </c:pt>
                <c:pt idx="1033">
                  <c:v>1.0169533185984163</c:v>
                </c:pt>
                <c:pt idx="1034">
                  <c:v>1.0170570996834061</c:v>
                </c:pt>
                <c:pt idx="1035">
                  <c:v>1.0169820390005442</c:v>
                </c:pt>
                <c:pt idx="1036">
                  <c:v>1.0223060615201585</c:v>
                </c:pt>
                <c:pt idx="1037">
                  <c:v>1.0180984345090256</c:v>
                </c:pt>
                <c:pt idx="1038">
                  <c:v>1.0413157961506907</c:v>
                </c:pt>
                <c:pt idx="1039">
                  <c:v>1.0413157961506907</c:v>
                </c:pt>
                <c:pt idx="1040">
                  <c:v>1.0413157961506907</c:v>
                </c:pt>
                <c:pt idx="1041">
                  <c:v>1.042498090005159</c:v>
                </c:pt>
                <c:pt idx="1042">
                  <c:v>1.0452786830479852</c:v>
                </c:pt>
                <c:pt idx="1043">
                  <c:v>1.0370255319088955</c:v>
                </c:pt>
                <c:pt idx="1044">
                  <c:v>1.042144987637893</c:v>
                </c:pt>
                <c:pt idx="1045">
                  <c:v>1.0272109071277342</c:v>
                </c:pt>
                <c:pt idx="1046">
                  <c:v>1.0272109071277342</c:v>
                </c:pt>
                <c:pt idx="1047">
                  <c:v>1.0272109071277342</c:v>
                </c:pt>
                <c:pt idx="1048">
                  <c:v>1.0272313461869174</c:v>
                </c:pt>
                <c:pt idx="1049">
                  <c:v>1.0029196138850283</c:v>
                </c:pt>
                <c:pt idx="1050">
                  <c:v>1.0164804010566291</c:v>
                </c:pt>
                <c:pt idx="1051">
                  <c:v>1.0155292800094724</c:v>
                </c:pt>
                <c:pt idx="1052">
                  <c:v>1.0159822870884347</c:v>
                </c:pt>
                <c:pt idx="1053">
                  <c:v>1.0159822870884347</c:v>
                </c:pt>
                <c:pt idx="1054">
                  <c:v>1.0159822870884347</c:v>
                </c:pt>
                <c:pt idx="1055">
                  <c:v>1.0147973502521757</c:v>
                </c:pt>
                <c:pt idx="1056">
                  <c:v>1.0056882254104023</c:v>
                </c:pt>
                <c:pt idx="1057">
                  <c:v>0.9895743178287798</c:v>
                </c:pt>
                <c:pt idx="1058">
                  <c:v>1.0000296013960583</c:v>
                </c:pt>
                <c:pt idx="1059">
                  <c:v>1.0097637033319895</c:v>
                </c:pt>
                <c:pt idx="1060">
                  <c:v>1.0097637033319895</c:v>
                </c:pt>
                <c:pt idx="1061">
                  <c:v>1.0097637033319895</c:v>
                </c:pt>
                <c:pt idx="1062">
                  <c:v>0.99846777535641495</c:v>
                </c:pt>
                <c:pt idx="1063">
                  <c:v>1.0017401392111369</c:v>
                </c:pt>
                <c:pt idx="1064">
                  <c:v>1.0005051619196366</c:v>
                </c:pt>
                <c:pt idx="1065">
                  <c:v>1.0020905985966118</c:v>
                </c:pt>
                <c:pt idx="1066">
                  <c:v>1.0043697298943088</c:v>
                </c:pt>
                <c:pt idx="1067">
                  <c:v>1.0043697298943088</c:v>
                </c:pt>
                <c:pt idx="1068">
                  <c:v>1.0043697298943088</c:v>
                </c:pt>
                <c:pt idx="1069">
                  <c:v>0.99801617786774088</c:v>
                </c:pt>
                <c:pt idx="1070">
                  <c:v>0.99689837276897098</c:v>
                </c:pt>
                <c:pt idx="1071">
                  <c:v>0.99901293440048722</c:v>
                </c:pt>
                <c:pt idx="1072">
                  <c:v>0.99524492336057591</c:v>
                </c:pt>
                <c:pt idx="1073">
                  <c:v>0.9792818419398216</c:v>
                </c:pt>
                <c:pt idx="1074">
                  <c:v>0.9792818419398216</c:v>
                </c:pt>
                <c:pt idx="1075">
                  <c:v>0.9792818419398216</c:v>
                </c:pt>
                <c:pt idx="1076">
                  <c:v>0.97756619435994718</c:v>
                </c:pt>
                <c:pt idx="1077">
                  <c:v>0.96201524189978938</c:v>
                </c:pt>
                <c:pt idx="1078">
                  <c:v>0.95599135780194133</c:v>
                </c:pt>
                <c:pt idx="1079">
                  <c:v>0.95077058777095846</c:v>
                </c:pt>
                <c:pt idx="1080">
                  <c:v>0.93633338783749109</c:v>
                </c:pt>
                <c:pt idx="1081">
                  <c:v>0.93633338783749109</c:v>
                </c:pt>
                <c:pt idx="1082">
                  <c:v>0.93633338783749109</c:v>
                </c:pt>
                <c:pt idx="1083">
                  <c:v>0.91649199493675171</c:v>
                </c:pt>
                <c:pt idx="1084">
                  <c:v>0.91450359163605499</c:v>
                </c:pt>
                <c:pt idx="1085">
                  <c:v>0.91345450406384865</c:v>
                </c:pt>
                <c:pt idx="1086">
                  <c:v>0.92625340768452247</c:v>
                </c:pt>
                <c:pt idx="1087">
                  <c:v>0.92033982402674841</c:v>
                </c:pt>
                <c:pt idx="1088">
                  <c:v>0.92033982402674841</c:v>
                </c:pt>
                <c:pt idx="1089">
                  <c:v>0.92033982402674841</c:v>
                </c:pt>
                <c:pt idx="1090">
                  <c:v>0.90789825154420611</c:v>
                </c:pt>
                <c:pt idx="1091">
                  <c:v>0.89864746287843966</c:v>
                </c:pt>
                <c:pt idx="1092">
                  <c:v>0.88110951670787363</c:v>
                </c:pt>
                <c:pt idx="1093">
                  <c:v>0.86770026049228521</c:v>
                </c:pt>
                <c:pt idx="1094">
                  <c:v>0.88284859872629429</c:v>
                </c:pt>
                <c:pt idx="1095">
                  <c:v>0.88284859872629429</c:v>
                </c:pt>
                <c:pt idx="1096">
                  <c:v>0.88284859872629429</c:v>
                </c:pt>
                <c:pt idx="1097">
                  <c:v>0.90847776935156022</c:v>
                </c:pt>
                <c:pt idx="1098">
                  <c:v>0.88374791733034863</c:v>
                </c:pt>
                <c:pt idx="1099">
                  <c:v>0.89575586460039536</c:v>
                </c:pt>
                <c:pt idx="1100">
                  <c:v>0.88679721352191765</c:v>
                </c:pt>
                <c:pt idx="1101">
                  <c:v>0.87278024769320539</c:v>
                </c:pt>
                <c:pt idx="1102">
                  <c:v>0.87278024769320539</c:v>
                </c:pt>
                <c:pt idx="1103">
                  <c:v>0.87278024769320539</c:v>
                </c:pt>
                <c:pt idx="1104">
                  <c:v>0.87062674612996982</c:v>
                </c:pt>
                <c:pt idx="1105">
                  <c:v>0.86187178084817861</c:v>
                </c:pt>
                <c:pt idx="1106">
                  <c:v>0.85717696419358747</c:v>
                </c:pt>
                <c:pt idx="1107">
                  <c:v>0.87501709128224792</c:v>
                </c:pt>
                <c:pt idx="1108">
                  <c:v>0.87081245965047804</c:v>
                </c:pt>
                <c:pt idx="1109">
                  <c:v>0.87081245965047804</c:v>
                </c:pt>
                <c:pt idx="1110">
                  <c:v>0.87081245965047804</c:v>
                </c:pt>
                <c:pt idx="1111">
                  <c:v>0.90070105972997883</c:v>
                </c:pt>
                <c:pt idx="1112">
                  <c:v>0.90970182231832497</c:v>
                </c:pt>
                <c:pt idx="1113">
                  <c:v>0.88958996428098214</c:v>
                </c:pt>
                <c:pt idx="1114">
                  <c:v>0.888602193886325</c:v>
                </c:pt>
                <c:pt idx="1115">
                  <c:v>0.89190944510068704</c:v>
                </c:pt>
                <c:pt idx="1116">
                  <c:v>0.89190944510068704</c:v>
                </c:pt>
                <c:pt idx="1117">
                  <c:v>0.89190944510068704</c:v>
                </c:pt>
                <c:pt idx="1118">
                  <c:v>0.87900711279259558</c:v>
                </c:pt>
                <c:pt idx="1119">
                  <c:v>0.86359694316250046</c:v>
                </c:pt>
                <c:pt idx="1120">
                  <c:v>0.854065646029325</c:v>
                </c:pt>
                <c:pt idx="1121">
                  <c:v>0.86274572682704032</c:v>
                </c:pt>
                <c:pt idx="1122">
                  <c:v>0.86428129924756059</c:v>
                </c:pt>
                <c:pt idx="1123">
                  <c:v>0.86428129924756059</c:v>
                </c:pt>
                <c:pt idx="1124">
                  <c:v>0.86428129924756059</c:v>
                </c:pt>
                <c:pt idx="1125">
                  <c:v>0.8718819862818673</c:v>
                </c:pt>
                <c:pt idx="1126">
                  <c:v>0.8718819862818673</c:v>
                </c:pt>
                <c:pt idx="1127">
                  <c:v>0.86945625759416767</c:v>
                </c:pt>
                <c:pt idx="1128">
                  <c:v>0.86919601198715579</c:v>
                </c:pt>
                <c:pt idx="1129">
                  <c:v>0.87610881896068082</c:v>
                </c:pt>
                <c:pt idx="1130">
                  <c:v>0.87610881896068082</c:v>
                </c:pt>
                <c:pt idx="1131">
                  <c:v>0.87610881896068082</c:v>
                </c:pt>
                <c:pt idx="1132">
                  <c:v>0.88332909281588212</c:v>
                </c:pt>
                <c:pt idx="1133">
                  <c:v>0.8908910161172553</c:v>
                </c:pt>
                <c:pt idx="1134">
                  <c:v>0.89578493740009524</c:v>
                </c:pt>
                <c:pt idx="1135">
                  <c:v>0.91276116184069933</c:v>
                </c:pt>
                <c:pt idx="1136">
                  <c:v>0.91278565347196183</c:v>
                </c:pt>
                <c:pt idx="1137">
                  <c:v>0.91278565347196183</c:v>
                </c:pt>
                <c:pt idx="1138">
                  <c:v>0.91278565347196183</c:v>
                </c:pt>
                <c:pt idx="1139">
                  <c:v>0.9381055952276911</c:v>
                </c:pt>
                <c:pt idx="1140">
                  <c:v>0.92970337991559371</c:v>
                </c:pt>
                <c:pt idx="1141">
                  <c:v>0.93510299171442823</c:v>
                </c:pt>
                <c:pt idx="1142">
                  <c:v>0.89843884351574355</c:v>
                </c:pt>
                <c:pt idx="1143">
                  <c:v>0.91126171017132152</c:v>
                </c:pt>
                <c:pt idx="1144">
                  <c:v>0.91126171017132152</c:v>
                </c:pt>
                <c:pt idx="1145">
                  <c:v>0.91126171017132152</c:v>
                </c:pt>
                <c:pt idx="1146">
                  <c:v>0.91043745225012884</c:v>
                </c:pt>
                <c:pt idx="1147">
                  <c:v>0.92597395640982993</c:v>
                </c:pt>
                <c:pt idx="1148">
                  <c:v>0.92081820373090351</c:v>
                </c:pt>
                <c:pt idx="1149">
                  <c:v>0.94374783275493146</c:v>
                </c:pt>
                <c:pt idx="1150">
                  <c:v>0.94989664179209665</c:v>
                </c:pt>
                <c:pt idx="1151">
                  <c:v>0.94989664179209665</c:v>
                </c:pt>
                <c:pt idx="1152">
                  <c:v>0.94989664179209665</c:v>
                </c:pt>
                <c:pt idx="1153">
                  <c:v>0.95697014205850917</c:v>
                </c:pt>
                <c:pt idx="1154">
                  <c:v>0.95989187032897005</c:v>
                </c:pt>
                <c:pt idx="1155">
                  <c:v>0.93530720610747276</c:v>
                </c:pt>
                <c:pt idx="1156">
                  <c:v>0.91379703450395111</c:v>
                </c:pt>
                <c:pt idx="1157">
                  <c:v>0.93223042290527824</c:v>
                </c:pt>
                <c:pt idx="1158">
                  <c:v>0.93223042290527824</c:v>
                </c:pt>
                <c:pt idx="1159">
                  <c:v>0.93223042290527824</c:v>
                </c:pt>
                <c:pt idx="1160">
                  <c:v>0.94497047613140761</c:v>
                </c:pt>
                <c:pt idx="1161">
                  <c:v>0.94497047613140761</c:v>
                </c:pt>
                <c:pt idx="1162">
                  <c:v>0.94636456092672105</c:v>
                </c:pt>
                <c:pt idx="1163">
                  <c:v>0.93198726858051428</c:v>
                </c:pt>
                <c:pt idx="1164">
                  <c:v>0.93786631727622038</c:v>
                </c:pt>
                <c:pt idx="1165">
                  <c:v>0.93786631727622038</c:v>
                </c:pt>
                <c:pt idx="1166">
                  <c:v>0.93786631727622038</c:v>
                </c:pt>
                <c:pt idx="1167">
                  <c:v>0.92347581002105916</c:v>
                </c:pt>
                <c:pt idx="1168">
                  <c:v>0.93649372873280645</c:v>
                </c:pt>
                <c:pt idx="1169">
                  <c:v>0.91626646049059379</c:v>
                </c:pt>
                <c:pt idx="1170">
                  <c:v>0.88390949161716659</c:v>
                </c:pt>
                <c:pt idx="1171">
                  <c:v>0.88615532134429809</c:v>
                </c:pt>
                <c:pt idx="1172">
                  <c:v>0.88615532134429809</c:v>
                </c:pt>
                <c:pt idx="1173">
                  <c:v>0.88615532134429809</c:v>
                </c:pt>
                <c:pt idx="1174">
                  <c:v>0.85479493280483099</c:v>
                </c:pt>
                <c:pt idx="1175">
                  <c:v>0.84744991020909854</c:v>
                </c:pt>
                <c:pt idx="1176">
                  <c:v>0.86431882958899164</c:v>
                </c:pt>
                <c:pt idx="1177">
                  <c:v>0.85949732600722273</c:v>
                </c:pt>
                <c:pt idx="1178">
                  <c:v>0.89088802073789219</c:v>
                </c:pt>
                <c:pt idx="1179">
                  <c:v>0.89088802073789219</c:v>
                </c:pt>
                <c:pt idx="1180">
                  <c:v>0.89088802073789219</c:v>
                </c:pt>
                <c:pt idx="1181">
                  <c:v>0.88196778099477602</c:v>
                </c:pt>
                <c:pt idx="1182">
                  <c:v>0.9029999252917148</c:v>
                </c:pt>
                <c:pt idx="1183">
                  <c:v>0.90134471389545912</c:v>
                </c:pt>
                <c:pt idx="1184">
                  <c:v>0.89576344114819595</c:v>
                </c:pt>
                <c:pt idx="1185">
                  <c:v>0.87495718369498721</c:v>
                </c:pt>
                <c:pt idx="1186">
                  <c:v>0.87495718369498721</c:v>
                </c:pt>
                <c:pt idx="1187">
                  <c:v>0.87495718369498721</c:v>
                </c:pt>
                <c:pt idx="1188">
                  <c:v>0.87495718369498721</c:v>
                </c:pt>
                <c:pt idx="1189">
                  <c:v>0.87553264893026195</c:v>
                </c:pt>
                <c:pt idx="1190">
                  <c:v>0.89879353167208409</c:v>
                </c:pt>
                <c:pt idx="1191">
                  <c:v>0.90163649908517596</c:v>
                </c:pt>
                <c:pt idx="1192">
                  <c:v>0.89534814060945056</c:v>
                </c:pt>
                <c:pt idx="1193">
                  <c:v>0.89534814060945056</c:v>
                </c:pt>
                <c:pt idx="1194">
                  <c:v>0.89534814060945056</c:v>
                </c:pt>
                <c:pt idx="1195">
                  <c:v>0.8970947991756717</c:v>
                </c:pt>
                <c:pt idx="1196">
                  <c:v>0.84158583841020762</c:v>
                </c:pt>
                <c:pt idx="1197">
                  <c:v>0.8304252311023278</c:v>
                </c:pt>
                <c:pt idx="1198">
                  <c:v>0.86103659860225013</c:v>
                </c:pt>
                <c:pt idx="1199">
                  <c:v>0.87462751576626729</c:v>
                </c:pt>
                <c:pt idx="1200">
                  <c:v>0.87462751576626729</c:v>
                </c:pt>
                <c:pt idx="1201">
                  <c:v>0.87462751576626729</c:v>
                </c:pt>
                <c:pt idx="1202">
                  <c:v>0.87343694056885424</c:v>
                </c:pt>
                <c:pt idx="1203">
                  <c:v>0.85747297815416956</c:v>
                </c:pt>
                <c:pt idx="1204">
                  <c:v>0.86517374609895881</c:v>
                </c:pt>
                <c:pt idx="1205">
                  <c:v>0.86771030382309078</c:v>
                </c:pt>
                <c:pt idx="1206">
                  <c:v>0.86486945079543187</c:v>
                </c:pt>
                <c:pt idx="1207">
                  <c:v>0.86486945079543187</c:v>
                </c:pt>
                <c:pt idx="1208">
                  <c:v>0.86486945079543187</c:v>
                </c:pt>
                <c:pt idx="1209">
                  <c:v>0.83154180280959533</c:v>
                </c:pt>
                <c:pt idx="1210">
                  <c:v>0.79101766780467586</c:v>
                </c:pt>
                <c:pt idx="1211">
                  <c:v>0.7774205836831467</c:v>
                </c:pt>
                <c:pt idx="1212">
                  <c:v>0.75402261828576911</c:v>
                </c:pt>
                <c:pt idx="1213">
                  <c:v>0.73286502045315505</c:v>
                </c:pt>
                <c:pt idx="1214">
                  <c:v>0.73286502045315505</c:v>
                </c:pt>
                <c:pt idx="1215">
                  <c:v>0.73286502045315505</c:v>
                </c:pt>
                <c:pt idx="1216">
                  <c:v>0.73805971306380092</c:v>
                </c:pt>
                <c:pt idx="1217">
                  <c:v>0.74152483839047334</c:v>
                </c:pt>
                <c:pt idx="1218">
                  <c:v>0.74921380101659651</c:v>
                </c:pt>
                <c:pt idx="1219">
                  <c:v>0.76179298475105217</c:v>
                </c:pt>
                <c:pt idx="1220">
                  <c:v>0.73198984108279097</c:v>
                </c:pt>
                <c:pt idx="1221">
                  <c:v>0.73198984108279097</c:v>
                </c:pt>
                <c:pt idx="1222">
                  <c:v>0.73198984108279097</c:v>
                </c:pt>
                <c:pt idx="1223">
                  <c:v>0.73083080546808266</c:v>
                </c:pt>
                <c:pt idx="1224">
                  <c:v>0.73352999467174873</c:v>
                </c:pt>
                <c:pt idx="1225">
                  <c:v>0.72149350319836036</c:v>
                </c:pt>
                <c:pt idx="1226">
                  <c:v>0.70643185476709336</c:v>
                </c:pt>
                <c:pt idx="1227">
                  <c:v>0.70141300854493638</c:v>
                </c:pt>
                <c:pt idx="1228">
                  <c:v>0.70141300854493638</c:v>
                </c:pt>
                <c:pt idx="1229">
                  <c:v>0.70141300854493638</c:v>
                </c:pt>
                <c:pt idx="1230">
                  <c:v>0.69278367299760657</c:v>
                </c:pt>
                <c:pt idx="1231">
                  <c:v>0.71143043812885354</c:v>
                </c:pt>
                <c:pt idx="1232">
                  <c:v>0.71522769816725063</c:v>
                </c:pt>
                <c:pt idx="1233">
                  <c:v>0.71522769816725063</c:v>
                </c:pt>
                <c:pt idx="1234">
                  <c:v>0.71522769816725063</c:v>
                </c:pt>
                <c:pt idx="1235">
                  <c:v>0.71522769816725063</c:v>
                </c:pt>
                <c:pt idx="1236">
                  <c:v>0.71522769816725063</c:v>
                </c:pt>
                <c:pt idx="1237">
                  <c:v>0.71927392709035198</c:v>
                </c:pt>
                <c:pt idx="1238">
                  <c:v>0.69755020255812439</c:v>
                </c:pt>
                <c:pt idx="1239">
                  <c:v>0.68005983005979476</c:v>
                </c:pt>
                <c:pt idx="1240">
                  <c:v>0.71483917984398648</c:v>
                </c:pt>
                <c:pt idx="1241">
                  <c:v>0.71194863875865833</c:v>
                </c:pt>
                <c:pt idx="1242">
                  <c:v>0.71194863875865833</c:v>
                </c:pt>
                <c:pt idx="1243">
                  <c:v>0.71194863875865833</c:v>
                </c:pt>
                <c:pt idx="1244">
                  <c:v>0.68065925832997376</c:v>
                </c:pt>
                <c:pt idx="1245">
                  <c:v>0.67618698074217742</c:v>
                </c:pt>
                <c:pt idx="1246">
                  <c:v>0.66070104563407595</c:v>
                </c:pt>
                <c:pt idx="1247">
                  <c:v>0.67010547964128753</c:v>
                </c:pt>
                <c:pt idx="1248">
                  <c:v>0.67010547964128753</c:v>
                </c:pt>
                <c:pt idx="1249">
                  <c:v>0.67010547964128753</c:v>
                </c:pt>
                <c:pt idx="1250">
                  <c:v>0.67010547964128753</c:v>
                </c:pt>
                <c:pt idx="1251">
                  <c:v>0.66457089957233029</c:v>
                </c:pt>
                <c:pt idx="1252">
                  <c:v>0.66330878766777646</c:v>
                </c:pt>
                <c:pt idx="1253">
                  <c:v>0.67056007250932437</c:v>
                </c:pt>
                <c:pt idx="1254">
                  <c:v>0.66845009204624573</c:v>
                </c:pt>
                <c:pt idx="1255">
                  <c:v>0.67958338854228617</c:v>
                </c:pt>
                <c:pt idx="1256">
                  <c:v>0.67958338854228617</c:v>
                </c:pt>
                <c:pt idx="1257">
                  <c:v>0.67958338854228617</c:v>
                </c:pt>
                <c:pt idx="1258">
                  <c:v>0.69598714312697862</c:v>
                </c:pt>
                <c:pt idx="1259">
                  <c:v>0.68619630518193575</c:v>
                </c:pt>
                <c:pt idx="1260">
                  <c:v>0.69622888786145409</c:v>
                </c:pt>
                <c:pt idx="1261">
                  <c:v>0.70392278405358677</c:v>
                </c:pt>
                <c:pt idx="1262">
                  <c:v>0.71558221012480516</c:v>
                </c:pt>
                <c:pt idx="1263">
                  <c:v>0.71558221012480516</c:v>
                </c:pt>
                <c:pt idx="1264">
                  <c:v>0.71558221012480516</c:v>
                </c:pt>
                <c:pt idx="1265">
                  <c:v>0.71703602630859309</c:v>
                </c:pt>
                <c:pt idx="1266">
                  <c:v>0.73603765579496649</c:v>
                </c:pt>
                <c:pt idx="1267">
                  <c:v>0.7474232689526461</c:v>
                </c:pt>
                <c:pt idx="1268">
                  <c:v>0.74252000913414506</c:v>
                </c:pt>
                <c:pt idx="1269">
                  <c:v>0.76382103277861246</c:v>
                </c:pt>
                <c:pt idx="1270">
                  <c:v>0.76382103277861246</c:v>
                </c:pt>
                <c:pt idx="1271">
                  <c:v>0.76382103277861246</c:v>
                </c:pt>
                <c:pt idx="1272">
                  <c:v>0.76382103277861246</c:v>
                </c:pt>
                <c:pt idx="1273">
                  <c:v>0.76382103277861246</c:v>
                </c:pt>
                <c:pt idx="1274">
                  <c:v>0.76917765207364819</c:v>
                </c:pt>
                <c:pt idx="1275">
                  <c:v>0.77112235807540175</c:v>
                </c:pt>
                <c:pt idx="1276">
                  <c:v>0.77553772345530048</c:v>
                </c:pt>
                <c:pt idx="1277">
                  <c:v>0.77553772345530048</c:v>
                </c:pt>
                <c:pt idx="1278">
                  <c:v>0.77553772345530048</c:v>
                </c:pt>
                <c:pt idx="1279">
                  <c:v>0.77553772345530048</c:v>
                </c:pt>
                <c:pt idx="1280">
                  <c:v>0.77553772345530048</c:v>
                </c:pt>
                <c:pt idx="1281">
                  <c:v>0.76592766546475599</c:v>
                </c:pt>
                <c:pt idx="1282">
                  <c:v>0.76117787478891374</c:v>
                </c:pt>
                <c:pt idx="1283">
                  <c:v>0.77369944152032777</c:v>
                </c:pt>
                <c:pt idx="1284">
                  <c:v>0.77369944152032777</c:v>
                </c:pt>
                <c:pt idx="1285">
                  <c:v>0.77369944152032777</c:v>
                </c:pt>
                <c:pt idx="1286">
                  <c:v>0.79750178313171505</c:v>
                </c:pt>
                <c:pt idx="1287">
                  <c:v>0.79317363615091641</c:v>
                </c:pt>
                <c:pt idx="1288">
                  <c:v>0.79064747415516212</c:v>
                </c:pt>
                <c:pt idx="1289">
                  <c:v>0.78844217014882445</c:v>
                </c:pt>
                <c:pt idx="1290">
                  <c:v>0.79752363178118646</c:v>
                </c:pt>
                <c:pt idx="1291">
                  <c:v>0.79752363178118646</c:v>
                </c:pt>
                <c:pt idx="1292">
                  <c:v>0.79752363178118646</c:v>
                </c:pt>
                <c:pt idx="1293">
                  <c:v>0.80400757090943942</c:v>
                </c:pt>
                <c:pt idx="1294">
                  <c:v>0.81241789136569553</c:v>
                </c:pt>
                <c:pt idx="1295">
                  <c:v>0.78308484605864459</c:v>
                </c:pt>
                <c:pt idx="1296">
                  <c:v>0.79681848423937085</c:v>
                </c:pt>
                <c:pt idx="1297">
                  <c:v>0.79925108467972705</c:v>
                </c:pt>
                <c:pt idx="1298">
                  <c:v>0.79925108467972705</c:v>
                </c:pt>
                <c:pt idx="1299">
                  <c:v>0.79925108467972705</c:v>
                </c:pt>
                <c:pt idx="1300">
                  <c:v>0.81744360934050919</c:v>
                </c:pt>
                <c:pt idx="1301">
                  <c:v>0.79138856624933396</c:v>
                </c:pt>
                <c:pt idx="1302">
                  <c:v>0.79371826659863043</c:v>
                </c:pt>
                <c:pt idx="1303">
                  <c:v>0.79501526586282434</c:v>
                </c:pt>
                <c:pt idx="1304">
                  <c:v>0.80827510550783321</c:v>
                </c:pt>
                <c:pt idx="1305">
                  <c:v>0.80827510550783321</c:v>
                </c:pt>
                <c:pt idx="1306">
                  <c:v>0.80827510550783321</c:v>
                </c:pt>
                <c:pt idx="1307">
                  <c:v>0.83070027740736874</c:v>
                </c:pt>
                <c:pt idx="1308">
                  <c:v>0.82578433127627127</c:v>
                </c:pt>
                <c:pt idx="1309">
                  <c:v>0.85076156639311218</c:v>
                </c:pt>
                <c:pt idx="1310">
                  <c:v>0.84840191225018524</c:v>
                </c:pt>
                <c:pt idx="1311">
                  <c:v>0.84820139803164807</c:v>
                </c:pt>
                <c:pt idx="1312">
                  <c:v>0.84820139803164807</c:v>
                </c:pt>
                <c:pt idx="1313">
                  <c:v>0.84820139803164807</c:v>
                </c:pt>
                <c:pt idx="1314">
                  <c:v>0.84820139803164807</c:v>
                </c:pt>
                <c:pt idx="1315">
                  <c:v>0.8358091612092029</c:v>
                </c:pt>
                <c:pt idx="1316">
                  <c:v>0.83250050040455248</c:v>
                </c:pt>
                <c:pt idx="1317">
                  <c:v>0.82543633867380095</c:v>
                </c:pt>
                <c:pt idx="1318">
                  <c:v>0.81962459791437015</c:v>
                </c:pt>
                <c:pt idx="1319">
                  <c:v>0.81962459791437015</c:v>
                </c:pt>
                <c:pt idx="1320">
                  <c:v>0.81962459791437015</c:v>
                </c:pt>
                <c:pt idx="1321">
                  <c:v>0.82608298821864434</c:v>
                </c:pt>
                <c:pt idx="1322">
                  <c:v>0.82927976279414617</c:v>
                </c:pt>
                <c:pt idx="1323">
                  <c:v>0.81415415420353909</c:v>
                </c:pt>
                <c:pt idx="1324">
                  <c:v>0.8139488826177782</c:v>
                </c:pt>
                <c:pt idx="1325">
                  <c:v>0.82669862677714079</c:v>
                </c:pt>
                <c:pt idx="1326">
                  <c:v>0.82669862677714079</c:v>
                </c:pt>
                <c:pt idx="1327">
                  <c:v>0.82669862677714079</c:v>
                </c:pt>
                <c:pt idx="1328">
                  <c:v>0.84657807861566947</c:v>
                </c:pt>
                <c:pt idx="1329">
                  <c:v>0.84064617028414512</c:v>
                </c:pt>
                <c:pt idx="1330">
                  <c:v>0.84669983197683751</c:v>
                </c:pt>
                <c:pt idx="1331">
                  <c:v>0.80820304020433409</c:v>
                </c:pt>
                <c:pt idx="1332">
                  <c:v>0.80820304020433409</c:v>
                </c:pt>
                <c:pt idx="1333">
                  <c:v>0.80820304020433409</c:v>
                </c:pt>
                <c:pt idx="1334">
                  <c:v>0.80820304020433409</c:v>
                </c:pt>
                <c:pt idx="1335">
                  <c:v>0.80396598799592911</c:v>
                </c:pt>
                <c:pt idx="1336">
                  <c:v>0.82356810294519789</c:v>
                </c:pt>
                <c:pt idx="1337">
                  <c:v>0.82889106827209591</c:v>
                </c:pt>
                <c:pt idx="1338">
                  <c:v>0.83182248747579024</c:v>
                </c:pt>
                <c:pt idx="1339">
                  <c:v>0.83864613786356856</c:v>
                </c:pt>
                <c:pt idx="1340">
                  <c:v>0.83864613786356856</c:v>
                </c:pt>
                <c:pt idx="1341">
                  <c:v>0.83864613786356856</c:v>
                </c:pt>
                <c:pt idx="1342">
                  <c:v>0.84173930755286663</c:v>
                </c:pt>
                <c:pt idx="1343">
                  <c:v>0.8285901207455042</c:v>
                </c:pt>
                <c:pt idx="1344">
                  <c:v>0.82948309619326044</c:v>
                </c:pt>
                <c:pt idx="1345">
                  <c:v>0.83601584238525217</c:v>
                </c:pt>
                <c:pt idx="1346">
                  <c:v>0.83229452402364723</c:v>
                </c:pt>
                <c:pt idx="1347">
                  <c:v>0.83229452402364723</c:v>
                </c:pt>
                <c:pt idx="1348">
                  <c:v>0.83229452402364723</c:v>
                </c:pt>
                <c:pt idx="1349">
                  <c:v>0.83097373792333518</c:v>
                </c:pt>
                <c:pt idx="1350">
                  <c:v>0.82303228243678683</c:v>
                </c:pt>
                <c:pt idx="1351">
                  <c:v>0.83452396726367506</c:v>
                </c:pt>
                <c:pt idx="1352">
                  <c:v>0.86933679481721837</c:v>
                </c:pt>
                <c:pt idx="1353">
                  <c:v>0.86933679481721837</c:v>
                </c:pt>
                <c:pt idx="1354">
                  <c:v>0.86933679481721837</c:v>
                </c:pt>
                <c:pt idx="1355">
                  <c:v>0.86933679481721837</c:v>
                </c:pt>
                <c:pt idx="1356">
                  <c:v>0.86525162596239769</c:v>
                </c:pt>
                <c:pt idx="1357">
                  <c:v>0.86186438049916403</c:v>
                </c:pt>
                <c:pt idx="1358">
                  <c:v>0.84108684344808338</c:v>
                </c:pt>
                <c:pt idx="1359">
                  <c:v>0.83867221528390545</c:v>
                </c:pt>
                <c:pt idx="1360">
                  <c:v>0.82872385562412432</c:v>
                </c:pt>
                <c:pt idx="1361">
                  <c:v>0.82872385562412432</c:v>
                </c:pt>
                <c:pt idx="1362">
                  <c:v>0.82872385562412432</c:v>
                </c:pt>
                <c:pt idx="1363">
                  <c:v>0.79841431664472395</c:v>
                </c:pt>
                <c:pt idx="1364">
                  <c:v>0.79394010087028088</c:v>
                </c:pt>
                <c:pt idx="1365">
                  <c:v>0.77759731106556573</c:v>
                </c:pt>
                <c:pt idx="1366">
                  <c:v>0.77451048453256566</c:v>
                </c:pt>
                <c:pt idx="1367">
                  <c:v>0.78992488293352647</c:v>
                </c:pt>
                <c:pt idx="1368">
                  <c:v>0.78992488293352647</c:v>
                </c:pt>
                <c:pt idx="1369">
                  <c:v>0.78992488293352647</c:v>
                </c:pt>
                <c:pt idx="1370">
                  <c:v>0.79803883703162837</c:v>
                </c:pt>
                <c:pt idx="1371">
                  <c:v>0.7988872341865112</c:v>
                </c:pt>
                <c:pt idx="1372">
                  <c:v>0.81517681195783642</c:v>
                </c:pt>
                <c:pt idx="1373">
                  <c:v>0.82091366823319134</c:v>
                </c:pt>
                <c:pt idx="1374">
                  <c:v>0.83278735202825938</c:v>
                </c:pt>
                <c:pt idx="1375">
                  <c:v>0.83278735202825938</c:v>
                </c:pt>
                <c:pt idx="1376">
                  <c:v>0.83278735202825938</c:v>
                </c:pt>
                <c:pt idx="1377">
                  <c:v>0.85546413579429004</c:v>
                </c:pt>
                <c:pt idx="1378">
                  <c:v>0.85549972794907436</c:v>
                </c:pt>
                <c:pt idx="1379">
                  <c:v>0.8345491636900817</c:v>
                </c:pt>
                <c:pt idx="1380">
                  <c:v>0.83309464271114952</c:v>
                </c:pt>
                <c:pt idx="1381">
                  <c:v>0.8175711772616171</c:v>
                </c:pt>
                <c:pt idx="1382">
                  <c:v>0.8175711772616171</c:v>
                </c:pt>
                <c:pt idx="1383">
                  <c:v>0.8175711772616171</c:v>
                </c:pt>
                <c:pt idx="1384">
                  <c:v>0.81939465849856075</c:v>
                </c:pt>
                <c:pt idx="1385">
                  <c:v>0.82209243811193833</c:v>
                </c:pt>
                <c:pt idx="1386">
                  <c:v>0.82394199676921898</c:v>
                </c:pt>
                <c:pt idx="1387">
                  <c:v>0.81928418185970064</c:v>
                </c:pt>
                <c:pt idx="1388">
                  <c:v>0.81928418185970064</c:v>
                </c:pt>
                <c:pt idx="1389">
                  <c:v>0.81928418185970064</c:v>
                </c:pt>
                <c:pt idx="1390">
                  <c:v>0.81928418185970064</c:v>
                </c:pt>
                <c:pt idx="1391">
                  <c:v>0.83458087947157278</c:v>
                </c:pt>
                <c:pt idx="1392">
                  <c:v>0.81868933475795913</c:v>
                </c:pt>
                <c:pt idx="1393">
                  <c:v>0.80130027656161462</c:v>
                </c:pt>
                <c:pt idx="1394">
                  <c:v>0.82153600234555813</c:v>
                </c:pt>
                <c:pt idx="1395">
                  <c:v>0.83084546520708291</c:v>
                </c:pt>
                <c:pt idx="1396">
                  <c:v>0.83084546520708291</c:v>
                </c:pt>
                <c:pt idx="1397">
                  <c:v>0.83084546520708291</c:v>
                </c:pt>
                <c:pt idx="1398">
                  <c:v>0.84073726505653867</c:v>
                </c:pt>
                <c:pt idx="1399">
                  <c:v>0.81118538085720004</c:v>
                </c:pt>
                <c:pt idx="1400">
                  <c:v>0.78487502572502277</c:v>
                </c:pt>
                <c:pt idx="1401">
                  <c:v>0.78120321922230085</c:v>
                </c:pt>
                <c:pt idx="1402">
                  <c:v>0.80557450671387842</c:v>
                </c:pt>
                <c:pt idx="1403">
                  <c:v>0.80557450671387842</c:v>
                </c:pt>
                <c:pt idx="1404">
                  <c:v>0.80557450671387842</c:v>
                </c:pt>
                <c:pt idx="1405">
                  <c:v>0.82195376966730849</c:v>
                </c:pt>
                <c:pt idx="1406">
                  <c:v>0.82088177625291425</c:v>
                </c:pt>
                <c:pt idx="1407">
                  <c:v>0.83607345938829425</c:v>
                </c:pt>
                <c:pt idx="1408">
                  <c:v>0.83196538469128556</c:v>
                </c:pt>
                <c:pt idx="1409">
                  <c:v>0.83709241696808423</c:v>
                </c:pt>
                <c:pt idx="1410">
                  <c:v>0.83709241696808423</c:v>
                </c:pt>
                <c:pt idx="1411">
                  <c:v>0.83709241696808423</c:v>
                </c:pt>
                <c:pt idx="1412">
                  <c:v>0.84592279533030934</c:v>
                </c:pt>
                <c:pt idx="1413">
                  <c:v>0.85259156698514005</c:v>
                </c:pt>
                <c:pt idx="1414">
                  <c:v>0.86464867371649745</c:v>
                </c:pt>
                <c:pt idx="1415">
                  <c:v>0.86959386884608103</c:v>
                </c:pt>
                <c:pt idx="1416">
                  <c:v>0.8559264814089137</c:v>
                </c:pt>
                <c:pt idx="1417">
                  <c:v>0.8559264814089137</c:v>
                </c:pt>
                <c:pt idx="1418">
                  <c:v>0.8559264814089137</c:v>
                </c:pt>
                <c:pt idx="1419">
                  <c:v>0.88119338733003871</c:v>
                </c:pt>
                <c:pt idx="1420">
                  <c:v>0.88605559283138757</c:v>
                </c:pt>
                <c:pt idx="1421">
                  <c:v>0.88202451700388762</c:v>
                </c:pt>
                <c:pt idx="1422">
                  <c:v>0.88342635454578766</c:v>
                </c:pt>
                <c:pt idx="1423">
                  <c:v>0.89623107272640123</c:v>
                </c:pt>
                <c:pt idx="1424">
                  <c:v>0.89623107272640123</c:v>
                </c:pt>
                <c:pt idx="1425">
                  <c:v>0.89623107272640123</c:v>
                </c:pt>
                <c:pt idx="1426">
                  <c:v>0.87918613075923346</c:v>
                </c:pt>
                <c:pt idx="1427">
                  <c:v>0.88531326734571325</c:v>
                </c:pt>
                <c:pt idx="1428">
                  <c:v>0.87397417066755367</c:v>
                </c:pt>
                <c:pt idx="1429">
                  <c:v>0.85871429860196846</c:v>
                </c:pt>
                <c:pt idx="1430">
                  <c:v>0.86770589885343907</c:v>
                </c:pt>
                <c:pt idx="1431">
                  <c:v>0.86770589885343907</c:v>
                </c:pt>
                <c:pt idx="1432">
                  <c:v>0.86770589885343907</c:v>
                </c:pt>
                <c:pt idx="1433">
                  <c:v>0.87758677437815924</c:v>
                </c:pt>
                <c:pt idx="1434">
                  <c:v>0.89713003893288379</c:v>
                </c:pt>
                <c:pt idx="1435">
                  <c:v>0.90697056493559569</c:v>
                </c:pt>
                <c:pt idx="1436">
                  <c:v>0.9091871456642413</c:v>
                </c:pt>
                <c:pt idx="1437">
                  <c:v>0.92225616202394622</c:v>
                </c:pt>
                <c:pt idx="1438">
                  <c:v>0.92225616202394622</c:v>
                </c:pt>
                <c:pt idx="1439">
                  <c:v>0.92225616202394622</c:v>
                </c:pt>
                <c:pt idx="1440">
                  <c:v>0.93508255265524509</c:v>
                </c:pt>
                <c:pt idx="1441">
                  <c:v>0.93213175158508421</c:v>
                </c:pt>
                <c:pt idx="1442">
                  <c:v>0.93806788868747404</c:v>
                </c:pt>
                <c:pt idx="1443">
                  <c:v>0.93595861301953975</c:v>
                </c:pt>
                <c:pt idx="1444">
                  <c:v>0.92664210220657273</c:v>
                </c:pt>
                <c:pt idx="1445">
                  <c:v>0.92664210220657273</c:v>
                </c:pt>
                <c:pt idx="1446">
                  <c:v>0.92664210220657273</c:v>
                </c:pt>
                <c:pt idx="1447">
                  <c:v>0.9123881490106085</c:v>
                </c:pt>
                <c:pt idx="1448">
                  <c:v>0.9123881490106085</c:v>
                </c:pt>
                <c:pt idx="1449">
                  <c:v>0.92228981599208371</c:v>
                </c:pt>
                <c:pt idx="1450">
                  <c:v>0.91886556878377734</c:v>
                </c:pt>
                <c:pt idx="1451">
                  <c:v>0.92538562866317275</c:v>
                </c:pt>
                <c:pt idx="1452">
                  <c:v>0.92538562866317275</c:v>
                </c:pt>
                <c:pt idx="1453">
                  <c:v>0.92538562866317275</c:v>
                </c:pt>
                <c:pt idx="1454">
                  <c:v>0.93572462103165099</c:v>
                </c:pt>
                <c:pt idx="1455">
                  <c:v>0.92958145035563955</c:v>
                </c:pt>
                <c:pt idx="1456">
                  <c:v>0.93527866190413078</c:v>
                </c:pt>
                <c:pt idx="1457">
                  <c:v>0.93410394459746326</c:v>
                </c:pt>
                <c:pt idx="1458">
                  <c:v>0.95177245406850031</c:v>
                </c:pt>
                <c:pt idx="1459">
                  <c:v>0.95177245406850031</c:v>
                </c:pt>
                <c:pt idx="1460">
                  <c:v>0.95177245406850031</c:v>
                </c:pt>
                <c:pt idx="1461">
                  <c:v>0.93694885019720164</c:v>
                </c:pt>
                <c:pt idx="1462">
                  <c:v>0.94869901864324124</c:v>
                </c:pt>
                <c:pt idx="1463">
                  <c:v>0.94746368895416855</c:v>
                </c:pt>
                <c:pt idx="1464">
                  <c:v>0.94907150287697373</c:v>
                </c:pt>
                <c:pt idx="1465">
                  <c:v>0.9470580793486566</c:v>
                </c:pt>
                <c:pt idx="1466">
                  <c:v>0.9470580793486566</c:v>
                </c:pt>
                <c:pt idx="1467">
                  <c:v>0.9470580793486566</c:v>
                </c:pt>
                <c:pt idx="1468">
                  <c:v>0.95567737156518073</c:v>
                </c:pt>
                <c:pt idx="1469">
                  <c:v>0.93823281075122711</c:v>
                </c:pt>
                <c:pt idx="1470">
                  <c:v>0.94622536388573297</c:v>
                </c:pt>
                <c:pt idx="1471">
                  <c:v>0.9362768280271655</c:v>
                </c:pt>
                <c:pt idx="1472">
                  <c:v>0.93997700253444316</c:v>
                </c:pt>
                <c:pt idx="1473">
                  <c:v>0.93997700253444316</c:v>
                </c:pt>
                <c:pt idx="1474">
                  <c:v>0.93997700253444316</c:v>
                </c:pt>
                <c:pt idx="1475">
                  <c:v>0.945985204940332</c:v>
                </c:pt>
                <c:pt idx="1476">
                  <c:v>0.9492965087267734</c:v>
                </c:pt>
                <c:pt idx="1477">
                  <c:v>0.93061133226016524</c:v>
                </c:pt>
                <c:pt idx="1478">
                  <c:v>0.93049944603101653</c:v>
                </c:pt>
                <c:pt idx="1479">
                  <c:v>0.93338452495397695</c:v>
                </c:pt>
                <c:pt idx="1480">
                  <c:v>0.93338452495397695</c:v>
                </c:pt>
                <c:pt idx="1481">
                  <c:v>0.93338452495397695</c:v>
                </c:pt>
                <c:pt idx="1482">
                  <c:v>0.94306717684437846</c:v>
                </c:pt>
                <c:pt idx="1483">
                  <c:v>0.94306717684437846</c:v>
                </c:pt>
                <c:pt idx="1484">
                  <c:v>0.95563931262739166</c:v>
                </c:pt>
                <c:pt idx="1485">
                  <c:v>0.93440542072041344</c:v>
                </c:pt>
                <c:pt idx="1486">
                  <c:v>0.92963325279874154</c:v>
                </c:pt>
                <c:pt idx="1487">
                  <c:v>0.92963325279874154</c:v>
                </c:pt>
                <c:pt idx="1488">
                  <c:v>0.92963325279874154</c:v>
                </c:pt>
                <c:pt idx="1489">
                  <c:v>0.95105550120801885</c:v>
                </c:pt>
                <c:pt idx="1490">
                  <c:v>0.95563614104924266</c:v>
                </c:pt>
                <c:pt idx="1491">
                  <c:v>0.94495021327101059</c:v>
                </c:pt>
                <c:pt idx="1492">
                  <c:v>0.96220835576931218</c:v>
                </c:pt>
                <c:pt idx="1493">
                  <c:v>0.95812124872784477</c:v>
                </c:pt>
                <c:pt idx="1494">
                  <c:v>0.95812124872784477</c:v>
                </c:pt>
                <c:pt idx="1495">
                  <c:v>0.95812124872784477</c:v>
                </c:pt>
                <c:pt idx="1496">
                  <c:v>0.97106763073245117</c:v>
                </c:pt>
                <c:pt idx="1497">
                  <c:v>0.96734930775020911</c:v>
                </c:pt>
                <c:pt idx="1498">
                  <c:v>0.97788247118092653</c:v>
                </c:pt>
                <c:pt idx="1499">
                  <c:v>0.99031170974844462</c:v>
                </c:pt>
                <c:pt idx="1500">
                  <c:v>1.008713910964639</c:v>
                </c:pt>
                <c:pt idx="1501">
                  <c:v>1.008713910964639</c:v>
                </c:pt>
                <c:pt idx="1502">
                  <c:v>1.008713910964639</c:v>
                </c:pt>
                <c:pt idx="1503">
                  <c:v>0.99828188563712073</c:v>
                </c:pt>
                <c:pt idx="1504">
                  <c:v>0.99326850157733149</c:v>
                </c:pt>
                <c:pt idx="1505">
                  <c:v>1.000669026790673</c:v>
                </c:pt>
                <c:pt idx="1506">
                  <c:v>1.0078059586200674</c:v>
                </c:pt>
                <c:pt idx="1507">
                  <c:v>1.0069642570190547</c:v>
                </c:pt>
                <c:pt idx="1508">
                  <c:v>1.0069642570190547</c:v>
                </c:pt>
                <c:pt idx="1509">
                  <c:v>1.0069642570190547</c:v>
                </c:pt>
                <c:pt idx="1510">
                  <c:v>1.0029479818895839</c:v>
                </c:pt>
                <c:pt idx="1511">
                  <c:v>1.0061503948262398</c:v>
                </c:pt>
                <c:pt idx="1512">
                  <c:v>1.0228623210877525</c:v>
                </c:pt>
                <c:pt idx="1513">
                  <c:v>1.0105701651757899</c:v>
                </c:pt>
                <c:pt idx="1514">
                  <c:v>0.9907548496953873</c:v>
                </c:pt>
                <c:pt idx="1515">
                  <c:v>0.9907548496953873</c:v>
                </c:pt>
                <c:pt idx="1516">
                  <c:v>0.9907548496953873</c:v>
                </c:pt>
                <c:pt idx="1517">
                  <c:v>0.9907548496953873</c:v>
                </c:pt>
                <c:pt idx="1518">
                  <c:v>0.97482489364641267</c:v>
                </c:pt>
                <c:pt idx="1519">
                  <c:v>0.98340119335913811</c:v>
                </c:pt>
                <c:pt idx="1520">
                  <c:v>0.97851114844959175</c:v>
                </c:pt>
                <c:pt idx="1521">
                  <c:v>0.99718328620603136</c:v>
                </c:pt>
                <c:pt idx="1522">
                  <c:v>0.99718328620603136</c:v>
                </c:pt>
                <c:pt idx="1523">
                  <c:v>0.99718328620603136</c:v>
                </c:pt>
                <c:pt idx="1524">
                  <c:v>0.98116029719801634</c:v>
                </c:pt>
                <c:pt idx="1525">
                  <c:v>0.96235125298480739</c:v>
                </c:pt>
                <c:pt idx="1526">
                  <c:v>0.94726705110892451</c:v>
                </c:pt>
                <c:pt idx="1527">
                  <c:v>0.94726705110892451</c:v>
                </c:pt>
                <c:pt idx="1528">
                  <c:v>0.95067685001677416</c:v>
                </c:pt>
                <c:pt idx="1529">
                  <c:v>0.95067685001677416</c:v>
                </c:pt>
                <c:pt idx="1530">
                  <c:v>0.95067685001677416</c:v>
                </c:pt>
                <c:pt idx="1531">
                  <c:v>0.96335294308356323</c:v>
                </c:pt>
                <c:pt idx="1532">
                  <c:v>0.96766153199910898</c:v>
                </c:pt>
                <c:pt idx="1533">
                  <c:v>0.95115487732335713</c:v>
                </c:pt>
                <c:pt idx="1534">
                  <c:v>0.955698163021936</c:v>
                </c:pt>
                <c:pt idx="1535">
                  <c:v>0.95524603693690391</c:v>
                </c:pt>
                <c:pt idx="1536">
                  <c:v>0.95524603693690391</c:v>
                </c:pt>
                <c:pt idx="1537">
                  <c:v>0.95524603693690391</c:v>
                </c:pt>
                <c:pt idx="1538">
                  <c:v>0.9479963378844305</c:v>
                </c:pt>
                <c:pt idx="1539">
                  <c:v>0.94550224406773919</c:v>
                </c:pt>
                <c:pt idx="1540">
                  <c:v>0.94670127680688343</c:v>
                </c:pt>
                <c:pt idx="1541">
                  <c:v>0.94684399782359263</c:v>
                </c:pt>
                <c:pt idx="1542">
                  <c:v>0.93602116358859122</c:v>
                </c:pt>
                <c:pt idx="1543">
                  <c:v>0.93602116358859122</c:v>
                </c:pt>
                <c:pt idx="1544">
                  <c:v>0.93602116358859122</c:v>
                </c:pt>
                <c:pt idx="1545">
                  <c:v>0.93602116358859122</c:v>
                </c:pt>
                <c:pt idx="1546">
                  <c:v>0.92190305965668018</c:v>
                </c:pt>
                <c:pt idx="1547">
                  <c:v>0.90125960988179177</c:v>
                </c:pt>
                <c:pt idx="1548">
                  <c:v>0.90290336835695328</c:v>
                </c:pt>
                <c:pt idx="1549">
                  <c:v>0.8826618280130698</c:v>
                </c:pt>
                <c:pt idx="1550">
                  <c:v>0.8826618280130698</c:v>
                </c:pt>
                <c:pt idx="1551">
                  <c:v>0.8826618280130698</c:v>
                </c:pt>
                <c:pt idx="1552">
                  <c:v>0.89121081691395576</c:v>
                </c:pt>
                <c:pt idx="1553">
                  <c:v>0.91373695071790439</c:v>
                </c:pt>
                <c:pt idx="1554">
                  <c:v>0.90753070087648324</c:v>
                </c:pt>
                <c:pt idx="1555">
                  <c:v>0.91462076382878554</c:v>
                </c:pt>
                <c:pt idx="1556">
                  <c:v>0.91564483117337103</c:v>
                </c:pt>
                <c:pt idx="1557">
                  <c:v>0.91564483117337103</c:v>
                </c:pt>
                <c:pt idx="1558">
                  <c:v>0.91564483117337103</c:v>
                </c:pt>
                <c:pt idx="1559">
                  <c:v>0.89779501315147725</c:v>
                </c:pt>
                <c:pt idx="1560">
                  <c:v>0.90788521283403767</c:v>
                </c:pt>
                <c:pt idx="1561">
                  <c:v>0.8860177100923845</c:v>
                </c:pt>
                <c:pt idx="1562">
                  <c:v>0.86069953032451574</c:v>
                </c:pt>
                <c:pt idx="1563">
                  <c:v>0.85625227296434014</c:v>
                </c:pt>
                <c:pt idx="1564">
                  <c:v>0.85625227296434014</c:v>
                </c:pt>
                <c:pt idx="1565">
                  <c:v>0.85625227296434014</c:v>
                </c:pt>
                <c:pt idx="1566">
                  <c:v>0.86126671421684575</c:v>
                </c:pt>
                <c:pt idx="1567">
                  <c:v>0.86171038276014689</c:v>
                </c:pt>
                <c:pt idx="1568">
                  <c:v>0.85092384547507427</c:v>
                </c:pt>
                <c:pt idx="1569">
                  <c:v>0.86656342592462077</c:v>
                </c:pt>
                <c:pt idx="1570">
                  <c:v>0.88066250038763738</c:v>
                </c:pt>
                <c:pt idx="1571">
                  <c:v>0.88066250038763738</c:v>
                </c:pt>
                <c:pt idx="1572">
                  <c:v>0.88066250038763738</c:v>
                </c:pt>
                <c:pt idx="1573">
                  <c:v>0.88742870997115975</c:v>
                </c:pt>
                <c:pt idx="1574">
                  <c:v>0.88924091448579556</c:v>
                </c:pt>
                <c:pt idx="1575">
                  <c:v>0.90397201399441229</c:v>
                </c:pt>
                <c:pt idx="1576">
                  <c:v>0.89898047858409469</c:v>
                </c:pt>
                <c:pt idx="1577">
                  <c:v>0.90888778392672376</c:v>
                </c:pt>
                <c:pt idx="1578">
                  <c:v>0.90888778392672376</c:v>
                </c:pt>
                <c:pt idx="1579">
                  <c:v>0.90888778392672376</c:v>
                </c:pt>
                <c:pt idx="1580">
                  <c:v>0.91201443138537341</c:v>
                </c:pt>
                <c:pt idx="1581">
                  <c:v>0.91290388285740864</c:v>
                </c:pt>
                <c:pt idx="1582">
                  <c:v>0.91401657819138282</c:v>
                </c:pt>
                <c:pt idx="1583">
                  <c:v>0.90355865164231364</c:v>
                </c:pt>
                <c:pt idx="1584">
                  <c:v>0.90280205405496827</c:v>
                </c:pt>
                <c:pt idx="1585">
                  <c:v>0.90280205405496827</c:v>
                </c:pt>
                <c:pt idx="1586">
                  <c:v>0.90280205405496827</c:v>
                </c:pt>
                <c:pt idx="1587">
                  <c:v>0.90379458181684891</c:v>
                </c:pt>
                <c:pt idx="1588">
                  <c:v>0.90355371807630391</c:v>
                </c:pt>
                <c:pt idx="1589">
                  <c:v>0.89219876350739891</c:v>
                </c:pt>
                <c:pt idx="1590">
                  <c:v>0.89219876350739891</c:v>
                </c:pt>
                <c:pt idx="1591">
                  <c:v>0.89219876350739891</c:v>
                </c:pt>
                <c:pt idx="1592">
                  <c:v>0.89219876350739891</c:v>
                </c:pt>
                <c:pt idx="1593">
                  <c:v>0.89219876350739891</c:v>
                </c:pt>
                <c:pt idx="1594">
                  <c:v>0.87276051342916661</c:v>
                </c:pt>
                <c:pt idx="1595">
                  <c:v>0.8499771293975692</c:v>
                </c:pt>
                <c:pt idx="1596">
                  <c:v>0.85474524474716174</c:v>
                </c:pt>
                <c:pt idx="1597">
                  <c:v>0.87011506485524914</c:v>
                </c:pt>
                <c:pt idx="1598">
                  <c:v>0.85971387431529156</c:v>
                </c:pt>
                <c:pt idx="1599">
                  <c:v>0.85971387431529156</c:v>
                </c:pt>
                <c:pt idx="1600">
                  <c:v>0.85971387431529156</c:v>
                </c:pt>
                <c:pt idx="1601">
                  <c:v>0.86749446031016619</c:v>
                </c:pt>
                <c:pt idx="1602">
                  <c:v>0.86867851615249525</c:v>
                </c:pt>
                <c:pt idx="1603">
                  <c:v>0.86273374530958835</c:v>
                </c:pt>
                <c:pt idx="1604">
                  <c:v>0.83960007809130199</c:v>
                </c:pt>
                <c:pt idx="1605">
                  <c:v>0.82650762729305105</c:v>
                </c:pt>
                <c:pt idx="1606">
                  <c:v>0.82650762729305105</c:v>
                </c:pt>
                <c:pt idx="1607">
                  <c:v>0.82650762729305105</c:v>
                </c:pt>
                <c:pt idx="1608">
                  <c:v>0.84156487075466624</c:v>
                </c:pt>
                <c:pt idx="1609">
                  <c:v>0.84037200497303455</c:v>
                </c:pt>
                <c:pt idx="1610">
                  <c:v>0.85617157392032428</c:v>
                </c:pt>
                <c:pt idx="1611">
                  <c:v>0.85591291410238701</c:v>
                </c:pt>
                <c:pt idx="1612">
                  <c:v>0.85941486497534625</c:v>
                </c:pt>
                <c:pt idx="1613">
                  <c:v>0.85941486497534625</c:v>
                </c:pt>
                <c:pt idx="1614">
                  <c:v>0.85941486497534625</c:v>
                </c:pt>
                <c:pt idx="1615">
                  <c:v>0.87117296236675856</c:v>
                </c:pt>
                <c:pt idx="1616">
                  <c:v>0.86732231409618477</c:v>
                </c:pt>
                <c:pt idx="1617">
                  <c:v>0.84358093726477468</c:v>
                </c:pt>
                <c:pt idx="1618">
                  <c:v>0.8414903386681627</c:v>
                </c:pt>
                <c:pt idx="1619">
                  <c:v>0.86366513209270579</c:v>
                </c:pt>
                <c:pt idx="1620">
                  <c:v>0.86366513209270579</c:v>
                </c:pt>
                <c:pt idx="1621">
                  <c:v>0.86366513209270579</c:v>
                </c:pt>
                <c:pt idx="1622">
                  <c:v>0.84621775209817496</c:v>
                </c:pt>
                <c:pt idx="1623">
                  <c:v>0.83951444548127641</c:v>
                </c:pt>
                <c:pt idx="1624">
                  <c:v>0.84648839343356452</c:v>
                </c:pt>
                <c:pt idx="1625">
                  <c:v>0.84821637492846325</c:v>
                </c:pt>
                <c:pt idx="1626">
                  <c:v>0.8605592760908114</c:v>
                </c:pt>
                <c:pt idx="1627">
                  <c:v>0.8605592760908114</c:v>
                </c:pt>
                <c:pt idx="1628">
                  <c:v>0.8605592760908114</c:v>
                </c:pt>
                <c:pt idx="1629">
                  <c:v>0.87999488318725283</c:v>
                </c:pt>
                <c:pt idx="1630">
                  <c:v>0.87153046970367598</c:v>
                </c:pt>
                <c:pt idx="1631">
                  <c:v>0.84577038338036659</c:v>
                </c:pt>
                <c:pt idx="1632">
                  <c:v>0.83724060014716117</c:v>
                </c:pt>
                <c:pt idx="1633">
                  <c:v>0.85477942731165757</c:v>
                </c:pt>
                <c:pt idx="1634">
                  <c:v>0.85477942731165757</c:v>
                </c:pt>
                <c:pt idx="1635">
                  <c:v>0.85477942731165757</c:v>
                </c:pt>
                <c:pt idx="1636">
                  <c:v>0.88112449360468892</c:v>
                </c:pt>
                <c:pt idx="1637">
                  <c:v>0.88112449360468892</c:v>
                </c:pt>
                <c:pt idx="1638">
                  <c:v>0.88112449360468892</c:v>
                </c:pt>
                <c:pt idx="1639">
                  <c:v>0.89145696661808271</c:v>
                </c:pt>
                <c:pt idx="1640">
                  <c:v>0.88354229334701562</c:v>
                </c:pt>
                <c:pt idx="1641">
                  <c:v>0.88354229334701562</c:v>
                </c:pt>
                <c:pt idx="1642">
                  <c:v>0.88354229334701562</c:v>
                </c:pt>
                <c:pt idx="1643">
                  <c:v>0.89667227448669762</c:v>
                </c:pt>
                <c:pt idx="1644">
                  <c:v>0.89667227448669762</c:v>
                </c:pt>
                <c:pt idx="1645">
                  <c:v>0.89667227448669762</c:v>
                </c:pt>
                <c:pt idx="1646">
                  <c:v>0.883123468832549</c:v>
                </c:pt>
                <c:pt idx="1647">
                  <c:v>0.87484424027312213</c:v>
                </c:pt>
                <c:pt idx="1648">
                  <c:v>0.87484424027312213</c:v>
                </c:pt>
                <c:pt idx="1649">
                  <c:v>0.87484424027312213</c:v>
                </c:pt>
                <c:pt idx="1650">
                  <c:v>0.85448834691708497</c:v>
                </c:pt>
                <c:pt idx="1651">
                  <c:v>0.85832842326049497</c:v>
                </c:pt>
                <c:pt idx="1652">
                  <c:v>0.82826661977429639</c:v>
                </c:pt>
                <c:pt idx="1653">
                  <c:v>0.82846343381832643</c:v>
                </c:pt>
                <c:pt idx="1654">
                  <c:v>0.84578906045168922</c:v>
                </c:pt>
                <c:pt idx="1655">
                  <c:v>0.84578906045168922</c:v>
                </c:pt>
                <c:pt idx="1656">
                  <c:v>0.84578906045168922</c:v>
                </c:pt>
                <c:pt idx="1657">
                  <c:v>0.87855903927964296</c:v>
                </c:pt>
                <c:pt idx="1658">
                  <c:v>0.87303115476455617</c:v>
                </c:pt>
                <c:pt idx="1659">
                  <c:v>0.88440284821813686</c:v>
                </c:pt>
                <c:pt idx="1660">
                  <c:v>0.88582301043378719</c:v>
                </c:pt>
                <c:pt idx="1661">
                  <c:v>0.91610841017949729</c:v>
                </c:pt>
                <c:pt idx="1662">
                  <c:v>0.91610841017949729</c:v>
                </c:pt>
                <c:pt idx="1663">
                  <c:v>0.91610841017949729</c:v>
                </c:pt>
                <c:pt idx="1664">
                  <c:v>0.90613520649088142</c:v>
                </c:pt>
                <c:pt idx="1665">
                  <c:v>0.92188050621206441</c:v>
                </c:pt>
                <c:pt idx="1666">
                  <c:v>0.90940545596017064</c:v>
                </c:pt>
                <c:pt idx="1667">
                  <c:v>0.92110699354125725</c:v>
                </c:pt>
                <c:pt idx="1668">
                  <c:v>0.96423023683936027</c:v>
                </c:pt>
                <c:pt idx="1669">
                  <c:v>0.96423023683936027</c:v>
                </c:pt>
                <c:pt idx="1670">
                  <c:v>0.96423023683936027</c:v>
                </c:pt>
                <c:pt idx="1671">
                  <c:v>0.96418301556469599</c:v>
                </c:pt>
                <c:pt idx="1672">
                  <c:v>0.97082835278098079</c:v>
                </c:pt>
                <c:pt idx="1673">
                  <c:v>0.97897472745571756</c:v>
                </c:pt>
                <c:pt idx="1674">
                  <c:v>0.9762630281382414</c:v>
                </c:pt>
                <c:pt idx="1675">
                  <c:v>0.98819397653877916</c:v>
                </c:pt>
                <c:pt idx="1676">
                  <c:v>0.98819397653877916</c:v>
                </c:pt>
                <c:pt idx="1677">
                  <c:v>0.98819397653877916</c:v>
                </c:pt>
                <c:pt idx="1678">
                  <c:v>0.94095102942378761</c:v>
                </c:pt>
                <c:pt idx="1679">
                  <c:v>0.94095102942378761</c:v>
                </c:pt>
                <c:pt idx="1680">
                  <c:v>0.91732365320695886</c:v>
                </c:pt>
                <c:pt idx="1681">
                  <c:v>0.90314194151327964</c:v>
                </c:pt>
                <c:pt idx="1682">
                  <c:v>0.91222340314564165</c:v>
                </c:pt>
                <c:pt idx="1683">
                  <c:v>0.91222340314564165</c:v>
                </c:pt>
                <c:pt idx="1684">
                  <c:v>0.91222340314564165</c:v>
                </c:pt>
                <c:pt idx="1685">
                  <c:v>0.91352075480740746</c:v>
                </c:pt>
                <c:pt idx="1686">
                  <c:v>0.93348161048509626</c:v>
                </c:pt>
                <c:pt idx="1687">
                  <c:v>0.92459026734289396</c:v>
                </c:pt>
                <c:pt idx="1688">
                  <c:v>0.92901479505966778</c:v>
                </c:pt>
                <c:pt idx="1689">
                  <c:v>0.93778015606983656</c:v>
                </c:pt>
                <c:pt idx="1690">
                  <c:v>0.93778015606983656</c:v>
                </c:pt>
                <c:pt idx="1691">
                  <c:v>0.93778015606983656</c:v>
                </c:pt>
                <c:pt idx="1692">
                  <c:v>0.92745860738117858</c:v>
                </c:pt>
                <c:pt idx="1693">
                  <c:v>0.94615964173853229</c:v>
                </c:pt>
                <c:pt idx="1694">
                  <c:v>0.958232253963063</c:v>
                </c:pt>
                <c:pt idx="1695">
                  <c:v>0.95054329133693993</c:v>
                </c:pt>
                <c:pt idx="1696">
                  <c:v>0.96254930042033982</c:v>
                </c:pt>
                <c:pt idx="1697">
                  <c:v>0.96254930042033982</c:v>
                </c:pt>
                <c:pt idx="1698">
                  <c:v>0.96254930042033982</c:v>
                </c:pt>
                <c:pt idx="1699">
                  <c:v>0.9221685912272739</c:v>
                </c:pt>
                <c:pt idx="1700">
                  <c:v>0.89948282132315416</c:v>
                </c:pt>
                <c:pt idx="1701">
                  <c:v>0.92204877605275248</c:v>
                </c:pt>
                <c:pt idx="1702">
                  <c:v>0.8898683583629583</c:v>
                </c:pt>
                <c:pt idx="1703">
                  <c:v>0.91518935731140383</c:v>
                </c:pt>
                <c:pt idx="1704">
                  <c:v>0.91518935731140383</c:v>
                </c:pt>
                <c:pt idx="1705">
                  <c:v>0.91518935731140383</c:v>
                </c:pt>
                <c:pt idx="1706">
                  <c:v>0.8935614849187935</c:v>
                </c:pt>
                <c:pt idx="1707">
                  <c:v>0.92347598621984528</c:v>
                </c:pt>
                <c:pt idx="1708">
                  <c:v>0.92385305162201548</c:v>
                </c:pt>
                <c:pt idx="1709">
                  <c:v>0.95680469139839819</c:v>
                </c:pt>
                <c:pt idx="1710">
                  <c:v>0.98184641527093741</c:v>
                </c:pt>
                <c:pt idx="1711">
                  <c:v>0.98184641527093741</c:v>
                </c:pt>
                <c:pt idx="1712">
                  <c:v>0.98184641527093741</c:v>
                </c:pt>
                <c:pt idx="1713">
                  <c:v>0.95672998311310831</c:v>
                </c:pt>
                <c:pt idx="1714">
                  <c:v>0.98909664291976884</c:v>
                </c:pt>
                <c:pt idx="1715">
                  <c:v>1.0222253624761426</c:v>
                </c:pt>
                <c:pt idx="1716">
                  <c:v>1.0211870230298858</c:v>
                </c:pt>
                <c:pt idx="1717">
                  <c:v>0.97458350130950921</c:v>
                </c:pt>
                <c:pt idx="1718">
                  <c:v>0.97458350130950921</c:v>
                </c:pt>
                <c:pt idx="1719">
                  <c:v>0.97458350130950921</c:v>
                </c:pt>
                <c:pt idx="1720">
                  <c:v>1.0090469266702939</c:v>
                </c:pt>
                <c:pt idx="1721">
                  <c:v>1.0053634910476921</c:v>
                </c:pt>
                <c:pt idx="1722">
                  <c:v>1.0120211621790012</c:v>
                </c:pt>
                <c:pt idx="1723">
                  <c:v>1.0063752244772532</c:v>
                </c:pt>
                <c:pt idx="1724">
                  <c:v>0.96098025023046807</c:v>
                </c:pt>
                <c:pt idx="1725">
                  <c:v>0.96098025023046807</c:v>
                </c:pt>
                <c:pt idx="1726">
                  <c:v>0.96098025023046807</c:v>
                </c:pt>
                <c:pt idx="1727">
                  <c:v>0.94299070657122797</c:v>
                </c:pt>
                <c:pt idx="1728">
                  <c:v>0.93135911990820741</c:v>
                </c:pt>
                <c:pt idx="1729">
                  <c:v>0.95351699824928882</c:v>
                </c:pt>
                <c:pt idx="1730">
                  <c:v>0.96249203581487008</c:v>
                </c:pt>
                <c:pt idx="1731">
                  <c:v>1.0080751903651683</c:v>
                </c:pt>
                <c:pt idx="1732">
                  <c:v>1.0080751903651683</c:v>
                </c:pt>
                <c:pt idx="1733">
                  <c:v>1.0080751903651683</c:v>
                </c:pt>
                <c:pt idx="1734">
                  <c:v>0.98604505614398119</c:v>
                </c:pt>
                <c:pt idx="1735">
                  <c:v>1.0012393822611518</c:v>
                </c:pt>
                <c:pt idx="1736">
                  <c:v>0.99623674632731252</c:v>
                </c:pt>
                <c:pt idx="1737">
                  <c:v>1.0011282008271474</c:v>
                </c:pt>
                <c:pt idx="1738">
                  <c:v>1.018229878803427</c:v>
                </c:pt>
                <c:pt idx="1739">
                  <c:v>1.018229878803427</c:v>
                </c:pt>
                <c:pt idx="1740">
                  <c:v>1.018229878803427</c:v>
                </c:pt>
                <c:pt idx="1741">
                  <c:v>1.0285512512932993</c:v>
                </c:pt>
                <c:pt idx="1742">
                  <c:v>1.0414791324253694</c:v>
                </c:pt>
                <c:pt idx="1743">
                  <c:v>1.0415931330399506</c:v>
                </c:pt>
                <c:pt idx="1744">
                  <c:v>1.0210501165731167</c:v>
                </c:pt>
                <c:pt idx="1745">
                  <c:v>1.0030611015102349</c:v>
                </c:pt>
                <c:pt idx="1746">
                  <c:v>1.0030611015102349</c:v>
                </c:pt>
                <c:pt idx="1747">
                  <c:v>1.0030611015102349</c:v>
                </c:pt>
                <c:pt idx="1748">
                  <c:v>1.0278959680079389</c:v>
                </c:pt>
                <c:pt idx="1749">
                  <c:v>1.0254533242367774</c:v>
                </c:pt>
                <c:pt idx="1750">
                  <c:v>1.0338699878493316</c:v>
                </c:pt>
                <c:pt idx="1751">
                  <c:v>1.0429690693602998</c:v>
                </c:pt>
                <c:pt idx="1752">
                  <c:v>1.0692091211768386</c:v>
                </c:pt>
                <c:pt idx="1753">
                  <c:v>1.0692091211768386</c:v>
                </c:pt>
                <c:pt idx="1754">
                  <c:v>1.0692091211768386</c:v>
                </c:pt>
                <c:pt idx="1755">
                  <c:v>1.0712889716475009</c:v>
                </c:pt>
                <c:pt idx="1756">
                  <c:v>1.0895611381595824</c:v>
                </c:pt>
                <c:pt idx="1757">
                  <c:v>1.0905996538046252</c:v>
                </c:pt>
                <c:pt idx="1758">
                  <c:v>1.0773017552218271</c:v>
                </c:pt>
                <c:pt idx="1759">
                  <c:v>1.0798897629914888</c:v>
                </c:pt>
                <c:pt idx="1760">
                  <c:v>1.0798897629914888</c:v>
                </c:pt>
                <c:pt idx="1761">
                  <c:v>1.0798897629914888</c:v>
                </c:pt>
                <c:pt idx="1762">
                  <c:v>1.0623178104552131</c:v>
                </c:pt>
                <c:pt idx="1763">
                  <c:v>1.073941644371647</c:v>
                </c:pt>
                <c:pt idx="1764">
                  <c:v>1.054046687039945</c:v>
                </c:pt>
                <c:pt idx="1765">
                  <c:v>1.0525264439138118</c:v>
                </c:pt>
                <c:pt idx="1766">
                  <c:v>1.0291298881067228</c:v>
                </c:pt>
                <c:pt idx="1767">
                  <c:v>1.0291298881067228</c:v>
                </c:pt>
                <c:pt idx="1768">
                  <c:v>1.0291298881067228</c:v>
                </c:pt>
                <c:pt idx="1769">
                  <c:v>1.0394338169167749</c:v>
                </c:pt>
                <c:pt idx="1770">
                  <c:v>1.0374274413399001</c:v>
                </c:pt>
                <c:pt idx="1771">
                  <c:v>1.0298693944118202</c:v>
                </c:pt>
                <c:pt idx="1772">
                  <c:v>1.0142128988788119</c:v>
                </c:pt>
                <c:pt idx="1773">
                  <c:v>1.0036925979594771</c:v>
                </c:pt>
                <c:pt idx="1774">
                  <c:v>1.0036925979594771</c:v>
                </c:pt>
                <c:pt idx="1775">
                  <c:v>1.0036925979594771</c:v>
                </c:pt>
                <c:pt idx="1776">
                  <c:v>0.98284405279761389</c:v>
                </c:pt>
                <c:pt idx="1777">
                  <c:v>0.97933382058170981</c:v>
                </c:pt>
                <c:pt idx="1778">
                  <c:v>0.99450717904333918</c:v>
                </c:pt>
                <c:pt idx="1779">
                  <c:v>0.9975198258874074</c:v>
                </c:pt>
                <c:pt idx="1780">
                  <c:v>0.9791882803844234</c:v>
                </c:pt>
                <c:pt idx="1781">
                  <c:v>0.9791882803844234</c:v>
                </c:pt>
                <c:pt idx="1782">
                  <c:v>0.9791882803844234</c:v>
                </c:pt>
                <c:pt idx="1783">
                  <c:v>0.99002662011259801</c:v>
                </c:pt>
                <c:pt idx="1784">
                  <c:v>0.99529725440003602</c:v>
                </c:pt>
                <c:pt idx="1785">
                  <c:v>0.99027417940701357</c:v>
                </c:pt>
                <c:pt idx="1786">
                  <c:v>0.99757286172201176</c:v>
                </c:pt>
                <c:pt idx="1787">
                  <c:v>0.98500178313171505</c:v>
                </c:pt>
                <c:pt idx="1788">
                  <c:v>0.98500178313171505</c:v>
                </c:pt>
                <c:pt idx="1789">
                  <c:v>0.98500178313171505</c:v>
                </c:pt>
                <c:pt idx="1790">
                  <c:v>0.98370742684931189</c:v>
                </c:pt>
                <c:pt idx="1791">
                  <c:v>1.0021829267605078</c:v>
                </c:pt>
                <c:pt idx="1792">
                  <c:v>1.006426498323997</c:v>
                </c:pt>
                <c:pt idx="1793">
                  <c:v>1.0165915824906333</c:v>
                </c:pt>
                <c:pt idx="1794">
                  <c:v>1.018800410472692</c:v>
                </c:pt>
                <c:pt idx="1795">
                  <c:v>1.018800410472692</c:v>
                </c:pt>
                <c:pt idx="1796">
                  <c:v>1.018800410472692</c:v>
                </c:pt>
                <c:pt idx="1797">
                  <c:v>1.021557569076972</c:v>
                </c:pt>
                <c:pt idx="1798">
                  <c:v>1.0117327247662193</c:v>
                </c:pt>
                <c:pt idx="1799">
                  <c:v>1.0216590595777431</c:v>
                </c:pt>
                <c:pt idx="1800">
                  <c:v>1.0155026739927773</c:v>
                </c:pt>
                <c:pt idx="1801">
                  <c:v>1.0045603769808269</c:v>
                </c:pt>
                <c:pt idx="1802">
                  <c:v>1.0045603769808269</c:v>
                </c:pt>
                <c:pt idx="1803">
                  <c:v>1.0045603769808269</c:v>
                </c:pt>
                <c:pt idx="1804">
                  <c:v>0.98032617214480455</c:v>
                </c:pt>
                <c:pt idx="1805">
                  <c:v>0.98173311945150032</c:v>
                </c:pt>
                <c:pt idx="1806">
                  <c:v>0.98624821334430923</c:v>
                </c:pt>
                <c:pt idx="1807">
                  <c:v>0.9822021606199941</c:v>
                </c:pt>
                <c:pt idx="1808">
                  <c:v>0.96532143592143516</c:v>
                </c:pt>
                <c:pt idx="1809">
                  <c:v>0.96532143592143516</c:v>
                </c:pt>
                <c:pt idx="1810">
                  <c:v>0.96532143592143516</c:v>
                </c:pt>
                <c:pt idx="1811">
                  <c:v>0.9619176277723116</c:v>
                </c:pt>
                <c:pt idx="1812">
                  <c:v>0.94503672687496665</c:v>
                </c:pt>
                <c:pt idx="1813">
                  <c:v>0.94503672687496665</c:v>
                </c:pt>
                <c:pt idx="1814">
                  <c:v>0.94798171338518744</c:v>
                </c:pt>
                <c:pt idx="1815">
                  <c:v>0.95245839594263526</c:v>
                </c:pt>
                <c:pt idx="1816">
                  <c:v>0.95245839594263526</c:v>
                </c:pt>
                <c:pt idx="1817">
                  <c:v>0.95245839594263526</c:v>
                </c:pt>
                <c:pt idx="1818">
                  <c:v>0.94926355955378017</c:v>
                </c:pt>
                <c:pt idx="1819">
                  <c:v>0.93436066622875391</c:v>
                </c:pt>
                <c:pt idx="1820">
                  <c:v>0.93687519910462824</c:v>
                </c:pt>
                <c:pt idx="1821">
                  <c:v>0.93681758210158639</c:v>
                </c:pt>
                <c:pt idx="1822">
                  <c:v>0.93662517302720782</c:v>
                </c:pt>
                <c:pt idx="1823">
                  <c:v>0.93662517302720782</c:v>
                </c:pt>
                <c:pt idx="1824">
                  <c:v>0.93662517302720782</c:v>
                </c:pt>
                <c:pt idx="1825">
                  <c:v>0.94278243960610397</c:v>
                </c:pt>
                <c:pt idx="1826">
                  <c:v>0.94135505324022517</c:v>
                </c:pt>
                <c:pt idx="1827">
                  <c:v>0.95642075424357142</c:v>
                </c:pt>
                <c:pt idx="1828">
                  <c:v>0.95517450022976325</c:v>
                </c:pt>
                <c:pt idx="1829">
                  <c:v>0.96271827505617213</c:v>
                </c:pt>
                <c:pt idx="1830">
                  <c:v>0.96271827505617213</c:v>
                </c:pt>
                <c:pt idx="1831">
                  <c:v>0.96271827505617213</c:v>
                </c:pt>
                <c:pt idx="1832">
                  <c:v>0.97266205354751578</c:v>
                </c:pt>
                <c:pt idx="1833">
                  <c:v>0.97266205354751578</c:v>
                </c:pt>
                <c:pt idx="1834">
                  <c:v>0.95675852731645006</c:v>
                </c:pt>
                <c:pt idx="1835">
                  <c:v>0.9625660393050155</c:v>
                </c:pt>
                <c:pt idx="1836">
                  <c:v>0.96568634360736705</c:v>
                </c:pt>
                <c:pt idx="1837">
                  <c:v>0.96568634360736705</c:v>
                </c:pt>
                <c:pt idx="1838">
                  <c:v>0.96568634360736705</c:v>
                </c:pt>
                <c:pt idx="1839">
                  <c:v>0.97089830369904684</c:v>
                </c:pt>
                <c:pt idx="1840">
                  <c:v>0.97089830369904684</c:v>
                </c:pt>
                <c:pt idx="1841">
                  <c:v>0.96212184216535601</c:v>
                </c:pt>
                <c:pt idx="1842">
                  <c:v>0.95628649076859318</c:v>
                </c:pt>
                <c:pt idx="1843">
                  <c:v>0.93612053970392961</c:v>
                </c:pt>
                <c:pt idx="1844">
                  <c:v>0.93612053970392961</c:v>
                </c:pt>
                <c:pt idx="1845">
                  <c:v>0.93612053970392961</c:v>
                </c:pt>
                <c:pt idx="1846">
                  <c:v>0.90845962087659604</c:v>
                </c:pt>
                <c:pt idx="1847">
                  <c:v>0.91329081539159829</c:v>
                </c:pt>
                <c:pt idx="1848">
                  <c:v>0.91680421918565147</c:v>
                </c:pt>
                <c:pt idx="1849">
                  <c:v>0.90928845996622631</c:v>
                </c:pt>
                <c:pt idx="1850">
                  <c:v>0.90283095065588226</c:v>
                </c:pt>
                <c:pt idx="1851">
                  <c:v>0.90283095065588226</c:v>
                </c:pt>
                <c:pt idx="1852">
                  <c:v>0.90283095065588226</c:v>
                </c:pt>
                <c:pt idx="1853">
                  <c:v>0.92045082926196653</c:v>
                </c:pt>
                <c:pt idx="1854">
                  <c:v>0.92750600485462897</c:v>
                </c:pt>
                <c:pt idx="1855">
                  <c:v>0.91929919399627313</c:v>
                </c:pt>
                <c:pt idx="1856">
                  <c:v>0.93267144846678862</c:v>
                </c:pt>
                <c:pt idx="1857">
                  <c:v>0.92727095567402384</c:v>
                </c:pt>
                <c:pt idx="1858">
                  <c:v>0.92727095567402384</c:v>
                </c:pt>
                <c:pt idx="1859">
                  <c:v>0.92727095567402384</c:v>
                </c:pt>
                <c:pt idx="1860">
                  <c:v>0.93043918604618381</c:v>
                </c:pt>
                <c:pt idx="1861">
                  <c:v>0.9198170422285058</c:v>
                </c:pt>
                <c:pt idx="1862">
                  <c:v>0.92268591086314855</c:v>
                </c:pt>
                <c:pt idx="1863">
                  <c:v>0.94007514525827918</c:v>
                </c:pt>
                <c:pt idx="1864">
                  <c:v>0.95104633887114365</c:v>
                </c:pt>
                <c:pt idx="1865">
                  <c:v>0.95104633887114365</c:v>
                </c:pt>
                <c:pt idx="1866">
                  <c:v>0.95104633887114365</c:v>
                </c:pt>
                <c:pt idx="1867">
                  <c:v>0.94892807706512028</c:v>
                </c:pt>
                <c:pt idx="1868">
                  <c:v>0.95874234944870917</c:v>
                </c:pt>
                <c:pt idx="1869">
                  <c:v>0.94984290116234804</c:v>
                </c:pt>
                <c:pt idx="1870">
                  <c:v>0.95240553630681701</c:v>
                </c:pt>
                <c:pt idx="1871">
                  <c:v>0.93562154474180526</c:v>
                </c:pt>
                <c:pt idx="1872">
                  <c:v>0.93562154474180526</c:v>
                </c:pt>
                <c:pt idx="1873">
                  <c:v>0.93562154474180526</c:v>
                </c:pt>
                <c:pt idx="1874">
                  <c:v>0.94129567424932281</c:v>
                </c:pt>
                <c:pt idx="1875">
                  <c:v>0.95240271712623992</c:v>
                </c:pt>
                <c:pt idx="1876">
                  <c:v>0.94759249026677894</c:v>
                </c:pt>
                <c:pt idx="1877">
                  <c:v>0.94171502736014745</c:v>
                </c:pt>
                <c:pt idx="1878">
                  <c:v>0.933506630712717</c:v>
                </c:pt>
                <c:pt idx="1879">
                  <c:v>0.933506630712717</c:v>
                </c:pt>
                <c:pt idx="1880">
                  <c:v>0.933506630712717</c:v>
                </c:pt>
                <c:pt idx="1881">
                  <c:v>0.90965601063394919</c:v>
                </c:pt>
                <c:pt idx="1882">
                  <c:v>0.90965601063394919</c:v>
                </c:pt>
                <c:pt idx="1883">
                  <c:v>0.91339001530815056</c:v>
                </c:pt>
                <c:pt idx="1884">
                  <c:v>0.90537420393388457</c:v>
                </c:pt>
                <c:pt idx="1885">
                  <c:v>0.90565030743164188</c:v>
                </c:pt>
                <c:pt idx="1886">
                  <c:v>0.90565030743164188</c:v>
                </c:pt>
                <c:pt idx="1887">
                  <c:v>0.90565030743164188</c:v>
                </c:pt>
                <c:pt idx="1888">
                  <c:v>0.91301717867684573</c:v>
                </c:pt>
                <c:pt idx="1889">
                  <c:v>0.90865167755340237</c:v>
                </c:pt>
                <c:pt idx="1890">
                  <c:v>0.91582596352544177</c:v>
                </c:pt>
                <c:pt idx="1891">
                  <c:v>0.9182044709384769</c:v>
                </c:pt>
                <c:pt idx="1892">
                  <c:v>0.9182044709384769</c:v>
                </c:pt>
                <c:pt idx="1893">
                  <c:v>0.9182044709384769</c:v>
                </c:pt>
                <c:pt idx="1894">
                  <c:v>0.9182044709384769</c:v>
                </c:pt>
                <c:pt idx="1895">
                  <c:v>0.9182044709384769</c:v>
                </c:pt>
                <c:pt idx="1896">
                  <c:v>0.90214765176353839</c:v>
                </c:pt>
                <c:pt idx="1897">
                  <c:v>0.88899952214889211</c:v>
                </c:pt>
                <c:pt idx="1898">
                  <c:v>0.90912494749276174</c:v>
                </c:pt>
                <c:pt idx="1899">
                  <c:v>0.91389535342657313</c:v>
                </c:pt>
                <c:pt idx="1900">
                  <c:v>0.91389535342657313</c:v>
                </c:pt>
                <c:pt idx="1901">
                  <c:v>0.91389535342657313</c:v>
                </c:pt>
                <c:pt idx="1902">
                  <c:v>0.9008599910350058</c:v>
                </c:pt>
                <c:pt idx="1903">
                  <c:v>0.90188053440387006</c:v>
                </c:pt>
                <c:pt idx="1904">
                  <c:v>0.90969794594503162</c:v>
                </c:pt>
                <c:pt idx="1905">
                  <c:v>0.91896970226633923</c:v>
                </c:pt>
                <c:pt idx="1906">
                  <c:v>0.90005476258270756</c:v>
                </c:pt>
                <c:pt idx="1907">
                  <c:v>0.90005476258270756</c:v>
                </c:pt>
                <c:pt idx="1908">
                  <c:v>0.90005476258270756</c:v>
                </c:pt>
                <c:pt idx="1909">
                  <c:v>0.90580641955609176</c:v>
                </c:pt>
                <c:pt idx="1910">
                  <c:v>0.91096622480709755</c:v>
                </c:pt>
                <c:pt idx="1911">
                  <c:v>0.88575781688294486</c:v>
                </c:pt>
                <c:pt idx="1912">
                  <c:v>0.8883047703354543</c:v>
                </c:pt>
                <c:pt idx="1913">
                  <c:v>0.8769071756603225</c:v>
                </c:pt>
                <c:pt idx="1914">
                  <c:v>0.8769071756603225</c:v>
                </c:pt>
                <c:pt idx="1915">
                  <c:v>0.8769071756603225</c:v>
                </c:pt>
                <c:pt idx="1916">
                  <c:v>0.87477041298176272</c:v>
                </c:pt>
                <c:pt idx="1917">
                  <c:v>0.8451482254667857</c:v>
                </c:pt>
                <c:pt idx="1918">
                  <c:v>0.84892821802414897</c:v>
                </c:pt>
                <c:pt idx="1919">
                  <c:v>0.84563823429082097</c:v>
                </c:pt>
                <c:pt idx="1920">
                  <c:v>0.8348464110421665</c:v>
                </c:pt>
                <c:pt idx="1921">
                  <c:v>0.8348464110421665</c:v>
                </c:pt>
                <c:pt idx="1922">
                  <c:v>0.8348464110421665</c:v>
                </c:pt>
                <c:pt idx="1923">
                  <c:v>0.83304107828018703</c:v>
                </c:pt>
                <c:pt idx="1924">
                  <c:v>0.82050893962160953</c:v>
                </c:pt>
                <c:pt idx="1925">
                  <c:v>0.81317431275425478</c:v>
                </c:pt>
                <c:pt idx="1926">
                  <c:v>0.7949701589735928</c:v>
                </c:pt>
                <c:pt idx="1927">
                  <c:v>0.79228947064246313</c:v>
                </c:pt>
                <c:pt idx="1928">
                  <c:v>0.79228947064246313</c:v>
                </c:pt>
                <c:pt idx="1929">
                  <c:v>0.79228947064246313</c:v>
                </c:pt>
                <c:pt idx="1930">
                  <c:v>0.80071476799553454</c:v>
                </c:pt>
                <c:pt idx="1931">
                  <c:v>0.80807952485530554</c:v>
                </c:pt>
                <c:pt idx="1932">
                  <c:v>0.80518651698697252</c:v>
                </c:pt>
                <c:pt idx="1933">
                  <c:v>0.80228945654656014</c:v>
                </c:pt>
                <c:pt idx="1934">
                  <c:v>0.8148148996512673</c:v>
                </c:pt>
                <c:pt idx="1935">
                  <c:v>0.8148148996512673</c:v>
                </c:pt>
                <c:pt idx="1936">
                  <c:v>0.8148148996512673</c:v>
                </c:pt>
                <c:pt idx="1937">
                  <c:v>0.82977523378054929</c:v>
                </c:pt>
                <c:pt idx="1938">
                  <c:v>0.82089252437886406</c:v>
                </c:pt>
                <c:pt idx="1939">
                  <c:v>0.82979761102637906</c:v>
                </c:pt>
                <c:pt idx="1940">
                  <c:v>0.82979761102637906</c:v>
                </c:pt>
                <c:pt idx="1941">
                  <c:v>0.82979761102637906</c:v>
                </c:pt>
                <c:pt idx="1942">
                  <c:v>0.82979761102637906</c:v>
                </c:pt>
                <c:pt idx="1943">
                  <c:v>0.82979761102637906</c:v>
                </c:pt>
                <c:pt idx="1944">
                  <c:v>0.83882515583020645</c:v>
                </c:pt>
                <c:pt idx="1945">
                  <c:v>0.8210724233394322</c:v>
                </c:pt>
                <c:pt idx="1946">
                  <c:v>0.82312866317276234</c:v>
                </c:pt>
                <c:pt idx="1947">
                  <c:v>0.83506771671745894</c:v>
                </c:pt>
                <c:pt idx="1948">
                  <c:v>0.8348340771271423</c:v>
                </c:pt>
                <c:pt idx="1949">
                  <c:v>0.8348340771271423</c:v>
                </c:pt>
                <c:pt idx="1950">
                  <c:v>0.8348340771271423</c:v>
                </c:pt>
                <c:pt idx="1951">
                  <c:v>0.83321956765046667</c:v>
                </c:pt>
                <c:pt idx="1952">
                  <c:v>0.83079190077612042</c:v>
                </c:pt>
                <c:pt idx="1953">
                  <c:v>0.82108211427266542</c:v>
                </c:pt>
                <c:pt idx="1954">
                  <c:v>0.83828915912300928</c:v>
                </c:pt>
                <c:pt idx="1955">
                  <c:v>0.84929770687851869</c:v>
                </c:pt>
                <c:pt idx="1956">
                  <c:v>0.84929770687851869</c:v>
                </c:pt>
                <c:pt idx="1957">
                  <c:v>0.84929770687851869</c:v>
                </c:pt>
                <c:pt idx="1958">
                  <c:v>0.8424562604133482</c:v>
                </c:pt>
                <c:pt idx="1959">
                  <c:v>0.84957574856292273</c:v>
                </c:pt>
                <c:pt idx="1960">
                  <c:v>0.85390847671215875</c:v>
                </c:pt>
                <c:pt idx="1961">
                  <c:v>0.84065885659674167</c:v>
                </c:pt>
                <c:pt idx="1962">
                  <c:v>0.84705099615745683</c:v>
                </c:pt>
                <c:pt idx="1963">
                  <c:v>0.84705099615745683</c:v>
                </c:pt>
                <c:pt idx="1964">
                  <c:v>0.84705099615745683</c:v>
                </c:pt>
                <c:pt idx="1965">
                  <c:v>0.84113935068632939</c:v>
                </c:pt>
                <c:pt idx="1966">
                  <c:v>0.82151609188273345</c:v>
                </c:pt>
                <c:pt idx="1967">
                  <c:v>0.82750385522943903</c:v>
                </c:pt>
                <c:pt idx="1968">
                  <c:v>0.81311370037184982</c:v>
                </c:pt>
                <c:pt idx="1969">
                  <c:v>0.8393932207164666</c:v>
                </c:pt>
                <c:pt idx="1970">
                  <c:v>0.8393932207164666</c:v>
                </c:pt>
                <c:pt idx="1971">
                  <c:v>0.8393932207164666</c:v>
                </c:pt>
                <c:pt idx="1972">
                  <c:v>0.83243812603428691</c:v>
                </c:pt>
                <c:pt idx="1973">
                  <c:v>0.8379446904962603</c:v>
                </c:pt>
                <c:pt idx="1974">
                  <c:v>0.84295137900217909</c:v>
                </c:pt>
                <c:pt idx="1975">
                  <c:v>0.84048671038276013</c:v>
                </c:pt>
                <c:pt idx="1976">
                  <c:v>0.84200783450282335</c:v>
                </c:pt>
                <c:pt idx="1977">
                  <c:v>0.84200783450282335</c:v>
                </c:pt>
                <c:pt idx="1978">
                  <c:v>0.84200783450282335</c:v>
                </c:pt>
                <c:pt idx="1979">
                  <c:v>0.85140381096830398</c:v>
                </c:pt>
                <c:pt idx="1980">
                  <c:v>0.86865402452123264</c:v>
                </c:pt>
                <c:pt idx="1981">
                  <c:v>0.85530538068804918</c:v>
                </c:pt>
                <c:pt idx="1982">
                  <c:v>0.85823627129538527</c:v>
                </c:pt>
                <c:pt idx="1983">
                  <c:v>0.86657840282143594</c:v>
                </c:pt>
                <c:pt idx="1984">
                  <c:v>0.86657840282143594</c:v>
                </c:pt>
                <c:pt idx="1985">
                  <c:v>0.86657840282143594</c:v>
                </c:pt>
                <c:pt idx="1986">
                  <c:v>0.8756424207739778</c:v>
                </c:pt>
                <c:pt idx="1987">
                  <c:v>0.88285053691294091</c:v>
                </c:pt>
                <c:pt idx="1988">
                  <c:v>0.87576258834607135</c:v>
                </c:pt>
                <c:pt idx="1989">
                  <c:v>0.87089597787507089</c:v>
                </c:pt>
                <c:pt idx="1990">
                  <c:v>0.87564541615334079</c:v>
                </c:pt>
                <c:pt idx="1991">
                  <c:v>0.87564541615334079</c:v>
                </c:pt>
                <c:pt idx="1992">
                  <c:v>0.87564541615334079</c:v>
                </c:pt>
                <c:pt idx="1993">
                  <c:v>0.86904201424813865</c:v>
                </c:pt>
                <c:pt idx="1994">
                  <c:v>0.89115425710363028</c:v>
                </c:pt>
                <c:pt idx="1995">
                  <c:v>0.88857083050240615</c:v>
                </c:pt>
                <c:pt idx="1996">
                  <c:v>0.89814899651267366</c:v>
                </c:pt>
                <c:pt idx="1997">
                  <c:v>0.89828061700586104</c:v>
                </c:pt>
                <c:pt idx="1998">
                  <c:v>0.89828061700586104</c:v>
                </c:pt>
                <c:pt idx="1999">
                  <c:v>0.89828061700586104</c:v>
                </c:pt>
                <c:pt idx="2000">
                  <c:v>0.88700671387854402</c:v>
                </c:pt>
                <c:pt idx="2001">
                  <c:v>0.9075499065441639</c:v>
                </c:pt>
                <c:pt idx="2002">
                  <c:v>0.9075499065441639</c:v>
                </c:pt>
                <c:pt idx="2003">
                  <c:v>0.9075499065441639</c:v>
                </c:pt>
                <c:pt idx="2004">
                  <c:v>0.90331056375153995</c:v>
                </c:pt>
                <c:pt idx="2005">
                  <c:v>0.90331056375153995</c:v>
                </c:pt>
                <c:pt idx="2006">
                  <c:v>0.90331056375153995</c:v>
                </c:pt>
                <c:pt idx="2007">
                  <c:v>0.90250797828103291</c:v>
                </c:pt>
                <c:pt idx="2008">
                  <c:v>0.90488824768192866</c:v>
                </c:pt>
                <c:pt idx="2009">
                  <c:v>0.90488824768192866</c:v>
                </c:pt>
                <c:pt idx="2010">
                  <c:v>0.90488824768192866</c:v>
                </c:pt>
                <c:pt idx="2011">
                  <c:v>0.90188652516259604</c:v>
                </c:pt>
                <c:pt idx="2012">
                  <c:v>0.90188652516259604</c:v>
                </c:pt>
                <c:pt idx="2013">
                  <c:v>0.90188652516259604</c:v>
                </c:pt>
                <c:pt idx="2014">
                  <c:v>0.90977476861575413</c:v>
                </c:pt>
                <c:pt idx="2015">
                  <c:v>0.89092149850724378</c:v>
                </c:pt>
                <c:pt idx="2016">
                  <c:v>0.88258588633627744</c:v>
                </c:pt>
                <c:pt idx="2017">
                  <c:v>0.88592062456126497</c:v>
                </c:pt>
                <c:pt idx="2018">
                  <c:v>0.88189571569127712</c:v>
                </c:pt>
                <c:pt idx="2019">
                  <c:v>0.88189571569127712</c:v>
                </c:pt>
                <c:pt idx="2020">
                  <c:v>0.88189571569127712</c:v>
                </c:pt>
                <c:pt idx="2021">
                  <c:v>0.88313668374150367</c:v>
                </c:pt>
                <c:pt idx="2022">
                  <c:v>0.88219190585064533</c:v>
                </c:pt>
                <c:pt idx="2023">
                  <c:v>0.89849082215763165</c:v>
                </c:pt>
                <c:pt idx="2024">
                  <c:v>0.90152778443417614</c:v>
                </c:pt>
                <c:pt idx="2025">
                  <c:v>0.89763185307558502</c:v>
                </c:pt>
                <c:pt idx="2026">
                  <c:v>0.89763185307558502</c:v>
                </c:pt>
                <c:pt idx="2027">
                  <c:v>0.89763185307558502</c:v>
                </c:pt>
                <c:pt idx="2028">
                  <c:v>0.89487187529072787</c:v>
                </c:pt>
                <c:pt idx="2029">
                  <c:v>0.88479612390862472</c:v>
                </c:pt>
                <c:pt idx="2030">
                  <c:v>0.8871413297510945</c:v>
                </c:pt>
                <c:pt idx="2031">
                  <c:v>0.90292838858457403</c:v>
                </c:pt>
                <c:pt idx="2032">
                  <c:v>0.92473510274503612</c:v>
                </c:pt>
                <c:pt idx="2033">
                  <c:v>0.92473510274503612</c:v>
                </c:pt>
                <c:pt idx="2034">
                  <c:v>0.92473510274503612</c:v>
                </c:pt>
                <c:pt idx="2035">
                  <c:v>0.9135348507102925</c:v>
                </c:pt>
                <c:pt idx="2036">
                  <c:v>0.91378822456464803</c:v>
                </c:pt>
                <c:pt idx="2037">
                  <c:v>0.90648830885814735</c:v>
                </c:pt>
                <c:pt idx="2038">
                  <c:v>0.92087670172787583</c:v>
                </c:pt>
                <c:pt idx="2039">
                  <c:v>0.93034262911142251</c:v>
                </c:pt>
                <c:pt idx="2040">
                  <c:v>0.93034262911142251</c:v>
                </c:pt>
                <c:pt idx="2041">
                  <c:v>0.93034262911142251</c:v>
                </c:pt>
                <c:pt idx="2042">
                  <c:v>0.92835651639494454</c:v>
                </c:pt>
                <c:pt idx="2043">
                  <c:v>0.93443343632739717</c:v>
                </c:pt>
                <c:pt idx="2044">
                  <c:v>0.93443343632739717</c:v>
                </c:pt>
                <c:pt idx="2045">
                  <c:v>0.95688345225576721</c:v>
                </c:pt>
                <c:pt idx="2046">
                  <c:v>0.94181070330097849</c:v>
                </c:pt>
                <c:pt idx="2047">
                  <c:v>0.94181070330097849</c:v>
                </c:pt>
                <c:pt idx="2048">
                  <c:v>0.94181070330097849</c:v>
                </c:pt>
                <c:pt idx="2049">
                  <c:v>0.94181070330097849</c:v>
                </c:pt>
                <c:pt idx="2050">
                  <c:v>0.92029136936058153</c:v>
                </c:pt>
                <c:pt idx="2051">
                  <c:v>0.91278600586953385</c:v>
                </c:pt>
                <c:pt idx="2052">
                  <c:v>0.92722620118236432</c:v>
                </c:pt>
                <c:pt idx="2053">
                  <c:v>0.9206185705062967</c:v>
                </c:pt>
                <c:pt idx="2054">
                  <c:v>0.9206185705062967</c:v>
                </c:pt>
                <c:pt idx="2055">
                  <c:v>0.9206185705062967</c:v>
                </c:pt>
                <c:pt idx="2056">
                  <c:v>0.9292863173889877</c:v>
                </c:pt>
                <c:pt idx="2057">
                  <c:v>0.94063017143437078</c:v>
                </c:pt>
                <c:pt idx="2058">
                  <c:v>0.94851066214094204</c:v>
                </c:pt>
                <c:pt idx="2059">
                  <c:v>0.95917192208912549</c:v>
                </c:pt>
                <c:pt idx="2060">
                  <c:v>0.95170673192129973</c:v>
                </c:pt>
                <c:pt idx="2061">
                  <c:v>0.95170673192129973</c:v>
                </c:pt>
                <c:pt idx="2062">
                  <c:v>0.95170673192129973</c:v>
                </c:pt>
                <c:pt idx="2063">
                  <c:v>0.95598765762743387</c:v>
                </c:pt>
                <c:pt idx="2064">
                  <c:v>0.95451851214925865</c:v>
                </c:pt>
                <c:pt idx="2065">
                  <c:v>0.9609670353215134</c:v>
                </c:pt>
                <c:pt idx="2066">
                  <c:v>0.97038609382796792</c:v>
                </c:pt>
                <c:pt idx="2067">
                  <c:v>0.95418954901568309</c:v>
                </c:pt>
                <c:pt idx="2068">
                  <c:v>0.95418954901568309</c:v>
                </c:pt>
                <c:pt idx="2069">
                  <c:v>0.95418954901568309</c:v>
                </c:pt>
                <c:pt idx="2070">
                  <c:v>0.96692872124788209</c:v>
                </c:pt>
                <c:pt idx="2071">
                  <c:v>0.97684659851767497</c:v>
                </c:pt>
                <c:pt idx="2072">
                  <c:v>0.99482504165339292</c:v>
                </c:pt>
                <c:pt idx="2073">
                  <c:v>0.98807750914119297</c:v>
                </c:pt>
                <c:pt idx="2074">
                  <c:v>0.97576174259189807</c:v>
                </c:pt>
                <c:pt idx="2075">
                  <c:v>0.97576174259189807</c:v>
                </c:pt>
                <c:pt idx="2076">
                  <c:v>0.97576174259189807</c:v>
                </c:pt>
                <c:pt idx="2077">
                  <c:v>0.97540353045983641</c:v>
                </c:pt>
                <c:pt idx="2078">
                  <c:v>0.98623799381471788</c:v>
                </c:pt>
                <c:pt idx="2079">
                  <c:v>0.96875220248482563</c:v>
                </c:pt>
                <c:pt idx="2080">
                  <c:v>0.95447939601875309</c:v>
                </c:pt>
                <c:pt idx="2081">
                  <c:v>0.9364898523595131</c:v>
                </c:pt>
                <c:pt idx="2082">
                  <c:v>0.9364898523595131</c:v>
                </c:pt>
                <c:pt idx="2083">
                  <c:v>0.9364898523595131</c:v>
                </c:pt>
                <c:pt idx="2084">
                  <c:v>0.93379436333035426</c:v>
                </c:pt>
                <c:pt idx="2085">
                  <c:v>0.92588427122772488</c:v>
                </c:pt>
                <c:pt idx="2086">
                  <c:v>0.92173884238807147</c:v>
                </c:pt>
                <c:pt idx="2087">
                  <c:v>0.92358293888298415</c:v>
                </c:pt>
                <c:pt idx="2088">
                  <c:v>0.93119243585659395</c:v>
                </c:pt>
                <c:pt idx="2089">
                  <c:v>0.93119243585659395</c:v>
                </c:pt>
                <c:pt idx="2090">
                  <c:v>0.93119243585659395</c:v>
                </c:pt>
                <c:pt idx="2091">
                  <c:v>0.92486496125036299</c:v>
                </c:pt>
                <c:pt idx="2092">
                  <c:v>0.93561872556122838</c:v>
                </c:pt>
                <c:pt idx="2093">
                  <c:v>0.9370156295371187</c:v>
                </c:pt>
                <c:pt idx="2094">
                  <c:v>0.92219255426217817</c:v>
                </c:pt>
                <c:pt idx="2095">
                  <c:v>0.94687324682207863</c:v>
                </c:pt>
                <c:pt idx="2096">
                  <c:v>0.94687324682207863</c:v>
                </c:pt>
                <c:pt idx="2097">
                  <c:v>0.94687324682207863</c:v>
                </c:pt>
                <c:pt idx="2098">
                  <c:v>0.94764940247467666</c:v>
                </c:pt>
                <c:pt idx="2099">
                  <c:v>0.95607417123138982</c:v>
                </c:pt>
                <c:pt idx="2100">
                  <c:v>0.95906849340170774</c:v>
                </c:pt>
                <c:pt idx="2101">
                  <c:v>0.96208730720328817</c:v>
                </c:pt>
                <c:pt idx="2102">
                  <c:v>0.95341215997158257</c:v>
                </c:pt>
                <c:pt idx="2103">
                  <c:v>0.95341215997158257</c:v>
                </c:pt>
                <c:pt idx="2104">
                  <c:v>0.95341215997158257</c:v>
                </c:pt>
                <c:pt idx="2105">
                  <c:v>0.97077936951845567</c:v>
                </c:pt>
                <c:pt idx="2106">
                  <c:v>0.9814783360068563</c:v>
                </c:pt>
                <c:pt idx="2107">
                  <c:v>0.95625283680045559</c:v>
                </c:pt>
                <c:pt idx="2108">
                  <c:v>0.94833058698158779</c:v>
                </c:pt>
                <c:pt idx="2109">
                  <c:v>0.94790559550960918</c:v>
                </c:pt>
                <c:pt idx="2110">
                  <c:v>0.94790559550960918</c:v>
                </c:pt>
                <c:pt idx="2111">
                  <c:v>0.94790559550960918</c:v>
                </c:pt>
                <c:pt idx="2112">
                  <c:v>0.93926445464361308</c:v>
                </c:pt>
                <c:pt idx="2113">
                  <c:v>0.94390500207209771</c:v>
                </c:pt>
                <c:pt idx="2114">
                  <c:v>0.95110395587418561</c:v>
                </c:pt>
                <c:pt idx="2115">
                  <c:v>0.95591101115549748</c:v>
                </c:pt>
                <c:pt idx="2116">
                  <c:v>0.9470582555474425</c:v>
                </c:pt>
                <c:pt idx="2117">
                  <c:v>0.9470582555474425</c:v>
                </c:pt>
                <c:pt idx="2118">
                  <c:v>0.9470582555474425</c:v>
                </c:pt>
                <c:pt idx="2119">
                  <c:v>0.92243341800272338</c:v>
                </c:pt>
                <c:pt idx="2120">
                  <c:v>0.91123246117283552</c:v>
                </c:pt>
                <c:pt idx="2121">
                  <c:v>0.9096350429784078</c:v>
                </c:pt>
                <c:pt idx="2122">
                  <c:v>0.91332905052817337</c:v>
                </c:pt>
                <c:pt idx="2123">
                  <c:v>0.88120096387783931</c:v>
                </c:pt>
                <c:pt idx="2124">
                  <c:v>0.88120096387783931</c:v>
                </c:pt>
                <c:pt idx="2125">
                  <c:v>0.88120096387783931</c:v>
                </c:pt>
                <c:pt idx="2126">
                  <c:v>0.8796174653875104</c:v>
                </c:pt>
                <c:pt idx="2127">
                  <c:v>0.87864907685931992</c:v>
                </c:pt>
                <c:pt idx="2128">
                  <c:v>0.88260703019060471</c:v>
                </c:pt>
                <c:pt idx="2129">
                  <c:v>0.90618119437404332</c:v>
                </c:pt>
                <c:pt idx="2130">
                  <c:v>0.91970586079450145</c:v>
                </c:pt>
                <c:pt idx="2131">
                  <c:v>0.91970586079450145</c:v>
                </c:pt>
                <c:pt idx="2132">
                  <c:v>0.91970586079450145</c:v>
                </c:pt>
                <c:pt idx="2133">
                  <c:v>0.90562052983679764</c:v>
                </c:pt>
                <c:pt idx="2134">
                  <c:v>0.88813350511540312</c:v>
                </c:pt>
                <c:pt idx="2135">
                  <c:v>0.88992756115507443</c:v>
                </c:pt>
                <c:pt idx="2136">
                  <c:v>0.90872920501926902</c:v>
                </c:pt>
                <c:pt idx="2137">
                  <c:v>0.90810704710568813</c:v>
                </c:pt>
                <c:pt idx="2138">
                  <c:v>0.90810704710568813</c:v>
                </c:pt>
                <c:pt idx="2139">
                  <c:v>0.90810704710568813</c:v>
                </c:pt>
                <c:pt idx="2140">
                  <c:v>0.89699877083726831</c:v>
                </c:pt>
                <c:pt idx="2141">
                  <c:v>0.89677993194498085</c:v>
                </c:pt>
                <c:pt idx="2142">
                  <c:v>0.89157554840110176</c:v>
                </c:pt>
                <c:pt idx="2143">
                  <c:v>0.88627090774795392</c:v>
                </c:pt>
                <c:pt idx="2144">
                  <c:v>0.87878968349059661</c:v>
                </c:pt>
                <c:pt idx="2145">
                  <c:v>0.87878968349059661</c:v>
                </c:pt>
                <c:pt idx="2146">
                  <c:v>0.87878968349059661</c:v>
                </c:pt>
                <c:pt idx="2147">
                  <c:v>0.8621198687389523</c:v>
                </c:pt>
                <c:pt idx="2148">
                  <c:v>0.83600527045808859</c:v>
                </c:pt>
                <c:pt idx="2149">
                  <c:v>0.83556724027594143</c:v>
                </c:pt>
                <c:pt idx="2150">
                  <c:v>0.85344419291088858</c:v>
                </c:pt>
                <c:pt idx="2151">
                  <c:v>0.85410670034647718</c:v>
                </c:pt>
                <c:pt idx="2152">
                  <c:v>0.85410670034647718</c:v>
                </c:pt>
                <c:pt idx="2153">
                  <c:v>0.85410670034647718</c:v>
                </c:pt>
                <c:pt idx="2154">
                  <c:v>0.86585457820829792</c:v>
                </c:pt>
                <c:pt idx="2155">
                  <c:v>0.84988585842638964</c:v>
                </c:pt>
                <c:pt idx="2156">
                  <c:v>0.85565266849537513</c:v>
                </c:pt>
                <c:pt idx="2157">
                  <c:v>0.86711528052256337</c:v>
                </c:pt>
                <c:pt idx="2158">
                  <c:v>0.87081052146383131</c:v>
                </c:pt>
                <c:pt idx="2159">
                  <c:v>0.87081052146383131</c:v>
                </c:pt>
                <c:pt idx="2160">
                  <c:v>0.87081052146383131</c:v>
                </c:pt>
                <c:pt idx="2161">
                  <c:v>0.86455017859508954</c:v>
                </c:pt>
                <c:pt idx="2162">
                  <c:v>0.85234806026280407</c:v>
                </c:pt>
                <c:pt idx="2163">
                  <c:v>0.86019401600730727</c:v>
                </c:pt>
                <c:pt idx="2164">
                  <c:v>0.85586956920101598</c:v>
                </c:pt>
                <c:pt idx="2165">
                  <c:v>0.83518629850047787</c:v>
                </c:pt>
                <c:pt idx="2166">
                  <c:v>0.83518629850047787</c:v>
                </c:pt>
                <c:pt idx="2167">
                  <c:v>0.83518629850047787</c:v>
                </c:pt>
                <c:pt idx="2168">
                  <c:v>0.83970914513987349</c:v>
                </c:pt>
                <c:pt idx="2169">
                  <c:v>0.8353110472410088</c:v>
                </c:pt>
                <c:pt idx="2170">
                  <c:v>0.82583120015336353</c:v>
                </c:pt>
                <c:pt idx="2171">
                  <c:v>0.82353374418191605</c:v>
                </c:pt>
                <c:pt idx="2172">
                  <c:v>0.80229016134170439</c:v>
                </c:pt>
                <c:pt idx="2173">
                  <c:v>0.80229016134170439</c:v>
                </c:pt>
                <c:pt idx="2174">
                  <c:v>0.80229016134170439</c:v>
                </c:pt>
                <c:pt idx="2175">
                  <c:v>0.82154904105572679</c:v>
                </c:pt>
                <c:pt idx="2176">
                  <c:v>0.80141251518833545</c:v>
                </c:pt>
                <c:pt idx="2177">
                  <c:v>0.79422483810855538</c:v>
                </c:pt>
                <c:pt idx="2178">
                  <c:v>0.79422483810855538</c:v>
                </c:pt>
                <c:pt idx="2179">
                  <c:v>0.79660334552159073</c:v>
                </c:pt>
                <c:pt idx="2180">
                  <c:v>0.79660334552159073</c:v>
                </c:pt>
                <c:pt idx="2181">
                  <c:v>0.79660334552159073</c:v>
                </c:pt>
                <c:pt idx="2182">
                  <c:v>0.80634132383081536</c:v>
                </c:pt>
                <c:pt idx="2183">
                  <c:v>0.7936703405288219</c:v>
                </c:pt>
                <c:pt idx="2184">
                  <c:v>0.79692860848065894</c:v>
                </c:pt>
                <c:pt idx="2185">
                  <c:v>0.83217964241513553</c:v>
                </c:pt>
                <c:pt idx="2186">
                  <c:v>0.83618886959316396</c:v>
                </c:pt>
                <c:pt idx="2187">
                  <c:v>0.83618886959316396</c:v>
                </c:pt>
                <c:pt idx="2188">
                  <c:v>0.83618886959316396</c:v>
                </c:pt>
                <c:pt idx="2189">
                  <c:v>0.83887290570122885</c:v>
                </c:pt>
                <c:pt idx="2190">
                  <c:v>0.83116456120863913</c:v>
                </c:pt>
                <c:pt idx="2191">
                  <c:v>0.82624967227025792</c:v>
                </c:pt>
                <c:pt idx="2192">
                  <c:v>0.80989860112259759</c:v>
                </c:pt>
                <c:pt idx="2193">
                  <c:v>0.82912171248304956</c:v>
                </c:pt>
                <c:pt idx="2194">
                  <c:v>0.82912171248304956</c:v>
                </c:pt>
                <c:pt idx="2195">
                  <c:v>0.82912171248304956</c:v>
                </c:pt>
                <c:pt idx="2196">
                  <c:v>0.84953240366155169</c:v>
                </c:pt>
                <c:pt idx="2197">
                  <c:v>0.84386990327391431</c:v>
                </c:pt>
                <c:pt idx="2198">
                  <c:v>0.8715662380572462</c:v>
                </c:pt>
                <c:pt idx="2199">
                  <c:v>0.86493605393656281</c:v>
                </c:pt>
                <c:pt idx="2200">
                  <c:v>0.86922984215407939</c:v>
                </c:pt>
                <c:pt idx="2201">
                  <c:v>0.86922984215407939</c:v>
                </c:pt>
                <c:pt idx="2202">
                  <c:v>0.86922984215407939</c:v>
                </c:pt>
                <c:pt idx="2203">
                  <c:v>0.88830424173909606</c:v>
                </c:pt>
                <c:pt idx="2204">
                  <c:v>0.86655584937682018</c:v>
                </c:pt>
                <c:pt idx="2205">
                  <c:v>0.87694012483331596</c:v>
                </c:pt>
                <c:pt idx="2206">
                  <c:v>0.90419314347091884</c:v>
                </c:pt>
                <c:pt idx="2207">
                  <c:v>0.9095139944123839</c:v>
                </c:pt>
                <c:pt idx="2208">
                  <c:v>0.9095139944123839</c:v>
                </c:pt>
                <c:pt idx="2209">
                  <c:v>0.9095139944123839</c:v>
                </c:pt>
                <c:pt idx="2210">
                  <c:v>0.93182428470340806</c:v>
                </c:pt>
                <c:pt idx="2211">
                  <c:v>0.93030545116756358</c:v>
                </c:pt>
                <c:pt idx="2212">
                  <c:v>0.95178884055560398</c:v>
                </c:pt>
                <c:pt idx="2213">
                  <c:v>0.95049307468291255</c:v>
                </c:pt>
                <c:pt idx="2214">
                  <c:v>0.94277063428743801</c:v>
                </c:pt>
                <c:pt idx="2215">
                  <c:v>0.94277063428743801</c:v>
                </c:pt>
                <c:pt idx="2216">
                  <c:v>0.94277063428743801</c:v>
                </c:pt>
                <c:pt idx="2217">
                  <c:v>0.96265660548105092</c:v>
                </c:pt>
                <c:pt idx="2218">
                  <c:v>0.96265660548105092</c:v>
                </c:pt>
                <c:pt idx="2219">
                  <c:v>0.98735209873898044</c:v>
                </c:pt>
                <c:pt idx="2220">
                  <c:v>0.99368961667601685</c:v>
                </c:pt>
                <c:pt idx="2221">
                  <c:v>0.99387057282930125</c:v>
                </c:pt>
                <c:pt idx="2222">
                  <c:v>0.99387057282930125</c:v>
                </c:pt>
                <c:pt idx="2223">
                  <c:v>0.99387057282930125</c:v>
                </c:pt>
                <c:pt idx="2224">
                  <c:v>0.99287857366377907</c:v>
                </c:pt>
                <c:pt idx="2225">
                  <c:v>0.99427688722995766</c:v>
                </c:pt>
                <c:pt idx="2226">
                  <c:v>0.99138810813249012</c:v>
                </c:pt>
                <c:pt idx="2227">
                  <c:v>0.98144080566542524</c:v>
                </c:pt>
                <c:pt idx="2228">
                  <c:v>0.971987740793261</c:v>
                </c:pt>
                <c:pt idx="2229">
                  <c:v>0.971987740793261</c:v>
                </c:pt>
                <c:pt idx="2230">
                  <c:v>0.971987740793261</c:v>
                </c:pt>
                <c:pt idx="2231">
                  <c:v>0.96508691533718816</c:v>
                </c:pt>
                <c:pt idx="2232">
                  <c:v>0.96797287525407871</c:v>
                </c:pt>
                <c:pt idx="2233">
                  <c:v>0.96322273218066445</c:v>
                </c:pt>
                <c:pt idx="2234">
                  <c:v>0.95936309777200146</c:v>
                </c:pt>
                <c:pt idx="2235">
                  <c:v>0.9709927462483755</c:v>
                </c:pt>
                <c:pt idx="2236">
                  <c:v>0.9709927462483755</c:v>
                </c:pt>
                <c:pt idx="2237">
                  <c:v>0.9709927462483755</c:v>
                </c:pt>
                <c:pt idx="2238">
                  <c:v>0.97697927620357872</c:v>
                </c:pt>
                <c:pt idx="2239">
                  <c:v>0.98327380163681644</c:v>
                </c:pt>
                <c:pt idx="2240">
                  <c:v>0.99155267779867118</c:v>
                </c:pt>
                <c:pt idx="2241">
                  <c:v>0.97666775674982309</c:v>
                </c:pt>
                <c:pt idx="2242">
                  <c:v>0.97769323368469729</c:v>
                </c:pt>
                <c:pt idx="2243">
                  <c:v>0.97769323368469729</c:v>
                </c:pt>
                <c:pt idx="2244">
                  <c:v>0.97769323368469729</c:v>
                </c:pt>
                <c:pt idx="2245">
                  <c:v>0.97476569085429632</c:v>
                </c:pt>
                <c:pt idx="2246">
                  <c:v>0.98513393222126056</c:v>
                </c:pt>
                <c:pt idx="2247">
                  <c:v>0.98513393222126056</c:v>
                </c:pt>
                <c:pt idx="2248">
                  <c:v>0.96710668202180361</c:v>
                </c:pt>
                <c:pt idx="2249">
                  <c:v>0.95591435893243271</c:v>
                </c:pt>
                <c:pt idx="2250">
                  <c:v>0.95591435893243271</c:v>
                </c:pt>
                <c:pt idx="2251">
                  <c:v>0.95591435893243271</c:v>
                </c:pt>
                <c:pt idx="2252">
                  <c:v>0.96844702618736833</c:v>
                </c:pt>
                <c:pt idx="2253">
                  <c:v>0.96881545784902157</c:v>
                </c:pt>
                <c:pt idx="2254">
                  <c:v>0.96706263232528844</c:v>
                </c:pt>
                <c:pt idx="2255">
                  <c:v>0.95671941118594461</c:v>
                </c:pt>
                <c:pt idx="2256">
                  <c:v>0.95022102375723461</c:v>
                </c:pt>
                <c:pt idx="2257">
                  <c:v>0.95022102375723461</c:v>
                </c:pt>
                <c:pt idx="2258">
                  <c:v>0.95022102375723461</c:v>
                </c:pt>
                <c:pt idx="2259">
                  <c:v>0.93677688018200622</c:v>
                </c:pt>
                <c:pt idx="2260">
                  <c:v>0.93177371565180866</c:v>
                </c:pt>
                <c:pt idx="2261">
                  <c:v>0.95131187044173737</c:v>
                </c:pt>
                <c:pt idx="2262">
                  <c:v>0.9329713388006643</c:v>
                </c:pt>
                <c:pt idx="2263">
                  <c:v>0.96843522086870237</c:v>
                </c:pt>
                <c:pt idx="2264">
                  <c:v>0.96843522086870237</c:v>
                </c:pt>
                <c:pt idx="2265">
                  <c:v>0.96843522086870237</c:v>
                </c:pt>
                <c:pt idx="2266">
                  <c:v>0.97615730886660501</c:v>
                </c:pt>
                <c:pt idx="2267">
                  <c:v>0.99000036649347478</c:v>
                </c:pt>
                <c:pt idx="2268">
                  <c:v>0.98516335741853267</c:v>
                </c:pt>
                <c:pt idx="2269">
                  <c:v>0.97071981432876708</c:v>
                </c:pt>
                <c:pt idx="2270">
                  <c:v>0.96998488919210724</c:v>
                </c:pt>
                <c:pt idx="2271">
                  <c:v>0.96998488919210724</c:v>
                </c:pt>
                <c:pt idx="2272">
                  <c:v>0.96998488919210724</c:v>
                </c:pt>
                <c:pt idx="2273">
                  <c:v>0.9628937690470889</c:v>
                </c:pt>
                <c:pt idx="2274">
                  <c:v>0.9790087338214275</c:v>
                </c:pt>
                <c:pt idx="2275">
                  <c:v>0.96713927879722472</c:v>
                </c:pt>
                <c:pt idx="2276">
                  <c:v>0.98498962541547652</c:v>
                </c:pt>
                <c:pt idx="2277">
                  <c:v>0.99291698499914016</c:v>
                </c:pt>
                <c:pt idx="2278">
                  <c:v>0.99291698499914016</c:v>
                </c:pt>
                <c:pt idx="2279">
                  <c:v>0.99291698499914016</c:v>
                </c:pt>
                <c:pt idx="2280">
                  <c:v>0.99291698499914016</c:v>
                </c:pt>
                <c:pt idx="2281">
                  <c:v>0.98731738757812648</c:v>
                </c:pt>
                <c:pt idx="2282">
                  <c:v>0.98092313363197847</c:v>
                </c:pt>
                <c:pt idx="2283">
                  <c:v>0.96685771313709967</c:v>
                </c:pt>
                <c:pt idx="2284">
                  <c:v>0.97338200178736045</c:v>
                </c:pt>
                <c:pt idx="2285">
                  <c:v>0.97338200178736045</c:v>
                </c:pt>
                <c:pt idx="2286">
                  <c:v>0.97338200178736045</c:v>
                </c:pt>
                <c:pt idx="2287">
                  <c:v>0.9792541787304101</c:v>
                </c:pt>
                <c:pt idx="2288">
                  <c:v>0.98724232689526459</c:v>
                </c:pt>
                <c:pt idx="2289">
                  <c:v>0.99307820688838566</c:v>
                </c:pt>
                <c:pt idx="2290">
                  <c:v>1.0038566390292996</c:v>
                </c:pt>
                <c:pt idx="2291">
                  <c:v>1.002029810015421</c:v>
                </c:pt>
                <c:pt idx="2292">
                  <c:v>1.002029810015421</c:v>
                </c:pt>
                <c:pt idx="2293">
                  <c:v>1.002029810015421</c:v>
                </c:pt>
                <c:pt idx="2294">
                  <c:v>1.0092846188326901</c:v>
                </c:pt>
                <c:pt idx="2295">
                  <c:v>1.0111325917008962</c:v>
                </c:pt>
                <c:pt idx="2296">
                  <c:v>1.0256286420289078</c:v>
                </c:pt>
                <c:pt idx="2297">
                  <c:v>1.0315520928187014</c:v>
                </c:pt>
                <c:pt idx="2298">
                  <c:v>1.0295779616196756</c:v>
                </c:pt>
                <c:pt idx="2299">
                  <c:v>1.0295779616196756</c:v>
                </c:pt>
                <c:pt idx="2300">
                  <c:v>1.0295779616196756</c:v>
                </c:pt>
                <c:pt idx="2301">
                  <c:v>1.0368736485553109</c:v>
                </c:pt>
                <c:pt idx="2302">
                  <c:v>1.0208982332195324</c:v>
                </c:pt>
                <c:pt idx="2303">
                  <c:v>0.98584507052180215</c:v>
                </c:pt>
                <c:pt idx="2304">
                  <c:v>0.9955085167445229</c:v>
                </c:pt>
                <c:pt idx="2305">
                  <c:v>1.0022889984297165</c:v>
                </c:pt>
                <c:pt idx="2306">
                  <c:v>1.0022889984297165</c:v>
                </c:pt>
                <c:pt idx="2307">
                  <c:v>1.0022889984297165</c:v>
                </c:pt>
                <c:pt idx="2308">
                  <c:v>1.0118090188405837</c:v>
                </c:pt>
                <c:pt idx="2309">
                  <c:v>1.0091588128994426</c:v>
                </c:pt>
                <c:pt idx="2310">
                  <c:v>1.0034321761536791</c:v>
                </c:pt>
                <c:pt idx="2311">
                  <c:v>0.99759453417269739</c:v>
                </c:pt>
                <c:pt idx="2312">
                  <c:v>0.99899531452188095</c:v>
                </c:pt>
                <c:pt idx="2313">
                  <c:v>0.99899531452188095</c:v>
                </c:pt>
                <c:pt idx="2314">
                  <c:v>0.99899531452188095</c:v>
                </c:pt>
                <c:pt idx="2315">
                  <c:v>0.98943864476351306</c:v>
                </c:pt>
                <c:pt idx="2316">
                  <c:v>0.98984249238116451</c:v>
                </c:pt>
                <c:pt idx="2317">
                  <c:v>1.0098727703805612</c:v>
                </c:pt>
                <c:pt idx="2318">
                  <c:v>1.0151499240230835</c:v>
                </c:pt>
                <c:pt idx="2319">
                  <c:v>1.0202491168916843</c:v>
                </c:pt>
                <c:pt idx="2320">
                  <c:v>1.0202491168916843</c:v>
                </c:pt>
                <c:pt idx="2321">
                  <c:v>1.0202491168916843</c:v>
                </c:pt>
                <c:pt idx="2322">
                  <c:v>1.0233151519679289</c:v>
                </c:pt>
                <c:pt idx="2323">
                  <c:v>1.0291020486985254</c:v>
                </c:pt>
                <c:pt idx="2324">
                  <c:v>1.0307246633193596</c:v>
                </c:pt>
                <c:pt idx="2325">
                  <c:v>1.0307246633193596</c:v>
                </c:pt>
                <c:pt idx="2326">
                  <c:v>1.0307246633193596</c:v>
                </c:pt>
                <c:pt idx="2327">
                  <c:v>1.0307246633193596</c:v>
                </c:pt>
                <c:pt idx="2328">
                  <c:v>1.0307246633193596</c:v>
                </c:pt>
                <c:pt idx="2329">
                  <c:v>1.0285156591385147</c:v>
                </c:pt>
                <c:pt idx="2330">
                  <c:v>1.0387106970987812</c:v>
                </c:pt>
                <c:pt idx="2331">
                  <c:v>1.0474131551423262</c:v>
                </c:pt>
                <c:pt idx="2332">
                  <c:v>1.0497158970773557</c:v>
                </c:pt>
                <c:pt idx="2333">
                  <c:v>1.0633801129363738</c:v>
                </c:pt>
                <c:pt idx="2334">
                  <c:v>1.0633801129363738</c:v>
                </c:pt>
                <c:pt idx="2335">
                  <c:v>1.0633801129363738</c:v>
                </c:pt>
                <c:pt idx="2336">
                  <c:v>1.052990199118724</c:v>
                </c:pt>
                <c:pt idx="2337">
                  <c:v>1.0455054508856454</c:v>
                </c:pt>
                <c:pt idx="2338">
                  <c:v>1.0643522016390716</c:v>
                </c:pt>
                <c:pt idx="2339">
                  <c:v>1.0576696864789279</c:v>
                </c:pt>
                <c:pt idx="2340">
                  <c:v>1.077804978954817</c:v>
                </c:pt>
                <c:pt idx="2341">
                  <c:v>1.077804978954817</c:v>
                </c:pt>
                <c:pt idx="2342">
                  <c:v>1.077804978954817</c:v>
                </c:pt>
                <c:pt idx="2343">
                  <c:v>1.077804978954817</c:v>
                </c:pt>
                <c:pt idx="2344">
                  <c:v>1.0918379788730608</c:v>
                </c:pt>
                <c:pt idx="2345">
                  <c:v>1.0870106607313519</c:v>
                </c:pt>
                <c:pt idx="2346">
                  <c:v>1.0906653759518259</c:v>
                </c:pt>
                <c:pt idx="2347">
                  <c:v>1.0916596657015671</c:v>
                </c:pt>
                <c:pt idx="2348">
                  <c:v>1.0916596657015671</c:v>
                </c:pt>
                <c:pt idx="2349">
                  <c:v>1.0916596657015671</c:v>
                </c:pt>
                <c:pt idx="2350">
                  <c:v>1.0958517872195268</c:v>
                </c:pt>
                <c:pt idx="2351">
                  <c:v>1.0886856063916464</c:v>
                </c:pt>
                <c:pt idx="2352">
                  <c:v>1.0876329948437187</c:v>
                </c:pt>
                <c:pt idx="2353">
                  <c:v>1.0938559835698156</c:v>
                </c:pt>
                <c:pt idx="2354">
                  <c:v>1.0835772511861703</c:v>
                </c:pt>
                <c:pt idx="2355">
                  <c:v>1.0835772511861703</c:v>
                </c:pt>
                <c:pt idx="2356">
                  <c:v>1.0835772511861703</c:v>
                </c:pt>
                <c:pt idx="2357">
                  <c:v>1.0867643348284386</c:v>
                </c:pt>
                <c:pt idx="2358">
                  <c:v>1.085007104335054</c:v>
                </c:pt>
                <c:pt idx="2359">
                  <c:v>1.0770651202521473</c:v>
                </c:pt>
                <c:pt idx="2360">
                  <c:v>1.0912438365664636</c:v>
                </c:pt>
                <c:pt idx="2361">
                  <c:v>1.1016487272809286</c:v>
                </c:pt>
                <c:pt idx="2362">
                  <c:v>1.1016487272809286</c:v>
                </c:pt>
                <c:pt idx="2363">
                  <c:v>1.1016487272809286</c:v>
                </c:pt>
                <c:pt idx="2364">
                  <c:v>1.1155578594525715</c:v>
                </c:pt>
                <c:pt idx="2365">
                  <c:v>1.1021251687984368</c:v>
                </c:pt>
                <c:pt idx="2366">
                  <c:v>1.0739682503883421</c:v>
                </c:pt>
                <c:pt idx="2367">
                  <c:v>1.0739682503883421</c:v>
                </c:pt>
                <c:pt idx="2368">
                  <c:v>1.0739682503883421</c:v>
                </c:pt>
                <c:pt idx="2369">
                  <c:v>1.0739682503883421</c:v>
                </c:pt>
                <c:pt idx="2370">
                  <c:v>1.0739682503883421</c:v>
                </c:pt>
                <c:pt idx="2371">
                  <c:v>1.0645217048712619</c:v>
                </c:pt>
                <c:pt idx="2372">
                  <c:v>1.074104099652395</c:v>
                </c:pt>
                <c:pt idx="2373">
                  <c:v>1.0749364627177465</c:v>
                </c:pt>
                <c:pt idx="2374">
                  <c:v>1.0749364627177465</c:v>
                </c:pt>
                <c:pt idx="2375">
                  <c:v>1.0749364627177465</c:v>
                </c:pt>
                <c:pt idx="2376">
                  <c:v>1.0749364627177465</c:v>
                </c:pt>
                <c:pt idx="2377">
                  <c:v>1.0749364627177465</c:v>
                </c:pt>
                <c:pt idx="2378">
                  <c:v>1.0796777958518577</c:v>
                </c:pt>
                <c:pt idx="2379">
                  <c:v>1.0747833459726595</c:v>
                </c:pt>
                <c:pt idx="2380">
                  <c:v>1.0653107230352425</c:v>
                </c:pt>
                <c:pt idx="2381">
                  <c:v>1.0495548513868957</c:v>
                </c:pt>
                <c:pt idx="2382">
                  <c:v>1.0502314547253695</c:v>
                </c:pt>
                <c:pt idx="2383">
                  <c:v>1.0502314547253695</c:v>
                </c:pt>
                <c:pt idx="2384">
                  <c:v>1.0502314547253695</c:v>
                </c:pt>
                <c:pt idx="2385">
                  <c:v>1.0451539343074543</c:v>
                </c:pt>
                <c:pt idx="2386">
                  <c:v>1.04792783179641</c:v>
                </c:pt>
                <c:pt idx="2387">
                  <c:v>1.0505560128892935</c:v>
                </c:pt>
                <c:pt idx="2388">
                  <c:v>1.0439466202253653</c:v>
                </c:pt>
                <c:pt idx="2389">
                  <c:v>1.0305394783952095</c:v>
                </c:pt>
                <c:pt idx="2390">
                  <c:v>1.0305394783952095</c:v>
                </c:pt>
                <c:pt idx="2391">
                  <c:v>1.0305394783952095</c:v>
                </c:pt>
                <c:pt idx="2392">
                  <c:v>1.0158991212614139</c:v>
                </c:pt>
                <c:pt idx="2393">
                  <c:v>1.0162902825664692</c:v>
                </c:pt>
                <c:pt idx="2394">
                  <c:v>1.014257124774113</c:v>
                </c:pt>
                <c:pt idx="2395">
                  <c:v>1.0255183415888338</c:v>
                </c:pt>
                <c:pt idx="2396">
                  <c:v>1.0126949463368977</c:v>
                </c:pt>
                <c:pt idx="2397">
                  <c:v>1.0126949463368977</c:v>
                </c:pt>
                <c:pt idx="2398">
                  <c:v>1.0126949463368977</c:v>
                </c:pt>
                <c:pt idx="2399">
                  <c:v>1.0193545556548533</c:v>
                </c:pt>
                <c:pt idx="2400">
                  <c:v>0.99621736446084586</c:v>
                </c:pt>
                <c:pt idx="2401">
                  <c:v>0.99108451762410743</c:v>
                </c:pt>
                <c:pt idx="2402">
                  <c:v>0.99970081446126857</c:v>
                </c:pt>
                <c:pt idx="2403">
                  <c:v>1.0144474194630588</c:v>
                </c:pt>
                <c:pt idx="2404">
                  <c:v>1.0144474194630588</c:v>
                </c:pt>
                <c:pt idx="2405">
                  <c:v>1.0144474194630588</c:v>
                </c:pt>
                <c:pt idx="2406">
                  <c:v>0.99441256029522462</c:v>
                </c:pt>
                <c:pt idx="2407">
                  <c:v>0.99097932694882918</c:v>
                </c:pt>
                <c:pt idx="2408">
                  <c:v>0.99465730040906308</c:v>
                </c:pt>
                <c:pt idx="2409">
                  <c:v>0.99465730040906308</c:v>
                </c:pt>
                <c:pt idx="2410">
                  <c:v>0.97618232909422542</c:v>
                </c:pt>
                <c:pt idx="2411">
                  <c:v>0.97618232909422542</c:v>
                </c:pt>
                <c:pt idx="2412">
                  <c:v>0.97618232909422542</c:v>
                </c:pt>
                <c:pt idx="2413">
                  <c:v>0.99163549122811956</c:v>
                </c:pt>
                <c:pt idx="2414">
                  <c:v>0.99163549122811956</c:v>
                </c:pt>
                <c:pt idx="2415">
                  <c:v>1.0128975749408675</c:v>
                </c:pt>
                <c:pt idx="2416">
                  <c:v>1.0054662149399656</c:v>
                </c:pt>
                <c:pt idx="2417">
                  <c:v>1.0106358873229906</c:v>
                </c:pt>
                <c:pt idx="2418">
                  <c:v>1.0106358873229906</c:v>
                </c:pt>
                <c:pt idx="2419">
                  <c:v>1.0106358873229906</c:v>
                </c:pt>
                <c:pt idx="2420">
                  <c:v>1.0135738258817693</c:v>
                </c:pt>
                <c:pt idx="2421">
                  <c:v>1.0310686033497503</c:v>
                </c:pt>
                <c:pt idx="2422">
                  <c:v>1.0476531378889411</c:v>
                </c:pt>
                <c:pt idx="2423">
                  <c:v>1.0256489048893047</c:v>
                </c:pt>
                <c:pt idx="2424">
                  <c:v>1.0286957342978689</c:v>
                </c:pt>
                <c:pt idx="2425">
                  <c:v>1.0286957342978689</c:v>
                </c:pt>
                <c:pt idx="2426">
                  <c:v>1.0286957342978689</c:v>
                </c:pt>
                <c:pt idx="2427">
                  <c:v>1.0286957342978689</c:v>
                </c:pt>
                <c:pt idx="2428">
                  <c:v>1.005534403870171</c:v>
                </c:pt>
                <c:pt idx="2429">
                  <c:v>1.0163808487425046</c:v>
                </c:pt>
                <c:pt idx="2430">
                  <c:v>1.0074443987110708</c:v>
                </c:pt>
                <c:pt idx="2431">
                  <c:v>1.0092104391437582</c:v>
                </c:pt>
                <c:pt idx="2432">
                  <c:v>1.0092104391437582</c:v>
                </c:pt>
                <c:pt idx="2433">
                  <c:v>1.0092104391437582</c:v>
                </c:pt>
                <c:pt idx="2434">
                  <c:v>1.0190770425668074</c:v>
                </c:pt>
                <c:pt idx="2435">
                  <c:v>1.0071652998339502</c:v>
                </c:pt>
                <c:pt idx="2436">
                  <c:v>1.016495025555872</c:v>
                </c:pt>
                <c:pt idx="2437">
                  <c:v>1.0342921601407336</c:v>
                </c:pt>
                <c:pt idx="2438">
                  <c:v>1.0381991920228466</c:v>
                </c:pt>
                <c:pt idx="2439">
                  <c:v>1.0381991920228466</c:v>
                </c:pt>
                <c:pt idx="2440">
                  <c:v>1.0381991920228466</c:v>
                </c:pt>
                <c:pt idx="2441">
                  <c:v>1.0525040666679824</c:v>
                </c:pt>
                <c:pt idx="2442">
                  <c:v>1.0587307555685863</c:v>
                </c:pt>
                <c:pt idx="2443">
                  <c:v>1.0526797368576848</c:v>
                </c:pt>
                <c:pt idx="2444">
                  <c:v>1.050174894915044</c:v>
                </c:pt>
                <c:pt idx="2445">
                  <c:v>1.0424223245271529</c:v>
                </c:pt>
                <c:pt idx="2446">
                  <c:v>1.0424223245271529</c:v>
                </c:pt>
                <c:pt idx="2447">
                  <c:v>1.0424223245271529</c:v>
                </c:pt>
                <c:pt idx="2448">
                  <c:v>1.0424223245271529</c:v>
                </c:pt>
                <c:pt idx="2449">
                  <c:v>1.0299925573632769</c:v>
                </c:pt>
                <c:pt idx="2450">
                  <c:v>1.0385061303081644</c:v>
                </c:pt>
                <c:pt idx="2451">
                  <c:v>1.0451609822588965</c:v>
                </c:pt>
                <c:pt idx="2452">
                  <c:v>1.0320243055653442</c:v>
                </c:pt>
                <c:pt idx="2453">
                  <c:v>1.0320243055653442</c:v>
                </c:pt>
                <c:pt idx="2454">
                  <c:v>1.0320243055653442</c:v>
                </c:pt>
                <c:pt idx="2455">
                  <c:v>1.0300228635544793</c:v>
                </c:pt>
                <c:pt idx="2456">
                  <c:v>1.0330064375988475</c:v>
                </c:pt>
                <c:pt idx="2457">
                  <c:v>1.0434858603998163</c:v>
                </c:pt>
                <c:pt idx="2458">
                  <c:v>1.0496302644673299</c:v>
                </c:pt>
                <c:pt idx="2459">
                  <c:v>1.0426714696106429</c:v>
                </c:pt>
                <c:pt idx="2460">
                  <c:v>1.0426714696106429</c:v>
                </c:pt>
                <c:pt idx="2461">
                  <c:v>1.0426714696106429</c:v>
                </c:pt>
                <c:pt idx="2462">
                  <c:v>1.0614177870560142</c:v>
                </c:pt>
                <c:pt idx="2463">
                  <c:v>1.0656158993326998</c:v>
                </c:pt>
                <c:pt idx="2464">
                  <c:v>1.0660220375345701</c:v>
                </c:pt>
                <c:pt idx="2465">
                  <c:v>1.0908465083038963</c:v>
                </c:pt>
                <c:pt idx="2466">
                  <c:v>1.0804521895165948</c:v>
                </c:pt>
                <c:pt idx="2467">
                  <c:v>1.0804521895165948</c:v>
                </c:pt>
                <c:pt idx="2468">
                  <c:v>1.0804521895165948</c:v>
                </c:pt>
                <c:pt idx="2469">
                  <c:v>1.0869345428557735</c:v>
                </c:pt>
                <c:pt idx="2470">
                  <c:v>1.0862977604429498</c:v>
                </c:pt>
                <c:pt idx="2471">
                  <c:v>1.0889847919303777</c:v>
                </c:pt>
                <c:pt idx="2472">
                  <c:v>1.0890138647300776</c:v>
                </c:pt>
                <c:pt idx="2473">
                  <c:v>1.0942908421738138</c:v>
                </c:pt>
                <c:pt idx="2474">
                  <c:v>1.0942908421738138</c:v>
                </c:pt>
                <c:pt idx="2475">
                  <c:v>1.0942908421738138</c:v>
                </c:pt>
                <c:pt idx="2476">
                  <c:v>1.0916945530612072</c:v>
                </c:pt>
                <c:pt idx="2477">
                  <c:v>1.0558148418580655</c:v>
                </c:pt>
                <c:pt idx="2478">
                  <c:v>1.0470181174639779</c:v>
                </c:pt>
                <c:pt idx="2479">
                  <c:v>1.0290731520976113</c:v>
                </c:pt>
                <c:pt idx="2480">
                  <c:v>1.0276131689563111</c:v>
                </c:pt>
                <c:pt idx="2481">
                  <c:v>1.0276131689563111</c:v>
                </c:pt>
                <c:pt idx="2482">
                  <c:v>1.0276131689563111</c:v>
                </c:pt>
                <c:pt idx="2483">
                  <c:v>1.0276131689563111</c:v>
                </c:pt>
                <c:pt idx="2484">
                  <c:v>1.0019351912673062</c:v>
                </c:pt>
                <c:pt idx="2485">
                  <c:v>0.99083449154668712</c:v>
                </c:pt>
                <c:pt idx="2486">
                  <c:v>1.0092921953804908</c:v>
                </c:pt>
                <c:pt idx="2487">
                  <c:v>1.0054158220871521</c:v>
                </c:pt>
                <c:pt idx="2488">
                  <c:v>1.0054158220871521</c:v>
                </c:pt>
                <c:pt idx="2489">
                  <c:v>1.0054158220871521</c:v>
                </c:pt>
                <c:pt idx="2490">
                  <c:v>1.0088513460177666</c:v>
                </c:pt>
                <c:pt idx="2491">
                  <c:v>1.0108381635293886</c:v>
                </c:pt>
                <c:pt idx="2492">
                  <c:v>1.0291136778184053</c:v>
                </c:pt>
                <c:pt idx="2493">
                  <c:v>1.0239168708223267</c:v>
                </c:pt>
                <c:pt idx="2494">
                  <c:v>1.0294547986682192</c:v>
                </c:pt>
                <c:pt idx="2495">
                  <c:v>1.0294547986682192</c:v>
                </c:pt>
                <c:pt idx="2496">
                  <c:v>1.0294547986682192</c:v>
                </c:pt>
                <c:pt idx="2497">
                  <c:v>1.0309664080538352</c:v>
                </c:pt>
                <c:pt idx="2498">
                  <c:v>1.0462817827370297</c:v>
                </c:pt>
                <c:pt idx="2499">
                  <c:v>1.0381232503460545</c:v>
                </c:pt>
                <c:pt idx="2500">
                  <c:v>1.0445608491935732</c:v>
                </c:pt>
                <c:pt idx="2501">
                  <c:v>1.0410241871597601</c:v>
                </c:pt>
                <c:pt idx="2502">
                  <c:v>1.0410241871597601</c:v>
                </c:pt>
                <c:pt idx="2503">
                  <c:v>1.0410241871597601</c:v>
                </c:pt>
                <c:pt idx="2504">
                  <c:v>1.0474276034427834</c:v>
                </c:pt>
                <c:pt idx="2505">
                  <c:v>1.0252880497754522</c:v>
                </c:pt>
                <c:pt idx="2506">
                  <c:v>1.0234139994869091</c:v>
                </c:pt>
                <c:pt idx="2507">
                  <c:v>1.0417355016590877</c:v>
                </c:pt>
                <c:pt idx="2508">
                  <c:v>1.0445227902557841</c:v>
                </c:pt>
                <c:pt idx="2509">
                  <c:v>1.0445227902557841</c:v>
                </c:pt>
                <c:pt idx="2510">
                  <c:v>1.0445227902557841</c:v>
                </c:pt>
                <c:pt idx="2511">
                  <c:v>1.0359982929861606</c:v>
                </c:pt>
                <c:pt idx="2512">
                  <c:v>1.0387091113097067</c:v>
                </c:pt>
                <c:pt idx="2513">
                  <c:v>1.0171191216560995</c:v>
                </c:pt>
                <c:pt idx="2514">
                  <c:v>1.0280249455193353</c:v>
                </c:pt>
                <c:pt idx="2515">
                  <c:v>1.0088300259646532</c:v>
                </c:pt>
                <c:pt idx="2516">
                  <c:v>1.0088300259646532</c:v>
                </c:pt>
                <c:pt idx="2517">
                  <c:v>1.0088300259646532</c:v>
                </c:pt>
                <c:pt idx="2518">
                  <c:v>0.97826270816124594</c:v>
                </c:pt>
                <c:pt idx="2519">
                  <c:v>0.99185697310219789</c:v>
                </c:pt>
                <c:pt idx="2520">
                  <c:v>0.98842321115944443</c:v>
                </c:pt>
                <c:pt idx="2521">
                  <c:v>1.0085780617005859</c:v>
                </c:pt>
                <c:pt idx="2522">
                  <c:v>0.99645910919532132</c:v>
                </c:pt>
                <c:pt idx="2523">
                  <c:v>0.99645910919532132</c:v>
                </c:pt>
                <c:pt idx="2524">
                  <c:v>0.99645910919532132</c:v>
                </c:pt>
                <c:pt idx="2525">
                  <c:v>0.95152137079836374</c:v>
                </c:pt>
                <c:pt idx="2526">
                  <c:v>0.92693846856472706</c:v>
                </c:pt>
                <c:pt idx="2527">
                  <c:v>0.92748627059059008</c:v>
                </c:pt>
                <c:pt idx="2528">
                  <c:v>0.93445193719993336</c:v>
                </c:pt>
                <c:pt idx="2529">
                  <c:v>0.95490562088223441</c:v>
                </c:pt>
                <c:pt idx="2530">
                  <c:v>0.95490562088223441</c:v>
                </c:pt>
                <c:pt idx="2531">
                  <c:v>0.95490562088223441</c:v>
                </c:pt>
                <c:pt idx="2532">
                  <c:v>0.97520125425343862</c:v>
                </c:pt>
                <c:pt idx="2533">
                  <c:v>0.96174812454012115</c:v>
                </c:pt>
                <c:pt idx="2534">
                  <c:v>0.94987831711834647</c:v>
                </c:pt>
                <c:pt idx="2535">
                  <c:v>0.94093323334639567</c:v>
                </c:pt>
                <c:pt idx="2536">
                  <c:v>0.95729699080665209</c:v>
                </c:pt>
                <c:pt idx="2537">
                  <c:v>0.95729699080665209</c:v>
                </c:pt>
                <c:pt idx="2538">
                  <c:v>0.95729699080665209</c:v>
                </c:pt>
                <c:pt idx="2539">
                  <c:v>0.94126924443141358</c:v>
                </c:pt>
                <c:pt idx="2540">
                  <c:v>0.94388174383233758</c:v>
                </c:pt>
                <c:pt idx="2541">
                  <c:v>0.94629002884021729</c:v>
                </c:pt>
                <c:pt idx="2542">
                  <c:v>0.97603643649936711</c:v>
                </c:pt>
                <c:pt idx="2543">
                  <c:v>0.97603643649936711</c:v>
                </c:pt>
                <c:pt idx="2544">
                  <c:v>0.97603643649936711</c:v>
                </c:pt>
                <c:pt idx="2545">
                  <c:v>0.97603643649936711</c:v>
                </c:pt>
                <c:pt idx="2546">
                  <c:v>0.99339219312514615</c:v>
                </c:pt>
                <c:pt idx="2547">
                  <c:v>0.98806676101524327</c:v>
                </c:pt>
                <c:pt idx="2548">
                  <c:v>0.98284246700853928</c:v>
                </c:pt>
                <c:pt idx="2549">
                  <c:v>0.96368032042806429</c:v>
                </c:pt>
                <c:pt idx="2550">
                  <c:v>0.95772198227863081</c:v>
                </c:pt>
                <c:pt idx="2551">
                  <c:v>0.95772198227863081</c:v>
                </c:pt>
                <c:pt idx="2552">
                  <c:v>0.95772198227863081</c:v>
                </c:pt>
                <c:pt idx="2553">
                  <c:v>0.92772625333720493</c:v>
                </c:pt>
                <c:pt idx="2554">
                  <c:v>0.93577289949903164</c:v>
                </c:pt>
                <c:pt idx="2555">
                  <c:v>0.94859382796796288</c:v>
                </c:pt>
                <c:pt idx="2556">
                  <c:v>0.94804426395423902</c:v>
                </c:pt>
                <c:pt idx="2557">
                  <c:v>0.97683725998201354</c:v>
                </c:pt>
                <c:pt idx="2558">
                  <c:v>0.97683725998201354</c:v>
                </c:pt>
                <c:pt idx="2559">
                  <c:v>0.97683725998201354</c:v>
                </c:pt>
                <c:pt idx="2560">
                  <c:v>0.97799435741007512</c:v>
                </c:pt>
                <c:pt idx="2561">
                  <c:v>1.0072676713286515</c:v>
                </c:pt>
                <c:pt idx="2562">
                  <c:v>1.0077775906155118</c:v>
                </c:pt>
                <c:pt idx="2563">
                  <c:v>0.99015277844341754</c:v>
                </c:pt>
                <c:pt idx="2564">
                  <c:v>0.98855782703199491</c:v>
                </c:pt>
                <c:pt idx="2565">
                  <c:v>0.98855782703199491</c:v>
                </c:pt>
                <c:pt idx="2566">
                  <c:v>0.98855782703199491</c:v>
                </c:pt>
                <c:pt idx="2567">
                  <c:v>0.97528970604404119</c:v>
                </c:pt>
                <c:pt idx="2568">
                  <c:v>0.98055523056668359</c:v>
                </c:pt>
                <c:pt idx="2569">
                  <c:v>0.96995722598269596</c:v>
                </c:pt>
                <c:pt idx="2570">
                  <c:v>0.95149899355253398</c:v>
                </c:pt>
                <c:pt idx="2571">
                  <c:v>0.95904734954738047</c:v>
                </c:pt>
                <c:pt idx="2572">
                  <c:v>0.95904734954738047</c:v>
                </c:pt>
                <c:pt idx="2573">
                  <c:v>0.95904734954738047</c:v>
                </c:pt>
                <c:pt idx="2574">
                  <c:v>0.95422285058624867</c:v>
                </c:pt>
                <c:pt idx="2575">
                  <c:v>0.95422285058624867</c:v>
                </c:pt>
                <c:pt idx="2576">
                  <c:v>0.92471660187249971</c:v>
                </c:pt>
                <c:pt idx="2577">
                  <c:v>0.94119665053155654</c:v>
                </c:pt>
                <c:pt idx="2578">
                  <c:v>0.94095261521286233</c:v>
                </c:pt>
                <c:pt idx="2579">
                  <c:v>0.94095261521286233</c:v>
                </c:pt>
                <c:pt idx="2580">
                  <c:v>0.94095261521286233</c:v>
                </c:pt>
                <c:pt idx="2581">
                  <c:v>0.96011440939576498</c:v>
                </c:pt>
                <c:pt idx="2582">
                  <c:v>0.94791264346105164</c:v>
                </c:pt>
                <c:pt idx="2583">
                  <c:v>0.96262788507892294</c:v>
                </c:pt>
                <c:pt idx="2584">
                  <c:v>0.97284089531536755</c:v>
                </c:pt>
                <c:pt idx="2585">
                  <c:v>0.95963426770374927</c:v>
                </c:pt>
                <c:pt idx="2586">
                  <c:v>0.95963426770374927</c:v>
                </c:pt>
                <c:pt idx="2587">
                  <c:v>0.95963426770374927</c:v>
                </c:pt>
                <c:pt idx="2588">
                  <c:v>0.95258349708073853</c:v>
                </c:pt>
                <c:pt idx="2589">
                  <c:v>0.96238860712745233</c:v>
                </c:pt>
                <c:pt idx="2590">
                  <c:v>0.96977609363062545</c:v>
                </c:pt>
                <c:pt idx="2591">
                  <c:v>0.99711315908917908</c:v>
                </c:pt>
                <c:pt idx="2592">
                  <c:v>0.96051526163405343</c:v>
                </c:pt>
                <c:pt idx="2593">
                  <c:v>0.96051526163405343</c:v>
                </c:pt>
                <c:pt idx="2594">
                  <c:v>0.96051526163405343</c:v>
                </c:pt>
                <c:pt idx="2595">
                  <c:v>0.95214652409130762</c:v>
                </c:pt>
                <c:pt idx="2596">
                  <c:v>0.98473219898904174</c:v>
                </c:pt>
                <c:pt idx="2597">
                  <c:v>0.9909062044526139</c:v>
                </c:pt>
                <c:pt idx="2598">
                  <c:v>1.0138409432414375</c:v>
                </c:pt>
                <c:pt idx="2599">
                  <c:v>1.0474173839131917</c:v>
                </c:pt>
                <c:pt idx="2600">
                  <c:v>1.0474173839131917</c:v>
                </c:pt>
                <c:pt idx="2601">
                  <c:v>1.0474173839131917</c:v>
                </c:pt>
                <c:pt idx="2602">
                  <c:v>1.0519428735343785</c:v>
                </c:pt>
                <c:pt idx="2603">
                  <c:v>1.0534241767287922</c:v>
                </c:pt>
                <c:pt idx="2604">
                  <c:v>1.0636324295980131</c:v>
                </c:pt>
                <c:pt idx="2605">
                  <c:v>1.0786965448122849</c:v>
                </c:pt>
                <c:pt idx="2606">
                  <c:v>1.0716574033091542</c:v>
                </c:pt>
                <c:pt idx="2607">
                  <c:v>1.0716574033091542</c:v>
                </c:pt>
                <c:pt idx="2608">
                  <c:v>1.0716574033091542</c:v>
                </c:pt>
                <c:pt idx="2609">
                  <c:v>1.0942675839340537</c:v>
                </c:pt>
                <c:pt idx="2610">
                  <c:v>1.099895549359623</c:v>
                </c:pt>
                <c:pt idx="2611">
                  <c:v>1.0892654765965724</c:v>
                </c:pt>
                <c:pt idx="2612">
                  <c:v>1.0892654765965724</c:v>
                </c:pt>
                <c:pt idx="2613">
                  <c:v>1.0869916312624572</c:v>
                </c:pt>
                <c:pt idx="2614">
                  <c:v>1.0869916312624572</c:v>
                </c:pt>
                <c:pt idx="2615">
                  <c:v>1.0869916312624572</c:v>
                </c:pt>
                <c:pt idx="2616">
                  <c:v>1.095922266733951</c:v>
                </c:pt>
                <c:pt idx="2617">
                  <c:v>1.0880341994795792</c:v>
                </c:pt>
                <c:pt idx="2618">
                  <c:v>1.0919239638806584</c:v>
                </c:pt>
                <c:pt idx="2619">
                  <c:v>1.0843164050936955</c:v>
                </c:pt>
                <c:pt idx="2620">
                  <c:v>1.1011381031989242</c:v>
                </c:pt>
                <c:pt idx="2621">
                  <c:v>1.1011381031989242</c:v>
                </c:pt>
                <c:pt idx="2622">
                  <c:v>1.1011381031989242</c:v>
                </c:pt>
                <c:pt idx="2623">
                  <c:v>1.1033287827060188</c:v>
                </c:pt>
                <c:pt idx="2624">
                  <c:v>1.1102370085111064</c:v>
                </c:pt>
                <c:pt idx="2625">
                  <c:v>1.1047464781386642</c:v>
                </c:pt>
                <c:pt idx="2626">
                  <c:v>1.0916316500945835</c:v>
                </c:pt>
                <c:pt idx="2627">
                  <c:v>1.0942931327580323</c:v>
                </c:pt>
                <c:pt idx="2628">
                  <c:v>1.0942931327580323</c:v>
                </c:pt>
                <c:pt idx="2629">
                  <c:v>1.0942931327580323</c:v>
                </c:pt>
                <c:pt idx="2630">
                  <c:v>1.1110743051424672</c:v>
                </c:pt>
                <c:pt idx="2631">
                  <c:v>1.0799776861857331</c:v>
                </c:pt>
                <c:pt idx="2632">
                  <c:v>1.0878209989484455</c:v>
                </c:pt>
                <c:pt idx="2633">
                  <c:v>1.1086993217051531</c:v>
                </c:pt>
                <c:pt idx="2634">
                  <c:v>1.1222308598782678</c:v>
                </c:pt>
                <c:pt idx="2635">
                  <c:v>1.1222308598782678</c:v>
                </c:pt>
                <c:pt idx="2636">
                  <c:v>1.1222308598782678</c:v>
                </c:pt>
                <c:pt idx="2637">
                  <c:v>1.1222308598782678</c:v>
                </c:pt>
                <c:pt idx="2638">
                  <c:v>1.119367101008421</c:v>
                </c:pt>
                <c:pt idx="2639">
                  <c:v>1.1326808574819642</c:v>
                </c:pt>
                <c:pt idx="2640">
                  <c:v>1.1491024081440488</c:v>
                </c:pt>
                <c:pt idx="2641">
                  <c:v>1.1366754601607496</c:v>
                </c:pt>
                <c:pt idx="2642">
                  <c:v>1.1366754601607496</c:v>
                </c:pt>
                <c:pt idx="2643">
                  <c:v>1.1366754601607496</c:v>
                </c:pt>
                <c:pt idx="2644">
                  <c:v>1.1430365887351182</c:v>
                </c:pt>
                <c:pt idx="2645">
                  <c:v>1.1466900705640897</c:v>
                </c:pt>
                <c:pt idx="2646">
                  <c:v>1.1635700904675048</c:v>
                </c:pt>
                <c:pt idx="2647">
                  <c:v>1.1749743806965065</c:v>
                </c:pt>
                <c:pt idx="2648">
                  <c:v>1.1596161897082993</c:v>
                </c:pt>
                <c:pt idx="2649">
                  <c:v>1.1596161897082993</c:v>
                </c:pt>
                <c:pt idx="2650">
                  <c:v>1.1596161897082993</c:v>
                </c:pt>
                <c:pt idx="2651">
                  <c:v>1.1598847166582562</c:v>
                </c:pt>
                <c:pt idx="2652">
                  <c:v>1.1780659645967304</c:v>
                </c:pt>
                <c:pt idx="2653">
                  <c:v>1.1857395979284659</c:v>
                </c:pt>
                <c:pt idx="2654">
                  <c:v>1.1933998401524613</c:v>
                </c:pt>
                <c:pt idx="2655">
                  <c:v>1.1925861541584322</c:v>
                </c:pt>
                <c:pt idx="2656">
                  <c:v>1.1925861541584322</c:v>
                </c:pt>
                <c:pt idx="2657">
                  <c:v>1.1925861541584322</c:v>
                </c:pt>
                <c:pt idx="2658">
                  <c:v>1.1937377894241259</c:v>
                </c:pt>
                <c:pt idx="2659">
                  <c:v>1.2026839303887931</c:v>
                </c:pt>
                <c:pt idx="2660">
                  <c:v>1.2050997919444735</c:v>
                </c:pt>
                <c:pt idx="2661">
                  <c:v>1.1696914124940445</c:v>
                </c:pt>
                <c:pt idx="2662">
                  <c:v>1.1753156777451066</c:v>
                </c:pt>
                <c:pt idx="2663">
                  <c:v>1.1753156777451066</c:v>
                </c:pt>
                <c:pt idx="2664">
                  <c:v>1.1753156777451066</c:v>
                </c:pt>
                <c:pt idx="2665">
                  <c:v>1.1789177095285484</c:v>
                </c:pt>
                <c:pt idx="2666">
                  <c:v>1.1632072971670053</c:v>
                </c:pt>
                <c:pt idx="2667">
                  <c:v>1.1473034185383677</c:v>
                </c:pt>
                <c:pt idx="2668">
                  <c:v>1.1798980795741909</c:v>
                </c:pt>
                <c:pt idx="2669">
                  <c:v>1.1943035637261672</c:v>
                </c:pt>
                <c:pt idx="2670">
                  <c:v>1.1943035637261672</c:v>
                </c:pt>
                <c:pt idx="2671">
                  <c:v>1.1943035637261672</c:v>
                </c:pt>
                <c:pt idx="2672">
                  <c:v>1.1771805656967744</c:v>
                </c:pt>
                <c:pt idx="2673">
                  <c:v>1.1595946934563996</c:v>
                </c:pt>
                <c:pt idx="2674">
                  <c:v>1.1621856966054245</c:v>
                </c:pt>
                <c:pt idx="2675">
                  <c:v>1.1495471338800665</c:v>
                </c:pt>
                <c:pt idx="2676">
                  <c:v>1.1619028975537971</c:v>
                </c:pt>
                <c:pt idx="2677">
                  <c:v>1.1619028975537971</c:v>
                </c:pt>
                <c:pt idx="2678">
                  <c:v>1.1619028975537971</c:v>
                </c:pt>
                <c:pt idx="2679">
                  <c:v>1.1597337142986017</c:v>
                </c:pt>
                <c:pt idx="2680">
                  <c:v>1.1645465841398539</c:v>
                </c:pt>
                <c:pt idx="2681">
                  <c:v>1.1664976332979058</c:v>
                </c:pt>
                <c:pt idx="2682">
                  <c:v>1.1664976332979058</c:v>
                </c:pt>
                <c:pt idx="2683">
                  <c:v>1.1664976332979058</c:v>
                </c:pt>
                <c:pt idx="2684">
                  <c:v>1.1664976332979058</c:v>
                </c:pt>
                <c:pt idx="2685">
                  <c:v>1.1664976332979058</c:v>
                </c:pt>
                <c:pt idx="2686">
                  <c:v>1.1654087248000495</c:v>
                </c:pt>
                <c:pt idx="2687">
                  <c:v>1.151784858463039</c:v>
                </c:pt>
                <c:pt idx="2688">
                  <c:v>1.1459710033181754</c:v>
                </c:pt>
                <c:pt idx="2689">
                  <c:v>1.1574767840479483</c:v>
                </c:pt>
                <c:pt idx="2690">
                  <c:v>1.1276345242491816</c:v>
                </c:pt>
                <c:pt idx="2691">
                  <c:v>1.1276345242491816</c:v>
                </c:pt>
                <c:pt idx="2692">
                  <c:v>1.1276345242491816</c:v>
                </c:pt>
                <c:pt idx="2693">
                  <c:v>1.1546392787972248</c:v>
                </c:pt>
                <c:pt idx="2694">
                  <c:v>1.1599370476977162</c:v>
                </c:pt>
                <c:pt idx="2695">
                  <c:v>1.1614498904748345</c:v>
                </c:pt>
                <c:pt idx="2696">
                  <c:v>1.1492340286372364</c:v>
                </c:pt>
                <c:pt idx="2697">
                  <c:v>1.1491221424080875</c:v>
                </c:pt>
                <c:pt idx="2698">
                  <c:v>1.1491221424080875</c:v>
                </c:pt>
                <c:pt idx="2699">
                  <c:v>1.1491221424080875</c:v>
                </c:pt>
                <c:pt idx="2700">
                  <c:v>1.1381225807906674</c:v>
                </c:pt>
                <c:pt idx="2701">
                  <c:v>1.1376658735371976</c:v>
                </c:pt>
                <c:pt idx="2702">
                  <c:v>1.1113264456053202</c:v>
                </c:pt>
                <c:pt idx="2703">
                  <c:v>1.105999956302701</c:v>
                </c:pt>
                <c:pt idx="2704">
                  <c:v>1.1083643678128512</c:v>
                </c:pt>
                <c:pt idx="2705">
                  <c:v>1.1083643678128512</c:v>
                </c:pt>
                <c:pt idx="2706">
                  <c:v>1.1083643678128512</c:v>
                </c:pt>
                <c:pt idx="2707">
                  <c:v>1.1092252750815448</c:v>
                </c:pt>
                <c:pt idx="2708">
                  <c:v>1.1009996109530804</c:v>
                </c:pt>
                <c:pt idx="2709">
                  <c:v>1.1009996109530804</c:v>
                </c:pt>
                <c:pt idx="2710">
                  <c:v>1.0992379754900441</c:v>
                </c:pt>
                <c:pt idx="2711">
                  <c:v>1.0979321662865471</c:v>
                </c:pt>
                <c:pt idx="2712">
                  <c:v>1.0979321662865471</c:v>
                </c:pt>
                <c:pt idx="2713">
                  <c:v>1.0979321662865471</c:v>
                </c:pt>
                <c:pt idx="2714">
                  <c:v>1.0911407602766179</c:v>
                </c:pt>
                <c:pt idx="2715">
                  <c:v>1.0875493004203398</c:v>
                </c:pt>
                <c:pt idx="2716">
                  <c:v>1.0685733959567312</c:v>
                </c:pt>
                <c:pt idx="2717">
                  <c:v>1.0564255468505523</c:v>
                </c:pt>
                <c:pt idx="2718">
                  <c:v>1.0421555595650569</c:v>
                </c:pt>
                <c:pt idx="2719">
                  <c:v>1.0421555595650569</c:v>
                </c:pt>
                <c:pt idx="2720">
                  <c:v>1.0421555595650569</c:v>
                </c:pt>
                <c:pt idx="2721">
                  <c:v>1.0557968695818871</c:v>
                </c:pt>
                <c:pt idx="2722">
                  <c:v>1.0565302089294724</c:v>
                </c:pt>
                <c:pt idx="2723">
                  <c:v>1.0537737551203366</c:v>
                </c:pt>
                <c:pt idx="2724">
                  <c:v>1.0410331732978491</c:v>
                </c:pt>
                <c:pt idx="2725">
                  <c:v>1.0325314056716275</c:v>
                </c:pt>
                <c:pt idx="2726">
                  <c:v>1.0325314056716275</c:v>
                </c:pt>
                <c:pt idx="2727">
                  <c:v>1.0325314056716275</c:v>
                </c:pt>
                <c:pt idx="2728">
                  <c:v>1.0315748224621033</c:v>
                </c:pt>
                <c:pt idx="2729">
                  <c:v>1.0460032124562673</c:v>
                </c:pt>
                <c:pt idx="2730">
                  <c:v>1.0442398150053707</c:v>
                </c:pt>
                <c:pt idx="2731">
                  <c:v>1.0189447172784758</c:v>
                </c:pt>
                <c:pt idx="2732">
                  <c:v>1</c:v>
                </c:pt>
              </c:numCache>
            </c:numRef>
          </c:val>
          <c:smooth val="0"/>
        </c:ser>
        <c:dLbls>
          <c:showLegendKey val="0"/>
          <c:showVal val="0"/>
          <c:showCatName val="0"/>
          <c:showSerName val="0"/>
          <c:showPercent val="0"/>
          <c:showBubbleSize val="0"/>
        </c:dLbls>
        <c:smooth val="0"/>
        <c:axId val="719240048"/>
        <c:axId val="719239264"/>
      </c:lineChart>
      <c:dateAx>
        <c:axId val="719240048"/>
        <c:scaling>
          <c:orientation val="minMax"/>
        </c:scaling>
        <c:delete val="0"/>
        <c:axPos val="b"/>
        <c:numFmt formatCode="yyyy" sourceLinked="0"/>
        <c:majorTickMark val="out"/>
        <c:minorTickMark val="none"/>
        <c:tickLblPos val="low"/>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1500" b="1" i="0" u="none" strike="noStrike" kern="1200" baseline="0">
                <a:solidFill>
                  <a:schemeClr val="tx1">
                    <a:lumMod val="65000"/>
                    <a:lumOff val="35000"/>
                  </a:schemeClr>
                </a:solidFill>
                <a:latin typeface="+mn-lt"/>
                <a:ea typeface="+mn-ea"/>
                <a:cs typeface="+mn-cs"/>
              </a:defRPr>
            </a:pPr>
            <a:endParaRPr lang="en-US"/>
          </a:p>
        </c:txPr>
        <c:crossAx val="719239264"/>
        <c:crosses val="autoZero"/>
        <c:auto val="0"/>
        <c:lblOffset val="100"/>
        <c:baseTimeUnit val="days"/>
        <c:majorUnit val="1"/>
        <c:majorTimeUnit val="years"/>
      </c:dateAx>
      <c:valAx>
        <c:axId val="719239264"/>
        <c:scaling>
          <c:orientation val="minMax"/>
          <c:max val="2.7"/>
          <c:min val="0.5"/>
        </c:scaling>
        <c:delete val="1"/>
        <c:axPos val="l"/>
        <c:majorGridlines>
          <c:spPr>
            <a:ln w="9525" cap="flat" cmpd="sng" algn="ctr">
              <a:noFill/>
              <a:round/>
            </a:ln>
            <a:effectLst/>
          </c:spPr>
        </c:majorGridlines>
        <c:numFmt formatCode="#,##0.00" sourceLinked="0"/>
        <c:majorTickMark val="out"/>
        <c:minorTickMark val="none"/>
        <c:tickLblPos val="nextTo"/>
        <c:crossAx val="719240048"/>
        <c:crosses val="autoZero"/>
        <c:crossBetween val="between"/>
      </c:valAx>
      <c:spPr>
        <a:noFill/>
        <a:ln>
          <a:noFill/>
        </a:ln>
        <a:effectLst/>
      </c:spPr>
    </c:plotArea>
    <c:legend>
      <c:legendPos val="t"/>
      <c:layout>
        <c:manualLayout>
          <c:xMode val="edge"/>
          <c:yMode val="edge"/>
          <c:x val="1.2986350094160442E-2"/>
          <c:y val="2.6086956521739129E-2"/>
          <c:w val="0.28811515244320152"/>
          <c:h val="7.5857354787173342E-2"/>
        </c:manualLayout>
      </c:layout>
      <c:overlay val="0"/>
      <c:spPr>
        <a:noFill/>
        <a:ln>
          <a:noFill/>
        </a:ln>
        <a:effectLst/>
      </c:spPr>
      <c:txPr>
        <a:bodyPr rot="0" spcFirstLastPara="1" vertOverflow="ellipsis" vert="horz" wrap="square" anchor="ctr" anchorCtr="1"/>
        <a:lstStyle/>
        <a:p>
          <a:pPr>
            <a:defRPr sz="15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solidFill>
      <a:schemeClr val="bg1"/>
    </a:solidFill>
    <a:ln w="9525" cap="flat" cmpd="sng" algn="ctr">
      <a:noFill/>
      <a:round/>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F05FA90-FAB9-4FB4-8951-22E45714F5AD}"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en-US"/>
        </a:p>
      </dgm:t>
    </dgm:pt>
    <dgm:pt modelId="{99DD32DF-4152-45C9-BE68-29AE5D7B18C5}">
      <dgm:prSet phldrT="[Text]"/>
      <dgm:spPr>
        <a:noFill/>
        <a:ln>
          <a:solidFill>
            <a:schemeClr val="accent1"/>
          </a:solidFill>
        </a:ln>
      </dgm:spPr>
      <dgm:t>
        <a:bodyPr/>
        <a:lstStyle/>
        <a:p>
          <a:r>
            <a:rPr lang="en-US" b="1" dirty="0" err="1" smtClean="0">
              <a:solidFill>
                <a:schemeClr val="tx2"/>
              </a:solidFill>
            </a:rPr>
            <a:t>Redução</a:t>
          </a:r>
          <a:r>
            <a:rPr lang="en-US" b="1" dirty="0" smtClean="0">
              <a:solidFill>
                <a:schemeClr val="tx2"/>
              </a:solidFill>
            </a:rPr>
            <a:t> do Estado</a:t>
          </a:r>
          <a:endParaRPr lang="en-US" b="1" dirty="0">
            <a:solidFill>
              <a:schemeClr val="tx2"/>
            </a:solidFill>
          </a:endParaRPr>
        </a:p>
      </dgm:t>
    </dgm:pt>
    <dgm:pt modelId="{F3AF5B35-8E6D-4FD2-9206-40D98A726809}" type="parTrans" cxnId="{C8D1E54D-C7AD-4649-9CD5-B3479574D343}">
      <dgm:prSet/>
      <dgm:spPr/>
      <dgm:t>
        <a:bodyPr/>
        <a:lstStyle/>
        <a:p>
          <a:endParaRPr lang="en-US"/>
        </a:p>
      </dgm:t>
    </dgm:pt>
    <dgm:pt modelId="{5E632147-AE29-4790-8E99-E3998CB89524}" type="sibTrans" cxnId="{C8D1E54D-C7AD-4649-9CD5-B3479574D343}">
      <dgm:prSet/>
      <dgm:spPr/>
      <dgm:t>
        <a:bodyPr/>
        <a:lstStyle/>
        <a:p>
          <a:endParaRPr lang="en-US"/>
        </a:p>
      </dgm:t>
    </dgm:pt>
    <dgm:pt modelId="{3590AF79-4A35-4F82-BCF2-F3D46B27A7C8}">
      <dgm:prSet phldrT="[Text]"/>
      <dgm:spPr>
        <a:noFill/>
        <a:ln>
          <a:solidFill>
            <a:schemeClr val="accent1"/>
          </a:solidFill>
        </a:ln>
      </dgm:spPr>
      <dgm:t>
        <a:bodyPr/>
        <a:lstStyle/>
        <a:p>
          <a:r>
            <a:rPr lang="en-US" dirty="0" smtClean="0">
              <a:solidFill>
                <a:schemeClr val="tx2"/>
              </a:solidFill>
            </a:rPr>
            <a:t>Agenda </a:t>
          </a:r>
          <a:r>
            <a:rPr lang="en-US" dirty="0" err="1" smtClean="0">
              <a:solidFill>
                <a:schemeClr val="tx2"/>
              </a:solidFill>
            </a:rPr>
            <a:t>Desestatização</a:t>
          </a:r>
          <a:endParaRPr lang="en-US" dirty="0">
            <a:solidFill>
              <a:schemeClr val="tx2"/>
            </a:solidFill>
          </a:endParaRPr>
        </a:p>
      </dgm:t>
    </dgm:pt>
    <dgm:pt modelId="{0AFA0C6D-1A60-4F31-B9E5-2AF42670FC26}" type="parTrans" cxnId="{72F2A993-C568-49E6-9A4D-C04C21D5F232}">
      <dgm:prSet/>
      <dgm:spPr/>
      <dgm:t>
        <a:bodyPr/>
        <a:lstStyle/>
        <a:p>
          <a:endParaRPr lang="en-US"/>
        </a:p>
      </dgm:t>
    </dgm:pt>
    <dgm:pt modelId="{C09E4231-D669-4B03-BF49-D19F2E7AE18A}" type="sibTrans" cxnId="{72F2A993-C568-49E6-9A4D-C04C21D5F232}">
      <dgm:prSet/>
      <dgm:spPr/>
      <dgm:t>
        <a:bodyPr/>
        <a:lstStyle/>
        <a:p>
          <a:endParaRPr lang="en-US"/>
        </a:p>
      </dgm:t>
    </dgm:pt>
    <dgm:pt modelId="{96804190-3B74-419E-A58E-CF66D1BB7EE6}">
      <dgm:prSet phldrT="[Text]"/>
      <dgm:spPr>
        <a:noFill/>
        <a:ln>
          <a:solidFill>
            <a:schemeClr val="accent1"/>
          </a:solidFill>
        </a:ln>
      </dgm:spPr>
      <dgm:t>
        <a:bodyPr/>
        <a:lstStyle/>
        <a:p>
          <a:r>
            <a:rPr lang="en-US" dirty="0" err="1" smtClean="0">
              <a:solidFill>
                <a:schemeClr val="tx2"/>
              </a:solidFill>
            </a:rPr>
            <a:t>Mais</a:t>
          </a:r>
          <a:r>
            <a:rPr lang="en-US" dirty="0" smtClean="0">
              <a:solidFill>
                <a:schemeClr val="tx2"/>
              </a:solidFill>
            </a:rPr>
            <a:t> </a:t>
          </a:r>
          <a:r>
            <a:rPr lang="en-US" dirty="0" err="1" smtClean="0">
              <a:solidFill>
                <a:schemeClr val="tx2"/>
              </a:solidFill>
            </a:rPr>
            <a:t>Investimentos</a:t>
          </a:r>
          <a:r>
            <a:rPr lang="en-US" dirty="0" smtClean="0">
              <a:solidFill>
                <a:schemeClr val="tx2"/>
              </a:solidFill>
            </a:rPr>
            <a:t> </a:t>
          </a:r>
          <a:r>
            <a:rPr lang="en-US" dirty="0" err="1" smtClean="0">
              <a:solidFill>
                <a:schemeClr val="tx2"/>
              </a:solidFill>
            </a:rPr>
            <a:t>Privados</a:t>
          </a:r>
          <a:r>
            <a:rPr lang="en-US" dirty="0" smtClean="0">
              <a:solidFill>
                <a:schemeClr val="tx2"/>
              </a:solidFill>
            </a:rPr>
            <a:t> de LP</a:t>
          </a:r>
          <a:endParaRPr lang="en-US" dirty="0">
            <a:solidFill>
              <a:schemeClr val="tx2"/>
            </a:solidFill>
          </a:endParaRPr>
        </a:p>
      </dgm:t>
    </dgm:pt>
    <dgm:pt modelId="{352E36AF-EF7E-41A6-B055-02DA00E68A7B}" type="parTrans" cxnId="{66881369-FA1B-4631-ACC5-0C7C6D08E2C3}">
      <dgm:prSet/>
      <dgm:spPr/>
      <dgm:t>
        <a:bodyPr/>
        <a:lstStyle/>
        <a:p>
          <a:endParaRPr lang="en-US"/>
        </a:p>
      </dgm:t>
    </dgm:pt>
    <dgm:pt modelId="{7D5E8D92-9355-4D88-9C71-8C98D55FBAC5}" type="sibTrans" cxnId="{66881369-FA1B-4631-ACC5-0C7C6D08E2C3}">
      <dgm:prSet/>
      <dgm:spPr/>
      <dgm:t>
        <a:bodyPr/>
        <a:lstStyle/>
        <a:p>
          <a:endParaRPr lang="en-US"/>
        </a:p>
      </dgm:t>
    </dgm:pt>
    <dgm:pt modelId="{93C6A76A-BF0D-474C-87A0-7398725CCB58}">
      <dgm:prSet phldrT="[Text]"/>
      <dgm:spPr>
        <a:noFill/>
        <a:ln>
          <a:solidFill>
            <a:schemeClr val="accent1"/>
          </a:solidFill>
        </a:ln>
      </dgm:spPr>
      <dgm:t>
        <a:bodyPr/>
        <a:lstStyle/>
        <a:p>
          <a:r>
            <a:rPr lang="en-US" dirty="0" err="1" smtClean="0">
              <a:solidFill>
                <a:schemeClr val="tx2"/>
              </a:solidFill>
            </a:rPr>
            <a:t>Mais</a:t>
          </a:r>
          <a:r>
            <a:rPr lang="en-US" dirty="0" smtClean="0">
              <a:solidFill>
                <a:schemeClr val="tx2"/>
              </a:solidFill>
            </a:rPr>
            <a:t> </a:t>
          </a:r>
          <a:r>
            <a:rPr lang="en-US" dirty="0" err="1" smtClean="0">
              <a:solidFill>
                <a:schemeClr val="tx2"/>
              </a:solidFill>
            </a:rPr>
            <a:t>Financiamento</a:t>
          </a:r>
          <a:r>
            <a:rPr lang="en-US" dirty="0" smtClean="0">
              <a:solidFill>
                <a:schemeClr val="tx2"/>
              </a:solidFill>
            </a:rPr>
            <a:t> </a:t>
          </a:r>
          <a:r>
            <a:rPr lang="en-US" dirty="0" err="1" smtClean="0">
              <a:solidFill>
                <a:schemeClr val="tx2"/>
              </a:solidFill>
            </a:rPr>
            <a:t>Privado</a:t>
          </a:r>
          <a:endParaRPr lang="en-US" dirty="0">
            <a:solidFill>
              <a:schemeClr val="tx2"/>
            </a:solidFill>
          </a:endParaRPr>
        </a:p>
      </dgm:t>
    </dgm:pt>
    <dgm:pt modelId="{08E3517A-936A-456B-BB8B-7FBD357EB82C}" type="parTrans" cxnId="{FFD7F36D-272F-468F-978F-6430728D5D57}">
      <dgm:prSet/>
      <dgm:spPr/>
      <dgm:t>
        <a:bodyPr/>
        <a:lstStyle/>
        <a:p>
          <a:endParaRPr lang="en-US"/>
        </a:p>
      </dgm:t>
    </dgm:pt>
    <dgm:pt modelId="{9DD3D787-996B-40B2-81F9-743D36A7FA00}" type="sibTrans" cxnId="{FFD7F36D-272F-468F-978F-6430728D5D57}">
      <dgm:prSet/>
      <dgm:spPr/>
      <dgm:t>
        <a:bodyPr/>
        <a:lstStyle/>
        <a:p>
          <a:endParaRPr lang="en-US"/>
        </a:p>
      </dgm:t>
    </dgm:pt>
    <dgm:pt modelId="{5803E5F4-CF06-41CE-A914-5D2480F091C0}" type="pres">
      <dgm:prSet presAssocID="{6F05FA90-FAB9-4FB4-8951-22E45714F5AD}" presName="hierChild1" presStyleCnt="0">
        <dgm:presLayoutVars>
          <dgm:orgChart val="1"/>
          <dgm:chPref val="1"/>
          <dgm:dir/>
          <dgm:animOne val="branch"/>
          <dgm:animLvl val="lvl"/>
          <dgm:resizeHandles/>
        </dgm:presLayoutVars>
      </dgm:prSet>
      <dgm:spPr/>
      <dgm:t>
        <a:bodyPr/>
        <a:lstStyle/>
        <a:p>
          <a:endParaRPr lang="en-US"/>
        </a:p>
      </dgm:t>
    </dgm:pt>
    <dgm:pt modelId="{7B900314-5DF1-44C6-A637-CF238F56ECB2}" type="pres">
      <dgm:prSet presAssocID="{99DD32DF-4152-45C9-BE68-29AE5D7B18C5}" presName="hierRoot1" presStyleCnt="0">
        <dgm:presLayoutVars>
          <dgm:hierBranch val="init"/>
        </dgm:presLayoutVars>
      </dgm:prSet>
      <dgm:spPr/>
    </dgm:pt>
    <dgm:pt modelId="{C65EA589-3E36-4DB2-81DF-17C057314EBF}" type="pres">
      <dgm:prSet presAssocID="{99DD32DF-4152-45C9-BE68-29AE5D7B18C5}" presName="rootComposite1" presStyleCnt="0"/>
      <dgm:spPr/>
    </dgm:pt>
    <dgm:pt modelId="{FAD7D888-49AA-4ED2-89D5-EA6B785EDE69}" type="pres">
      <dgm:prSet presAssocID="{99DD32DF-4152-45C9-BE68-29AE5D7B18C5}" presName="rootText1" presStyleLbl="node0" presStyleIdx="0" presStyleCnt="1">
        <dgm:presLayoutVars>
          <dgm:chPref val="3"/>
        </dgm:presLayoutVars>
      </dgm:prSet>
      <dgm:spPr/>
      <dgm:t>
        <a:bodyPr/>
        <a:lstStyle/>
        <a:p>
          <a:endParaRPr lang="en-US"/>
        </a:p>
      </dgm:t>
    </dgm:pt>
    <dgm:pt modelId="{EEE2EDB6-A273-4022-BE3B-C5953D5CFD4A}" type="pres">
      <dgm:prSet presAssocID="{99DD32DF-4152-45C9-BE68-29AE5D7B18C5}" presName="rootConnector1" presStyleLbl="node1" presStyleIdx="0" presStyleCnt="0"/>
      <dgm:spPr/>
      <dgm:t>
        <a:bodyPr/>
        <a:lstStyle/>
        <a:p>
          <a:endParaRPr lang="en-US"/>
        </a:p>
      </dgm:t>
    </dgm:pt>
    <dgm:pt modelId="{71CF0204-3037-4DDD-9D4F-683187239066}" type="pres">
      <dgm:prSet presAssocID="{99DD32DF-4152-45C9-BE68-29AE5D7B18C5}" presName="hierChild2" presStyleCnt="0"/>
      <dgm:spPr/>
    </dgm:pt>
    <dgm:pt modelId="{726CA8FE-88E5-4B12-91E3-E9BD747F0E4B}" type="pres">
      <dgm:prSet presAssocID="{0AFA0C6D-1A60-4F31-B9E5-2AF42670FC26}" presName="Name37" presStyleLbl="parChTrans1D2" presStyleIdx="0" presStyleCnt="3"/>
      <dgm:spPr/>
      <dgm:t>
        <a:bodyPr/>
        <a:lstStyle/>
        <a:p>
          <a:endParaRPr lang="en-US"/>
        </a:p>
      </dgm:t>
    </dgm:pt>
    <dgm:pt modelId="{433668BB-D9B6-43F7-BDFD-261B8E64342D}" type="pres">
      <dgm:prSet presAssocID="{3590AF79-4A35-4F82-BCF2-F3D46B27A7C8}" presName="hierRoot2" presStyleCnt="0">
        <dgm:presLayoutVars>
          <dgm:hierBranch val="init"/>
        </dgm:presLayoutVars>
      </dgm:prSet>
      <dgm:spPr/>
    </dgm:pt>
    <dgm:pt modelId="{0E562045-4096-477E-80B7-D0A2D1B35A4F}" type="pres">
      <dgm:prSet presAssocID="{3590AF79-4A35-4F82-BCF2-F3D46B27A7C8}" presName="rootComposite" presStyleCnt="0"/>
      <dgm:spPr/>
    </dgm:pt>
    <dgm:pt modelId="{E97FDC41-2186-48B7-8A0C-CB4E431E6DA3}" type="pres">
      <dgm:prSet presAssocID="{3590AF79-4A35-4F82-BCF2-F3D46B27A7C8}" presName="rootText" presStyleLbl="node2" presStyleIdx="0" presStyleCnt="3">
        <dgm:presLayoutVars>
          <dgm:chPref val="3"/>
        </dgm:presLayoutVars>
      </dgm:prSet>
      <dgm:spPr/>
      <dgm:t>
        <a:bodyPr/>
        <a:lstStyle/>
        <a:p>
          <a:endParaRPr lang="en-US"/>
        </a:p>
      </dgm:t>
    </dgm:pt>
    <dgm:pt modelId="{BD969258-8748-49EA-835B-CBD41E73A661}" type="pres">
      <dgm:prSet presAssocID="{3590AF79-4A35-4F82-BCF2-F3D46B27A7C8}" presName="rootConnector" presStyleLbl="node2" presStyleIdx="0" presStyleCnt="3"/>
      <dgm:spPr/>
      <dgm:t>
        <a:bodyPr/>
        <a:lstStyle/>
        <a:p>
          <a:endParaRPr lang="en-US"/>
        </a:p>
      </dgm:t>
    </dgm:pt>
    <dgm:pt modelId="{83F62D40-4AA5-486B-8C9C-874D08ECCBA0}" type="pres">
      <dgm:prSet presAssocID="{3590AF79-4A35-4F82-BCF2-F3D46B27A7C8}" presName="hierChild4" presStyleCnt="0"/>
      <dgm:spPr/>
    </dgm:pt>
    <dgm:pt modelId="{5C64FE1E-6E11-44FD-B670-E19E1D636EFC}" type="pres">
      <dgm:prSet presAssocID="{3590AF79-4A35-4F82-BCF2-F3D46B27A7C8}" presName="hierChild5" presStyleCnt="0"/>
      <dgm:spPr/>
    </dgm:pt>
    <dgm:pt modelId="{2AF2F9AE-B9C8-4E6F-832F-73E06C12A3AE}" type="pres">
      <dgm:prSet presAssocID="{352E36AF-EF7E-41A6-B055-02DA00E68A7B}" presName="Name37" presStyleLbl="parChTrans1D2" presStyleIdx="1" presStyleCnt="3"/>
      <dgm:spPr/>
      <dgm:t>
        <a:bodyPr/>
        <a:lstStyle/>
        <a:p>
          <a:endParaRPr lang="en-US"/>
        </a:p>
      </dgm:t>
    </dgm:pt>
    <dgm:pt modelId="{CB38C899-599C-477D-A9AB-A2AEFB4F5FD7}" type="pres">
      <dgm:prSet presAssocID="{96804190-3B74-419E-A58E-CF66D1BB7EE6}" presName="hierRoot2" presStyleCnt="0">
        <dgm:presLayoutVars>
          <dgm:hierBranch val="init"/>
        </dgm:presLayoutVars>
      </dgm:prSet>
      <dgm:spPr/>
    </dgm:pt>
    <dgm:pt modelId="{812ADDBE-2E95-456F-B326-A52F1B84B206}" type="pres">
      <dgm:prSet presAssocID="{96804190-3B74-419E-A58E-CF66D1BB7EE6}" presName="rootComposite" presStyleCnt="0"/>
      <dgm:spPr/>
    </dgm:pt>
    <dgm:pt modelId="{B8641F07-8F91-4080-A701-AD6005F44693}" type="pres">
      <dgm:prSet presAssocID="{96804190-3B74-419E-A58E-CF66D1BB7EE6}" presName="rootText" presStyleLbl="node2" presStyleIdx="1" presStyleCnt="3">
        <dgm:presLayoutVars>
          <dgm:chPref val="3"/>
        </dgm:presLayoutVars>
      </dgm:prSet>
      <dgm:spPr/>
      <dgm:t>
        <a:bodyPr/>
        <a:lstStyle/>
        <a:p>
          <a:endParaRPr lang="en-US"/>
        </a:p>
      </dgm:t>
    </dgm:pt>
    <dgm:pt modelId="{BAF5BE74-F2E7-4EE6-9333-0F43C1260A5A}" type="pres">
      <dgm:prSet presAssocID="{96804190-3B74-419E-A58E-CF66D1BB7EE6}" presName="rootConnector" presStyleLbl="node2" presStyleIdx="1" presStyleCnt="3"/>
      <dgm:spPr/>
      <dgm:t>
        <a:bodyPr/>
        <a:lstStyle/>
        <a:p>
          <a:endParaRPr lang="en-US"/>
        </a:p>
      </dgm:t>
    </dgm:pt>
    <dgm:pt modelId="{79D7C527-BCB2-4157-934A-6F31AF3CA529}" type="pres">
      <dgm:prSet presAssocID="{96804190-3B74-419E-A58E-CF66D1BB7EE6}" presName="hierChild4" presStyleCnt="0"/>
      <dgm:spPr/>
    </dgm:pt>
    <dgm:pt modelId="{AE5B0F6C-68F8-426E-A514-0EAB1D8606A7}" type="pres">
      <dgm:prSet presAssocID="{96804190-3B74-419E-A58E-CF66D1BB7EE6}" presName="hierChild5" presStyleCnt="0"/>
      <dgm:spPr/>
    </dgm:pt>
    <dgm:pt modelId="{41AAFCB5-426B-48F7-9B03-85C2412FBE60}" type="pres">
      <dgm:prSet presAssocID="{08E3517A-936A-456B-BB8B-7FBD357EB82C}" presName="Name37" presStyleLbl="parChTrans1D2" presStyleIdx="2" presStyleCnt="3"/>
      <dgm:spPr/>
      <dgm:t>
        <a:bodyPr/>
        <a:lstStyle/>
        <a:p>
          <a:endParaRPr lang="en-US"/>
        </a:p>
      </dgm:t>
    </dgm:pt>
    <dgm:pt modelId="{74781EF1-4421-4DEF-8866-F906708EDD23}" type="pres">
      <dgm:prSet presAssocID="{93C6A76A-BF0D-474C-87A0-7398725CCB58}" presName="hierRoot2" presStyleCnt="0">
        <dgm:presLayoutVars>
          <dgm:hierBranch val="init"/>
        </dgm:presLayoutVars>
      </dgm:prSet>
      <dgm:spPr/>
    </dgm:pt>
    <dgm:pt modelId="{43CCE3CE-3E4C-4927-A8A6-D0B5EB110523}" type="pres">
      <dgm:prSet presAssocID="{93C6A76A-BF0D-474C-87A0-7398725CCB58}" presName="rootComposite" presStyleCnt="0"/>
      <dgm:spPr/>
    </dgm:pt>
    <dgm:pt modelId="{245BBE9D-CD74-49F1-9490-776DC540DE2B}" type="pres">
      <dgm:prSet presAssocID="{93C6A76A-BF0D-474C-87A0-7398725CCB58}" presName="rootText" presStyleLbl="node2" presStyleIdx="2" presStyleCnt="3">
        <dgm:presLayoutVars>
          <dgm:chPref val="3"/>
        </dgm:presLayoutVars>
      </dgm:prSet>
      <dgm:spPr/>
      <dgm:t>
        <a:bodyPr/>
        <a:lstStyle/>
        <a:p>
          <a:endParaRPr lang="en-US"/>
        </a:p>
      </dgm:t>
    </dgm:pt>
    <dgm:pt modelId="{77FF9AA1-14D6-4BE7-BD40-36E3A4CB1BC9}" type="pres">
      <dgm:prSet presAssocID="{93C6A76A-BF0D-474C-87A0-7398725CCB58}" presName="rootConnector" presStyleLbl="node2" presStyleIdx="2" presStyleCnt="3"/>
      <dgm:spPr/>
      <dgm:t>
        <a:bodyPr/>
        <a:lstStyle/>
        <a:p>
          <a:endParaRPr lang="en-US"/>
        </a:p>
      </dgm:t>
    </dgm:pt>
    <dgm:pt modelId="{A9376C62-1BBF-4B08-AEEE-480D410B6E91}" type="pres">
      <dgm:prSet presAssocID="{93C6A76A-BF0D-474C-87A0-7398725CCB58}" presName="hierChild4" presStyleCnt="0"/>
      <dgm:spPr/>
    </dgm:pt>
    <dgm:pt modelId="{00C01F21-6BDA-4A73-85D3-EFF0CFE08541}" type="pres">
      <dgm:prSet presAssocID="{93C6A76A-BF0D-474C-87A0-7398725CCB58}" presName="hierChild5" presStyleCnt="0"/>
      <dgm:spPr/>
    </dgm:pt>
    <dgm:pt modelId="{15066E0A-E20A-4A1F-A5D2-0067ACA96B39}" type="pres">
      <dgm:prSet presAssocID="{99DD32DF-4152-45C9-BE68-29AE5D7B18C5}" presName="hierChild3" presStyleCnt="0"/>
      <dgm:spPr/>
    </dgm:pt>
  </dgm:ptLst>
  <dgm:cxnLst>
    <dgm:cxn modelId="{89820B58-3090-4AF0-9372-555E58D8FAFC}" type="presOf" srcId="{93C6A76A-BF0D-474C-87A0-7398725CCB58}" destId="{77FF9AA1-14D6-4BE7-BD40-36E3A4CB1BC9}" srcOrd="1" destOrd="0" presId="urn:microsoft.com/office/officeart/2005/8/layout/orgChart1"/>
    <dgm:cxn modelId="{0BB10455-FB3E-451B-B8B3-6CB426F6167D}" type="presOf" srcId="{3590AF79-4A35-4F82-BCF2-F3D46B27A7C8}" destId="{BD969258-8748-49EA-835B-CBD41E73A661}" srcOrd="1" destOrd="0" presId="urn:microsoft.com/office/officeart/2005/8/layout/orgChart1"/>
    <dgm:cxn modelId="{66881369-FA1B-4631-ACC5-0C7C6D08E2C3}" srcId="{99DD32DF-4152-45C9-BE68-29AE5D7B18C5}" destId="{96804190-3B74-419E-A58E-CF66D1BB7EE6}" srcOrd="1" destOrd="0" parTransId="{352E36AF-EF7E-41A6-B055-02DA00E68A7B}" sibTransId="{7D5E8D92-9355-4D88-9C71-8C98D55FBAC5}"/>
    <dgm:cxn modelId="{82373249-021A-40AB-B257-35275A85CB3E}" type="presOf" srcId="{93C6A76A-BF0D-474C-87A0-7398725CCB58}" destId="{245BBE9D-CD74-49F1-9490-776DC540DE2B}" srcOrd="0" destOrd="0" presId="urn:microsoft.com/office/officeart/2005/8/layout/orgChart1"/>
    <dgm:cxn modelId="{2A6C7975-9F86-48CC-B17E-2B6D4DE452E3}" type="presOf" srcId="{08E3517A-936A-456B-BB8B-7FBD357EB82C}" destId="{41AAFCB5-426B-48F7-9B03-85C2412FBE60}" srcOrd="0" destOrd="0" presId="urn:microsoft.com/office/officeart/2005/8/layout/orgChart1"/>
    <dgm:cxn modelId="{B92A085F-9506-4E0F-B5E8-3054FD261115}" type="presOf" srcId="{99DD32DF-4152-45C9-BE68-29AE5D7B18C5}" destId="{FAD7D888-49AA-4ED2-89D5-EA6B785EDE69}" srcOrd="0" destOrd="0" presId="urn:microsoft.com/office/officeart/2005/8/layout/orgChart1"/>
    <dgm:cxn modelId="{C8D1E54D-C7AD-4649-9CD5-B3479574D343}" srcId="{6F05FA90-FAB9-4FB4-8951-22E45714F5AD}" destId="{99DD32DF-4152-45C9-BE68-29AE5D7B18C5}" srcOrd="0" destOrd="0" parTransId="{F3AF5B35-8E6D-4FD2-9206-40D98A726809}" sibTransId="{5E632147-AE29-4790-8E99-E3998CB89524}"/>
    <dgm:cxn modelId="{0F9FCB7B-DDEA-4B6B-AC21-DB378260352A}" type="presOf" srcId="{0AFA0C6D-1A60-4F31-B9E5-2AF42670FC26}" destId="{726CA8FE-88E5-4B12-91E3-E9BD747F0E4B}" srcOrd="0" destOrd="0" presId="urn:microsoft.com/office/officeart/2005/8/layout/orgChart1"/>
    <dgm:cxn modelId="{922072AE-61C4-44ED-86A5-A0F54DE33B9A}" type="presOf" srcId="{352E36AF-EF7E-41A6-B055-02DA00E68A7B}" destId="{2AF2F9AE-B9C8-4E6F-832F-73E06C12A3AE}" srcOrd="0" destOrd="0" presId="urn:microsoft.com/office/officeart/2005/8/layout/orgChart1"/>
    <dgm:cxn modelId="{08470117-B9C4-440E-9A74-6343D303A759}" type="presOf" srcId="{6F05FA90-FAB9-4FB4-8951-22E45714F5AD}" destId="{5803E5F4-CF06-41CE-A914-5D2480F091C0}" srcOrd="0" destOrd="0" presId="urn:microsoft.com/office/officeart/2005/8/layout/orgChart1"/>
    <dgm:cxn modelId="{98785144-52D7-4A90-92E0-4D01E849DA4E}" type="presOf" srcId="{3590AF79-4A35-4F82-BCF2-F3D46B27A7C8}" destId="{E97FDC41-2186-48B7-8A0C-CB4E431E6DA3}" srcOrd="0" destOrd="0" presId="urn:microsoft.com/office/officeart/2005/8/layout/orgChart1"/>
    <dgm:cxn modelId="{FFD7F36D-272F-468F-978F-6430728D5D57}" srcId="{99DD32DF-4152-45C9-BE68-29AE5D7B18C5}" destId="{93C6A76A-BF0D-474C-87A0-7398725CCB58}" srcOrd="2" destOrd="0" parTransId="{08E3517A-936A-456B-BB8B-7FBD357EB82C}" sibTransId="{9DD3D787-996B-40B2-81F9-743D36A7FA00}"/>
    <dgm:cxn modelId="{72F2A993-C568-49E6-9A4D-C04C21D5F232}" srcId="{99DD32DF-4152-45C9-BE68-29AE5D7B18C5}" destId="{3590AF79-4A35-4F82-BCF2-F3D46B27A7C8}" srcOrd="0" destOrd="0" parTransId="{0AFA0C6D-1A60-4F31-B9E5-2AF42670FC26}" sibTransId="{C09E4231-D669-4B03-BF49-D19F2E7AE18A}"/>
    <dgm:cxn modelId="{6E7973E9-4DCF-4374-AB47-669EB014DBE6}" type="presOf" srcId="{99DD32DF-4152-45C9-BE68-29AE5D7B18C5}" destId="{EEE2EDB6-A273-4022-BE3B-C5953D5CFD4A}" srcOrd="1" destOrd="0" presId="urn:microsoft.com/office/officeart/2005/8/layout/orgChart1"/>
    <dgm:cxn modelId="{9D898921-F271-42FE-A2BF-88869B48775C}" type="presOf" srcId="{96804190-3B74-419E-A58E-CF66D1BB7EE6}" destId="{BAF5BE74-F2E7-4EE6-9333-0F43C1260A5A}" srcOrd="1" destOrd="0" presId="urn:microsoft.com/office/officeart/2005/8/layout/orgChart1"/>
    <dgm:cxn modelId="{3A228247-E6A5-49B0-AE38-75601466270B}" type="presOf" srcId="{96804190-3B74-419E-A58E-CF66D1BB7EE6}" destId="{B8641F07-8F91-4080-A701-AD6005F44693}" srcOrd="0" destOrd="0" presId="urn:microsoft.com/office/officeart/2005/8/layout/orgChart1"/>
    <dgm:cxn modelId="{D3768AF5-5FB7-43CA-9AD3-B0778C09DE90}" type="presParOf" srcId="{5803E5F4-CF06-41CE-A914-5D2480F091C0}" destId="{7B900314-5DF1-44C6-A637-CF238F56ECB2}" srcOrd="0" destOrd="0" presId="urn:microsoft.com/office/officeart/2005/8/layout/orgChart1"/>
    <dgm:cxn modelId="{1A92F40F-91A0-46BA-BF7C-EAC013D6F232}" type="presParOf" srcId="{7B900314-5DF1-44C6-A637-CF238F56ECB2}" destId="{C65EA589-3E36-4DB2-81DF-17C057314EBF}" srcOrd="0" destOrd="0" presId="urn:microsoft.com/office/officeart/2005/8/layout/orgChart1"/>
    <dgm:cxn modelId="{BFEE40BB-E124-46C6-B76B-91E561344152}" type="presParOf" srcId="{C65EA589-3E36-4DB2-81DF-17C057314EBF}" destId="{FAD7D888-49AA-4ED2-89D5-EA6B785EDE69}" srcOrd="0" destOrd="0" presId="urn:microsoft.com/office/officeart/2005/8/layout/orgChart1"/>
    <dgm:cxn modelId="{EAAEBAB0-C5C4-48B2-BD70-5A627C08445F}" type="presParOf" srcId="{C65EA589-3E36-4DB2-81DF-17C057314EBF}" destId="{EEE2EDB6-A273-4022-BE3B-C5953D5CFD4A}" srcOrd="1" destOrd="0" presId="urn:microsoft.com/office/officeart/2005/8/layout/orgChart1"/>
    <dgm:cxn modelId="{C5970E96-0C1B-454B-A58E-16DABFB68173}" type="presParOf" srcId="{7B900314-5DF1-44C6-A637-CF238F56ECB2}" destId="{71CF0204-3037-4DDD-9D4F-683187239066}" srcOrd="1" destOrd="0" presId="urn:microsoft.com/office/officeart/2005/8/layout/orgChart1"/>
    <dgm:cxn modelId="{14C9B717-F038-4F67-9063-97AEB0A0BA85}" type="presParOf" srcId="{71CF0204-3037-4DDD-9D4F-683187239066}" destId="{726CA8FE-88E5-4B12-91E3-E9BD747F0E4B}" srcOrd="0" destOrd="0" presId="urn:microsoft.com/office/officeart/2005/8/layout/orgChart1"/>
    <dgm:cxn modelId="{28868B90-4485-43C3-B37A-CB21340293E3}" type="presParOf" srcId="{71CF0204-3037-4DDD-9D4F-683187239066}" destId="{433668BB-D9B6-43F7-BDFD-261B8E64342D}" srcOrd="1" destOrd="0" presId="urn:microsoft.com/office/officeart/2005/8/layout/orgChart1"/>
    <dgm:cxn modelId="{65BE778A-37E9-4BB2-8E11-B4FBB2D4A754}" type="presParOf" srcId="{433668BB-D9B6-43F7-BDFD-261B8E64342D}" destId="{0E562045-4096-477E-80B7-D0A2D1B35A4F}" srcOrd="0" destOrd="0" presId="urn:microsoft.com/office/officeart/2005/8/layout/orgChart1"/>
    <dgm:cxn modelId="{2DE766B9-E048-420A-99A8-137CCB5AC0BA}" type="presParOf" srcId="{0E562045-4096-477E-80B7-D0A2D1B35A4F}" destId="{E97FDC41-2186-48B7-8A0C-CB4E431E6DA3}" srcOrd="0" destOrd="0" presId="urn:microsoft.com/office/officeart/2005/8/layout/orgChart1"/>
    <dgm:cxn modelId="{61048FFE-924D-4CD6-B87C-5D236586F184}" type="presParOf" srcId="{0E562045-4096-477E-80B7-D0A2D1B35A4F}" destId="{BD969258-8748-49EA-835B-CBD41E73A661}" srcOrd="1" destOrd="0" presId="urn:microsoft.com/office/officeart/2005/8/layout/orgChart1"/>
    <dgm:cxn modelId="{17EEDF0D-9137-445D-A45D-30E1F662A7BB}" type="presParOf" srcId="{433668BB-D9B6-43F7-BDFD-261B8E64342D}" destId="{83F62D40-4AA5-486B-8C9C-874D08ECCBA0}" srcOrd="1" destOrd="0" presId="urn:microsoft.com/office/officeart/2005/8/layout/orgChart1"/>
    <dgm:cxn modelId="{95609F34-5C06-4381-BF2E-5E06D315D047}" type="presParOf" srcId="{433668BB-D9B6-43F7-BDFD-261B8E64342D}" destId="{5C64FE1E-6E11-44FD-B670-E19E1D636EFC}" srcOrd="2" destOrd="0" presId="urn:microsoft.com/office/officeart/2005/8/layout/orgChart1"/>
    <dgm:cxn modelId="{C26792B6-30FD-4BD0-BB27-ECF30887CEA0}" type="presParOf" srcId="{71CF0204-3037-4DDD-9D4F-683187239066}" destId="{2AF2F9AE-B9C8-4E6F-832F-73E06C12A3AE}" srcOrd="2" destOrd="0" presId="urn:microsoft.com/office/officeart/2005/8/layout/orgChart1"/>
    <dgm:cxn modelId="{E8A68E92-5737-4754-B432-31881477E4B1}" type="presParOf" srcId="{71CF0204-3037-4DDD-9D4F-683187239066}" destId="{CB38C899-599C-477D-A9AB-A2AEFB4F5FD7}" srcOrd="3" destOrd="0" presId="urn:microsoft.com/office/officeart/2005/8/layout/orgChart1"/>
    <dgm:cxn modelId="{00751C0C-DB5D-4AE4-83B2-54A10D5C7DC6}" type="presParOf" srcId="{CB38C899-599C-477D-A9AB-A2AEFB4F5FD7}" destId="{812ADDBE-2E95-456F-B326-A52F1B84B206}" srcOrd="0" destOrd="0" presId="urn:microsoft.com/office/officeart/2005/8/layout/orgChart1"/>
    <dgm:cxn modelId="{A6FDB83D-6F1B-4245-80B2-BF49B0BB7C0A}" type="presParOf" srcId="{812ADDBE-2E95-456F-B326-A52F1B84B206}" destId="{B8641F07-8F91-4080-A701-AD6005F44693}" srcOrd="0" destOrd="0" presId="urn:microsoft.com/office/officeart/2005/8/layout/orgChart1"/>
    <dgm:cxn modelId="{2956B539-31BD-4537-BFE2-2AD2C9CE10BC}" type="presParOf" srcId="{812ADDBE-2E95-456F-B326-A52F1B84B206}" destId="{BAF5BE74-F2E7-4EE6-9333-0F43C1260A5A}" srcOrd="1" destOrd="0" presId="urn:microsoft.com/office/officeart/2005/8/layout/orgChart1"/>
    <dgm:cxn modelId="{2ACE8FB4-D786-42A1-9603-5FF255A7689C}" type="presParOf" srcId="{CB38C899-599C-477D-A9AB-A2AEFB4F5FD7}" destId="{79D7C527-BCB2-4157-934A-6F31AF3CA529}" srcOrd="1" destOrd="0" presId="urn:microsoft.com/office/officeart/2005/8/layout/orgChart1"/>
    <dgm:cxn modelId="{DB97D7AD-C97A-4B60-8449-F291FB4EFAD6}" type="presParOf" srcId="{CB38C899-599C-477D-A9AB-A2AEFB4F5FD7}" destId="{AE5B0F6C-68F8-426E-A514-0EAB1D8606A7}" srcOrd="2" destOrd="0" presId="urn:microsoft.com/office/officeart/2005/8/layout/orgChart1"/>
    <dgm:cxn modelId="{086597D5-DA57-466F-95E7-F0E44CC22940}" type="presParOf" srcId="{71CF0204-3037-4DDD-9D4F-683187239066}" destId="{41AAFCB5-426B-48F7-9B03-85C2412FBE60}" srcOrd="4" destOrd="0" presId="urn:microsoft.com/office/officeart/2005/8/layout/orgChart1"/>
    <dgm:cxn modelId="{687E450B-5D75-406B-8A4D-FDE53993478A}" type="presParOf" srcId="{71CF0204-3037-4DDD-9D4F-683187239066}" destId="{74781EF1-4421-4DEF-8866-F906708EDD23}" srcOrd="5" destOrd="0" presId="urn:microsoft.com/office/officeart/2005/8/layout/orgChart1"/>
    <dgm:cxn modelId="{2FEBF607-1EF0-4962-9EC5-E41849DA24B7}" type="presParOf" srcId="{74781EF1-4421-4DEF-8866-F906708EDD23}" destId="{43CCE3CE-3E4C-4927-A8A6-D0B5EB110523}" srcOrd="0" destOrd="0" presId="urn:microsoft.com/office/officeart/2005/8/layout/orgChart1"/>
    <dgm:cxn modelId="{624024F3-CF5A-45D0-AD79-10676D619A45}" type="presParOf" srcId="{43CCE3CE-3E4C-4927-A8A6-D0B5EB110523}" destId="{245BBE9D-CD74-49F1-9490-776DC540DE2B}" srcOrd="0" destOrd="0" presId="urn:microsoft.com/office/officeart/2005/8/layout/orgChart1"/>
    <dgm:cxn modelId="{0A50DAB2-A7BE-4BA5-90BD-B5A9D2BEB22A}" type="presParOf" srcId="{43CCE3CE-3E4C-4927-A8A6-D0B5EB110523}" destId="{77FF9AA1-14D6-4BE7-BD40-36E3A4CB1BC9}" srcOrd="1" destOrd="0" presId="urn:microsoft.com/office/officeart/2005/8/layout/orgChart1"/>
    <dgm:cxn modelId="{BD4CCA5B-9187-4AA3-80E4-5C9D56824887}" type="presParOf" srcId="{74781EF1-4421-4DEF-8866-F906708EDD23}" destId="{A9376C62-1BBF-4B08-AEEE-480D410B6E91}" srcOrd="1" destOrd="0" presId="urn:microsoft.com/office/officeart/2005/8/layout/orgChart1"/>
    <dgm:cxn modelId="{7AA06CD3-52AE-47C8-8E88-77E3226F5500}" type="presParOf" srcId="{74781EF1-4421-4DEF-8866-F906708EDD23}" destId="{00C01F21-6BDA-4A73-85D3-EFF0CFE08541}" srcOrd="2" destOrd="0" presId="urn:microsoft.com/office/officeart/2005/8/layout/orgChart1"/>
    <dgm:cxn modelId="{6F82C68A-6A2A-4AF9-93B5-CAF0C607869A}" type="presParOf" srcId="{7B900314-5DF1-44C6-A637-CF238F56ECB2}" destId="{15066E0A-E20A-4A1F-A5D2-0067ACA96B39}" srcOrd="2" destOrd="0" presId="urn:microsoft.com/office/officeart/2005/8/layout/orgChar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F05FA90-FAB9-4FB4-8951-22E45714F5AD}"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en-US"/>
        </a:p>
      </dgm:t>
    </dgm:pt>
    <dgm:pt modelId="{99DD32DF-4152-45C9-BE68-29AE5D7B18C5}">
      <dgm:prSet phldrT="[Text]"/>
      <dgm:spPr>
        <a:noFill/>
        <a:ln>
          <a:solidFill>
            <a:schemeClr val="accent1"/>
          </a:solidFill>
        </a:ln>
      </dgm:spPr>
      <dgm:t>
        <a:bodyPr/>
        <a:lstStyle/>
        <a:p>
          <a:r>
            <a:rPr lang="en-US" b="1" dirty="0" err="1" smtClean="0">
              <a:solidFill>
                <a:schemeClr val="tx2"/>
              </a:solidFill>
            </a:rPr>
            <a:t>Crescimento</a:t>
          </a:r>
          <a:r>
            <a:rPr lang="en-US" b="1" dirty="0" smtClean="0">
              <a:solidFill>
                <a:schemeClr val="tx2"/>
              </a:solidFill>
            </a:rPr>
            <a:t> de  </a:t>
          </a:r>
          <a:r>
            <a:rPr lang="en-US" b="1" dirty="0" err="1" smtClean="0">
              <a:solidFill>
                <a:schemeClr val="tx2"/>
              </a:solidFill>
            </a:rPr>
            <a:t>Lucro</a:t>
          </a:r>
          <a:r>
            <a:rPr lang="en-US" b="1" dirty="0" smtClean="0">
              <a:solidFill>
                <a:schemeClr val="tx2"/>
              </a:solidFill>
            </a:rPr>
            <a:t> - </a:t>
          </a:r>
          <a:r>
            <a:rPr lang="en-US" b="1" dirty="0" err="1" smtClean="0">
              <a:solidFill>
                <a:schemeClr val="tx2"/>
              </a:solidFill>
            </a:rPr>
            <a:t>Varejo</a:t>
          </a:r>
          <a:endParaRPr lang="en-US" b="1" dirty="0">
            <a:solidFill>
              <a:schemeClr val="tx2"/>
            </a:solidFill>
          </a:endParaRPr>
        </a:p>
      </dgm:t>
    </dgm:pt>
    <dgm:pt modelId="{F3AF5B35-8E6D-4FD2-9206-40D98A726809}" type="parTrans" cxnId="{C8D1E54D-C7AD-4649-9CD5-B3479574D343}">
      <dgm:prSet/>
      <dgm:spPr/>
      <dgm:t>
        <a:bodyPr/>
        <a:lstStyle/>
        <a:p>
          <a:endParaRPr lang="en-US"/>
        </a:p>
      </dgm:t>
    </dgm:pt>
    <dgm:pt modelId="{5E632147-AE29-4790-8E99-E3998CB89524}" type="sibTrans" cxnId="{C8D1E54D-C7AD-4649-9CD5-B3479574D343}">
      <dgm:prSet/>
      <dgm:spPr/>
      <dgm:t>
        <a:bodyPr/>
        <a:lstStyle/>
        <a:p>
          <a:endParaRPr lang="en-US"/>
        </a:p>
      </dgm:t>
    </dgm:pt>
    <dgm:pt modelId="{3590AF79-4A35-4F82-BCF2-F3D46B27A7C8}">
      <dgm:prSet phldrT="[Text]"/>
      <dgm:spPr>
        <a:noFill/>
        <a:ln>
          <a:solidFill>
            <a:schemeClr val="accent1"/>
          </a:solidFill>
        </a:ln>
      </dgm:spPr>
      <dgm:t>
        <a:bodyPr/>
        <a:lstStyle/>
        <a:p>
          <a:r>
            <a:rPr lang="en-US" dirty="0" err="1" smtClean="0">
              <a:solidFill>
                <a:schemeClr val="tx2"/>
              </a:solidFill>
            </a:rPr>
            <a:t>Crescimento</a:t>
          </a:r>
          <a:r>
            <a:rPr lang="en-US" dirty="0" smtClean="0">
              <a:solidFill>
                <a:schemeClr val="tx2"/>
              </a:solidFill>
            </a:rPr>
            <a:t> </a:t>
          </a:r>
          <a:r>
            <a:rPr lang="en-US" dirty="0" err="1" smtClean="0">
              <a:solidFill>
                <a:schemeClr val="tx2"/>
              </a:solidFill>
            </a:rPr>
            <a:t>Vendas</a:t>
          </a:r>
          <a:endParaRPr lang="en-US" dirty="0">
            <a:solidFill>
              <a:schemeClr val="tx2"/>
            </a:solidFill>
          </a:endParaRPr>
        </a:p>
      </dgm:t>
    </dgm:pt>
    <dgm:pt modelId="{0AFA0C6D-1A60-4F31-B9E5-2AF42670FC26}" type="parTrans" cxnId="{72F2A993-C568-49E6-9A4D-C04C21D5F232}">
      <dgm:prSet/>
      <dgm:spPr/>
      <dgm:t>
        <a:bodyPr/>
        <a:lstStyle/>
        <a:p>
          <a:endParaRPr lang="en-US"/>
        </a:p>
      </dgm:t>
    </dgm:pt>
    <dgm:pt modelId="{C09E4231-D669-4B03-BF49-D19F2E7AE18A}" type="sibTrans" cxnId="{72F2A993-C568-49E6-9A4D-C04C21D5F232}">
      <dgm:prSet/>
      <dgm:spPr/>
      <dgm:t>
        <a:bodyPr/>
        <a:lstStyle/>
        <a:p>
          <a:endParaRPr lang="en-US"/>
        </a:p>
      </dgm:t>
    </dgm:pt>
    <dgm:pt modelId="{96804190-3B74-419E-A58E-CF66D1BB7EE6}">
      <dgm:prSet phldrT="[Text]"/>
      <dgm:spPr>
        <a:noFill/>
        <a:ln>
          <a:solidFill>
            <a:schemeClr val="accent1"/>
          </a:solidFill>
        </a:ln>
      </dgm:spPr>
      <dgm:t>
        <a:bodyPr/>
        <a:lstStyle/>
        <a:p>
          <a:r>
            <a:rPr lang="en-US" dirty="0" err="1" smtClean="0">
              <a:solidFill>
                <a:schemeClr val="tx2"/>
              </a:solidFill>
            </a:rPr>
            <a:t>Maior</a:t>
          </a:r>
          <a:r>
            <a:rPr lang="en-US" dirty="0" smtClean="0">
              <a:solidFill>
                <a:schemeClr val="tx2"/>
              </a:solidFill>
            </a:rPr>
            <a:t> </a:t>
          </a:r>
          <a:r>
            <a:rPr lang="en-US" dirty="0" err="1" smtClean="0">
              <a:solidFill>
                <a:schemeClr val="tx2"/>
              </a:solidFill>
            </a:rPr>
            <a:t>Rentabilidade</a:t>
          </a:r>
          <a:endParaRPr lang="en-US" dirty="0">
            <a:solidFill>
              <a:schemeClr val="tx2"/>
            </a:solidFill>
          </a:endParaRPr>
        </a:p>
      </dgm:t>
    </dgm:pt>
    <dgm:pt modelId="{352E36AF-EF7E-41A6-B055-02DA00E68A7B}" type="parTrans" cxnId="{66881369-FA1B-4631-ACC5-0C7C6D08E2C3}">
      <dgm:prSet/>
      <dgm:spPr/>
      <dgm:t>
        <a:bodyPr/>
        <a:lstStyle/>
        <a:p>
          <a:endParaRPr lang="en-US"/>
        </a:p>
      </dgm:t>
    </dgm:pt>
    <dgm:pt modelId="{7D5E8D92-9355-4D88-9C71-8C98D55FBAC5}" type="sibTrans" cxnId="{66881369-FA1B-4631-ACC5-0C7C6D08E2C3}">
      <dgm:prSet/>
      <dgm:spPr/>
      <dgm:t>
        <a:bodyPr/>
        <a:lstStyle/>
        <a:p>
          <a:endParaRPr lang="en-US"/>
        </a:p>
      </dgm:t>
    </dgm:pt>
    <dgm:pt modelId="{93C6A76A-BF0D-474C-87A0-7398725CCB58}">
      <dgm:prSet phldrT="[Text]"/>
      <dgm:spPr>
        <a:noFill/>
        <a:ln>
          <a:solidFill>
            <a:schemeClr val="accent1"/>
          </a:solidFill>
        </a:ln>
      </dgm:spPr>
      <dgm:t>
        <a:bodyPr/>
        <a:lstStyle/>
        <a:p>
          <a:r>
            <a:rPr lang="en-US" dirty="0" err="1" smtClean="0">
              <a:solidFill>
                <a:schemeClr val="tx2"/>
              </a:solidFill>
            </a:rPr>
            <a:t>Menos</a:t>
          </a:r>
          <a:r>
            <a:rPr lang="en-US" dirty="0" smtClean="0">
              <a:solidFill>
                <a:schemeClr val="tx2"/>
              </a:solidFill>
            </a:rPr>
            <a:t> </a:t>
          </a:r>
          <a:r>
            <a:rPr lang="en-US" dirty="0" err="1" smtClean="0">
              <a:solidFill>
                <a:schemeClr val="tx2"/>
              </a:solidFill>
            </a:rPr>
            <a:t>Dívida</a:t>
          </a:r>
          <a:r>
            <a:rPr lang="en-US" dirty="0" smtClean="0">
              <a:solidFill>
                <a:schemeClr val="tx2"/>
              </a:solidFill>
            </a:rPr>
            <a:t>  </a:t>
          </a:r>
          <a:r>
            <a:rPr lang="en-US" dirty="0" err="1" smtClean="0">
              <a:solidFill>
                <a:schemeClr val="tx2"/>
              </a:solidFill>
            </a:rPr>
            <a:t>Juros</a:t>
          </a:r>
          <a:r>
            <a:rPr lang="en-US" dirty="0" smtClean="0">
              <a:solidFill>
                <a:schemeClr val="tx2"/>
              </a:solidFill>
            </a:rPr>
            <a:t> </a:t>
          </a:r>
          <a:r>
            <a:rPr lang="en-US" dirty="0" err="1" smtClean="0">
              <a:solidFill>
                <a:schemeClr val="tx2"/>
              </a:solidFill>
            </a:rPr>
            <a:t>Baixos</a:t>
          </a:r>
          <a:endParaRPr lang="en-US" dirty="0">
            <a:solidFill>
              <a:schemeClr val="tx2"/>
            </a:solidFill>
          </a:endParaRPr>
        </a:p>
      </dgm:t>
    </dgm:pt>
    <dgm:pt modelId="{08E3517A-936A-456B-BB8B-7FBD357EB82C}" type="parTrans" cxnId="{FFD7F36D-272F-468F-978F-6430728D5D57}">
      <dgm:prSet/>
      <dgm:spPr/>
      <dgm:t>
        <a:bodyPr/>
        <a:lstStyle/>
        <a:p>
          <a:endParaRPr lang="en-US"/>
        </a:p>
      </dgm:t>
    </dgm:pt>
    <dgm:pt modelId="{9DD3D787-996B-40B2-81F9-743D36A7FA00}" type="sibTrans" cxnId="{FFD7F36D-272F-468F-978F-6430728D5D57}">
      <dgm:prSet/>
      <dgm:spPr/>
      <dgm:t>
        <a:bodyPr/>
        <a:lstStyle/>
        <a:p>
          <a:endParaRPr lang="en-US"/>
        </a:p>
      </dgm:t>
    </dgm:pt>
    <dgm:pt modelId="{5803E5F4-CF06-41CE-A914-5D2480F091C0}" type="pres">
      <dgm:prSet presAssocID="{6F05FA90-FAB9-4FB4-8951-22E45714F5AD}" presName="hierChild1" presStyleCnt="0">
        <dgm:presLayoutVars>
          <dgm:orgChart val="1"/>
          <dgm:chPref val="1"/>
          <dgm:dir/>
          <dgm:animOne val="branch"/>
          <dgm:animLvl val="lvl"/>
          <dgm:resizeHandles/>
        </dgm:presLayoutVars>
      </dgm:prSet>
      <dgm:spPr/>
      <dgm:t>
        <a:bodyPr/>
        <a:lstStyle/>
        <a:p>
          <a:endParaRPr lang="en-US"/>
        </a:p>
      </dgm:t>
    </dgm:pt>
    <dgm:pt modelId="{7B900314-5DF1-44C6-A637-CF238F56ECB2}" type="pres">
      <dgm:prSet presAssocID="{99DD32DF-4152-45C9-BE68-29AE5D7B18C5}" presName="hierRoot1" presStyleCnt="0">
        <dgm:presLayoutVars>
          <dgm:hierBranch val="init"/>
        </dgm:presLayoutVars>
      </dgm:prSet>
      <dgm:spPr/>
    </dgm:pt>
    <dgm:pt modelId="{C65EA589-3E36-4DB2-81DF-17C057314EBF}" type="pres">
      <dgm:prSet presAssocID="{99DD32DF-4152-45C9-BE68-29AE5D7B18C5}" presName="rootComposite1" presStyleCnt="0"/>
      <dgm:spPr/>
    </dgm:pt>
    <dgm:pt modelId="{FAD7D888-49AA-4ED2-89D5-EA6B785EDE69}" type="pres">
      <dgm:prSet presAssocID="{99DD32DF-4152-45C9-BE68-29AE5D7B18C5}" presName="rootText1" presStyleLbl="node0" presStyleIdx="0" presStyleCnt="1">
        <dgm:presLayoutVars>
          <dgm:chPref val="3"/>
        </dgm:presLayoutVars>
      </dgm:prSet>
      <dgm:spPr/>
      <dgm:t>
        <a:bodyPr/>
        <a:lstStyle/>
        <a:p>
          <a:endParaRPr lang="en-US"/>
        </a:p>
      </dgm:t>
    </dgm:pt>
    <dgm:pt modelId="{EEE2EDB6-A273-4022-BE3B-C5953D5CFD4A}" type="pres">
      <dgm:prSet presAssocID="{99DD32DF-4152-45C9-BE68-29AE5D7B18C5}" presName="rootConnector1" presStyleLbl="node1" presStyleIdx="0" presStyleCnt="0"/>
      <dgm:spPr/>
      <dgm:t>
        <a:bodyPr/>
        <a:lstStyle/>
        <a:p>
          <a:endParaRPr lang="en-US"/>
        </a:p>
      </dgm:t>
    </dgm:pt>
    <dgm:pt modelId="{71CF0204-3037-4DDD-9D4F-683187239066}" type="pres">
      <dgm:prSet presAssocID="{99DD32DF-4152-45C9-BE68-29AE5D7B18C5}" presName="hierChild2" presStyleCnt="0"/>
      <dgm:spPr/>
    </dgm:pt>
    <dgm:pt modelId="{726CA8FE-88E5-4B12-91E3-E9BD747F0E4B}" type="pres">
      <dgm:prSet presAssocID="{0AFA0C6D-1A60-4F31-B9E5-2AF42670FC26}" presName="Name37" presStyleLbl="parChTrans1D2" presStyleIdx="0" presStyleCnt="3"/>
      <dgm:spPr/>
      <dgm:t>
        <a:bodyPr/>
        <a:lstStyle/>
        <a:p>
          <a:endParaRPr lang="en-US"/>
        </a:p>
      </dgm:t>
    </dgm:pt>
    <dgm:pt modelId="{433668BB-D9B6-43F7-BDFD-261B8E64342D}" type="pres">
      <dgm:prSet presAssocID="{3590AF79-4A35-4F82-BCF2-F3D46B27A7C8}" presName="hierRoot2" presStyleCnt="0">
        <dgm:presLayoutVars>
          <dgm:hierBranch val="init"/>
        </dgm:presLayoutVars>
      </dgm:prSet>
      <dgm:spPr/>
    </dgm:pt>
    <dgm:pt modelId="{0E562045-4096-477E-80B7-D0A2D1B35A4F}" type="pres">
      <dgm:prSet presAssocID="{3590AF79-4A35-4F82-BCF2-F3D46B27A7C8}" presName="rootComposite" presStyleCnt="0"/>
      <dgm:spPr/>
    </dgm:pt>
    <dgm:pt modelId="{E97FDC41-2186-48B7-8A0C-CB4E431E6DA3}" type="pres">
      <dgm:prSet presAssocID="{3590AF79-4A35-4F82-BCF2-F3D46B27A7C8}" presName="rootText" presStyleLbl="node2" presStyleIdx="0" presStyleCnt="3">
        <dgm:presLayoutVars>
          <dgm:chPref val="3"/>
        </dgm:presLayoutVars>
      </dgm:prSet>
      <dgm:spPr/>
      <dgm:t>
        <a:bodyPr/>
        <a:lstStyle/>
        <a:p>
          <a:endParaRPr lang="en-US"/>
        </a:p>
      </dgm:t>
    </dgm:pt>
    <dgm:pt modelId="{BD969258-8748-49EA-835B-CBD41E73A661}" type="pres">
      <dgm:prSet presAssocID="{3590AF79-4A35-4F82-BCF2-F3D46B27A7C8}" presName="rootConnector" presStyleLbl="node2" presStyleIdx="0" presStyleCnt="3"/>
      <dgm:spPr/>
      <dgm:t>
        <a:bodyPr/>
        <a:lstStyle/>
        <a:p>
          <a:endParaRPr lang="en-US"/>
        </a:p>
      </dgm:t>
    </dgm:pt>
    <dgm:pt modelId="{83F62D40-4AA5-486B-8C9C-874D08ECCBA0}" type="pres">
      <dgm:prSet presAssocID="{3590AF79-4A35-4F82-BCF2-F3D46B27A7C8}" presName="hierChild4" presStyleCnt="0"/>
      <dgm:spPr/>
    </dgm:pt>
    <dgm:pt modelId="{5C64FE1E-6E11-44FD-B670-E19E1D636EFC}" type="pres">
      <dgm:prSet presAssocID="{3590AF79-4A35-4F82-BCF2-F3D46B27A7C8}" presName="hierChild5" presStyleCnt="0"/>
      <dgm:spPr/>
    </dgm:pt>
    <dgm:pt modelId="{2AF2F9AE-B9C8-4E6F-832F-73E06C12A3AE}" type="pres">
      <dgm:prSet presAssocID="{352E36AF-EF7E-41A6-B055-02DA00E68A7B}" presName="Name37" presStyleLbl="parChTrans1D2" presStyleIdx="1" presStyleCnt="3"/>
      <dgm:spPr/>
      <dgm:t>
        <a:bodyPr/>
        <a:lstStyle/>
        <a:p>
          <a:endParaRPr lang="en-US"/>
        </a:p>
      </dgm:t>
    </dgm:pt>
    <dgm:pt modelId="{CB38C899-599C-477D-A9AB-A2AEFB4F5FD7}" type="pres">
      <dgm:prSet presAssocID="{96804190-3B74-419E-A58E-CF66D1BB7EE6}" presName="hierRoot2" presStyleCnt="0">
        <dgm:presLayoutVars>
          <dgm:hierBranch val="init"/>
        </dgm:presLayoutVars>
      </dgm:prSet>
      <dgm:spPr/>
    </dgm:pt>
    <dgm:pt modelId="{812ADDBE-2E95-456F-B326-A52F1B84B206}" type="pres">
      <dgm:prSet presAssocID="{96804190-3B74-419E-A58E-CF66D1BB7EE6}" presName="rootComposite" presStyleCnt="0"/>
      <dgm:spPr/>
    </dgm:pt>
    <dgm:pt modelId="{B8641F07-8F91-4080-A701-AD6005F44693}" type="pres">
      <dgm:prSet presAssocID="{96804190-3B74-419E-A58E-CF66D1BB7EE6}" presName="rootText" presStyleLbl="node2" presStyleIdx="1" presStyleCnt="3">
        <dgm:presLayoutVars>
          <dgm:chPref val="3"/>
        </dgm:presLayoutVars>
      </dgm:prSet>
      <dgm:spPr/>
      <dgm:t>
        <a:bodyPr/>
        <a:lstStyle/>
        <a:p>
          <a:endParaRPr lang="en-US"/>
        </a:p>
      </dgm:t>
    </dgm:pt>
    <dgm:pt modelId="{BAF5BE74-F2E7-4EE6-9333-0F43C1260A5A}" type="pres">
      <dgm:prSet presAssocID="{96804190-3B74-419E-A58E-CF66D1BB7EE6}" presName="rootConnector" presStyleLbl="node2" presStyleIdx="1" presStyleCnt="3"/>
      <dgm:spPr/>
      <dgm:t>
        <a:bodyPr/>
        <a:lstStyle/>
        <a:p>
          <a:endParaRPr lang="en-US"/>
        </a:p>
      </dgm:t>
    </dgm:pt>
    <dgm:pt modelId="{79D7C527-BCB2-4157-934A-6F31AF3CA529}" type="pres">
      <dgm:prSet presAssocID="{96804190-3B74-419E-A58E-CF66D1BB7EE6}" presName="hierChild4" presStyleCnt="0"/>
      <dgm:spPr/>
    </dgm:pt>
    <dgm:pt modelId="{AE5B0F6C-68F8-426E-A514-0EAB1D8606A7}" type="pres">
      <dgm:prSet presAssocID="{96804190-3B74-419E-A58E-CF66D1BB7EE6}" presName="hierChild5" presStyleCnt="0"/>
      <dgm:spPr/>
    </dgm:pt>
    <dgm:pt modelId="{41AAFCB5-426B-48F7-9B03-85C2412FBE60}" type="pres">
      <dgm:prSet presAssocID="{08E3517A-936A-456B-BB8B-7FBD357EB82C}" presName="Name37" presStyleLbl="parChTrans1D2" presStyleIdx="2" presStyleCnt="3"/>
      <dgm:spPr/>
      <dgm:t>
        <a:bodyPr/>
        <a:lstStyle/>
        <a:p>
          <a:endParaRPr lang="en-US"/>
        </a:p>
      </dgm:t>
    </dgm:pt>
    <dgm:pt modelId="{74781EF1-4421-4DEF-8866-F906708EDD23}" type="pres">
      <dgm:prSet presAssocID="{93C6A76A-BF0D-474C-87A0-7398725CCB58}" presName="hierRoot2" presStyleCnt="0">
        <dgm:presLayoutVars>
          <dgm:hierBranch val="init"/>
        </dgm:presLayoutVars>
      </dgm:prSet>
      <dgm:spPr/>
    </dgm:pt>
    <dgm:pt modelId="{43CCE3CE-3E4C-4927-A8A6-D0B5EB110523}" type="pres">
      <dgm:prSet presAssocID="{93C6A76A-BF0D-474C-87A0-7398725CCB58}" presName="rootComposite" presStyleCnt="0"/>
      <dgm:spPr/>
    </dgm:pt>
    <dgm:pt modelId="{245BBE9D-CD74-49F1-9490-776DC540DE2B}" type="pres">
      <dgm:prSet presAssocID="{93C6A76A-BF0D-474C-87A0-7398725CCB58}" presName="rootText" presStyleLbl="node2" presStyleIdx="2" presStyleCnt="3">
        <dgm:presLayoutVars>
          <dgm:chPref val="3"/>
        </dgm:presLayoutVars>
      </dgm:prSet>
      <dgm:spPr/>
      <dgm:t>
        <a:bodyPr/>
        <a:lstStyle/>
        <a:p>
          <a:endParaRPr lang="en-US"/>
        </a:p>
      </dgm:t>
    </dgm:pt>
    <dgm:pt modelId="{77FF9AA1-14D6-4BE7-BD40-36E3A4CB1BC9}" type="pres">
      <dgm:prSet presAssocID="{93C6A76A-BF0D-474C-87A0-7398725CCB58}" presName="rootConnector" presStyleLbl="node2" presStyleIdx="2" presStyleCnt="3"/>
      <dgm:spPr/>
      <dgm:t>
        <a:bodyPr/>
        <a:lstStyle/>
        <a:p>
          <a:endParaRPr lang="en-US"/>
        </a:p>
      </dgm:t>
    </dgm:pt>
    <dgm:pt modelId="{A9376C62-1BBF-4B08-AEEE-480D410B6E91}" type="pres">
      <dgm:prSet presAssocID="{93C6A76A-BF0D-474C-87A0-7398725CCB58}" presName="hierChild4" presStyleCnt="0"/>
      <dgm:spPr/>
    </dgm:pt>
    <dgm:pt modelId="{00C01F21-6BDA-4A73-85D3-EFF0CFE08541}" type="pres">
      <dgm:prSet presAssocID="{93C6A76A-BF0D-474C-87A0-7398725CCB58}" presName="hierChild5" presStyleCnt="0"/>
      <dgm:spPr/>
    </dgm:pt>
    <dgm:pt modelId="{15066E0A-E20A-4A1F-A5D2-0067ACA96B39}" type="pres">
      <dgm:prSet presAssocID="{99DD32DF-4152-45C9-BE68-29AE5D7B18C5}" presName="hierChild3" presStyleCnt="0"/>
      <dgm:spPr/>
    </dgm:pt>
  </dgm:ptLst>
  <dgm:cxnLst>
    <dgm:cxn modelId="{AC36F13D-06B7-4E25-8171-5A6F7F602072}" type="presOf" srcId="{08E3517A-936A-456B-BB8B-7FBD357EB82C}" destId="{41AAFCB5-426B-48F7-9B03-85C2412FBE60}" srcOrd="0" destOrd="0" presId="urn:microsoft.com/office/officeart/2005/8/layout/orgChart1"/>
    <dgm:cxn modelId="{FFD7F36D-272F-468F-978F-6430728D5D57}" srcId="{99DD32DF-4152-45C9-BE68-29AE5D7B18C5}" destId="{93C6A76A-BF0D-474C-87A0-7398725CCB58}" srcOrd="2" destOrd="0" parTransId="{08E3517A-936A-456B-BB8B-7FBD357EB82C}" sibTransId="{9DD3D787-996B-40B2-81F9-743D36A7FA00}"/>
    <dgm:cxn modelId="{72F2A993-C568-49E6-9A4D-C04C21D5F232}" srcId="{99DD32DF-4152-45C9-BE68-29AE5D7B18C5}" destId="{3590AF79-4A35-4F82-BCF2-F3D46B27A7C8}" srcOrd="0" destOrd="0" parTransId="{0AFA0C6D-1A60-4F31-B9E5-2AF42670FC26}" sibTransId="{C09E4231-D669-4B03-BF49-D19F2E7AE18A}"/>
    <dgm:cxn modelId="{4F8604EC-452E-4B68-90F8-53CD2BEC50A2}" type="presOf" srcId="{93C6A76A-BF0D-474C-87A0-7398725CCB58}" destId="{245BBE9D-CD74-49F1-9490-776DC540DE2B}" srcOrd="0" destOrd="0" presId="urn:microsoft.com/office/officeart/2005/8/layout/orgChart1"/>
    <dgm:cxn modelId="{66881369-FA1B-4631-ACC5-0C7C6D08E2C3}" srcId="{99DD32DF-4152-45C9-BE68-29AE5D7B18C5}" destId="{96804190-3B74-419E-A58E-CF66D1BB7EE6}" srcOrd="1" destOrd="0" parTransId="{352E36AF-EF7E-41A6-B055-02DA00E68A7B}" sibTransId="{7D5E8D92-9355-4D88-9C71-8C98D55FBAC5}"/>
    <dgm:cxn modelId="{A0B2DD60-DA18-4D6F-8433-D3F3D0D09B0F}" type="presOf" srcId="{352E36AF-EF7E-41A6-B055-02DA00E68A7B}" destId="{2AF2F9AE-B9C8-4E6F-832F-73E06C12A3AE}" srcOrd="0" destOrd="0" presId="urn:microsoft.com/office/officeart/2005/8/layout/orgChart1"/>
    <dgm:cxn modelId="{FEF98672-AC19-413E-91B5-A854EFA44F5E}" type="presOf" srcId="{96804190-3B74-419E-A58E-CF66D1BB7EE6}" destId="{B8641F07-8F91-4080-A701-AD6005F44693}" srcOrd="0" destOrd="0" presId="urn:microsoft.com/office/officeart/2005/8/layout/orgChart1"/>
    <dgm:cxn modelId="{351B0C85-CC64-404C-9908-56F22664B579}" type="presOf" srcId="{0AFA0C6D-1A60-4F31-B9E5-2AF42670FC26}" destId="{726CA8FE-88E5-4B12-91E3-E9BD747F0E4B}" srcOrd="0" destOrd="0" presId="urn:microsoft.com/office/officeart/2005/8/layout/orgChart1"/>
    <dgm:cxn modelId="{C102AD55-3EC2-436D-99A0-51089F534938}" type="presOf" srcId="{96804190-3B74-419E-A58E-CF66D1BB7EE6}" destId="{BAF5BE74-F2E7-4EE6-9333-0F43C1260A5A}" srcOrd="1" destOrd="0" presId="urn:microsoft.com/office/officeart/2005/8/layout/orgChart1"/>
    <dgm:cxn modelId="{C8D1E54D-C7AD-4649-9CD5-B3479574D343}" srcId="{6F05FA90-FAB9-4FB4-8951-22E45714F5AD}" destId="{99DD32DF-4152-45C9-BE68-29AE5D7B18C5}" srcOrd="0" destOrd="0" parTransId="{F3AF5B35-8E6D-4FD2-9206-40D98A726809}" sibTransId="{5E632147-AE29-4790-8E99-E3998CB89524}"/>
    <dgm:cxn modelId="{F5A528C7-2ECD-4DDB-9AD0-C01C5436D30A}" type="presOf" srcId="{99DD32DF-4152-45C9-BE68-29AE5D7B18C5}" destId="{EEE2EDB6-A273-4022-BE3B-C5953D5CFD4A}" srcOrd="1" destOrd="0" presId="urn:microsoft.com/office/officeart/2005/8/layout/orgChart1"/>
    <dgm:cxn modelId="{41DAB181-FBF6-4EA8-980E-DFD57B678E0E}" type="presOf" srcId="{3590AF79-4A35-4F82-BCF2-F3D46B27A7C8}" destId="{BD969258-8748-49EA-835B-CBD41E73A661}" srcOrd="1" destOrd="0" presId="urn:microsoft.com/office/officeart/2005/8/layout/orgChart1"/>
    <dgm:cxn modelId="{A7319275-608D-46DD-BBB0-D540D1A43D7D}" type="presOf" srcId="{93C6A76A-BF0D-474C-87A0-7398725CCB58}" destId="{77FF9AA1-14D6-4BE7-BD40-36E3A4CB1BC9}" srcOrd="1" destOrd="0" presId="urn:microsoft.com/office/officeart/2005/8/layout/orgChart1"/>
    <dgm:cxn modelId="{B72E18BD-9D3F-490B-8E29-BCAC29E859EA}" type="presOf" srcId="{99DD32DF-4152-45C9-BE68-29AE5D7B18C5}" destId="{FAD7D888-49AA-4ED2-89D5-EA6B785EDE69}" srcOrd="0" destOrd="0" presId="urn:microsoft.com/office/officeart/2005/8/layout/orgChart1"/>
    <dgm:cxn modelId="{C878C35C-5CAB-47BD-AA68-CCC43BA6FFA3}" type="presOf" srcId="{3590AF79-4A35-4F82-BCF2-F3D46B27A7C8}" destId="{E97FDC41-2186-48B7-8A0C-CB4E431E6DA3}" srcOrd="0" destOrd="0" presId="urn:microsoft.com/office/officeart/2005/8/layout/orgChart1"/>
    <dgm:cxn modelId="{8DDE0791-F839-4A6A-9C24-ADC4E2D9C8DF}" type="presOf" srcId="{6F05FA90-FAB9-4FB4-8951-22E45714F5AD}" destId="{5803E5F4-CF06-41CE-A914-5D2480F091C0}" srcOrd="0" destOrd="0" presId="urn:microsoft.com/office/officeart/2005/8/layout/orgChart1"/>
    <dgm:cxn modelId="{756F3F41-556E-4C57-B55C-9D59BE1454EB}" type="presParOf" srcId="{5803E5F4-CF06-41CE-A914-5D2480F091C0}" destId="{7B900314-5DF1-44C6-A637-CF238F56ECB2}" srcOrd="0" destOrd="0" presId="urn:microsoft.com/office/officeart/2005/8/layout/orgChart1"/>
    <dgm:cxn modelId="{E052428E-ED0F-4F45-A86F-A8B4D7FCC9F1}" type="presParOf" srcId="{7B900314-5DF1-44C6-A637-CF238F56ECB2}" destId="{C65EA589-3E36-4DB2-81DF-17C057314EBF}" srcOrd="0" destOrd="0" presId="urn:microsoft.com/office/officeart/2005/8/layout/orgChart1"/>
    <dgm:cxn modelId="{C2EC34FF-6EA0-47B3-A609-5E2972887FDE}" type="presParOf" srcId="{C65EA589-3E36-4DB2-81DF-17C057314EBF}" destId="{FAD7D888-49AA-4ED2-89D5-EA6B785EDE69}" srcOrd="0" destOrd="0" presId="urn:microsoft.com/office/officeart/2005/8/layout/orgChart1"/>
    <dgm:cxn modelId="{F7D27D15-CFD0-4385-900E-04D7F0ACD41D}" type="presParOf" srcId="{C65EA589-3E36-4DB2-81DF-17C057314EBF}" destId="{EEE2EDB6-A273-4022-BE3B-C5953D5CFD4A}" srcOrd="1" destOrd="0" presId="urn:microsoft.com/office/officeart/2005/8/layout/orgChart1"/>
    <dgm:cxn modelId="{63BB7EBE-1791-437C-AEEC-C50B76235DDC}" type="presParOf" srcId="{7B900314-5DF1-44C6-A637-CF238F56ECB2}" destId="{71CF0204-3037-4DDD-9D4F-683187239066}" srcOrd="1" destOrd="0" presId="urn:microsoft.com/office/officeart/2005/8/layout/orgChart1"/>
    <dgm:cxn modelId="{9CAD1CB6-F035-489C-930A-2079CB0960BB}" type="presParOf" srcId="{71CF0204-3037-4DDD-9D4F-683187239066}" destId="{726CA8FE-88E5-4B12-91E3-E9BD747F0E4B}" srcOrd="0" destOrd="0" presId="urn:microsoft.com/office/officeart/2005/8/layout/orgChart1"/>
    <dgm:cxn modelId="{2148D8E5-AA21-4FD4-B9ED-0D6D08DE119E}" type="presParOf" srcId="{71CF0204-3037-4DDD-9D4F-683187239066}" destId="{433668BB-D9B6-43F7-BDFD-261B8E64342D}" srcOrd="1" destOrd="0" presId="urn:microsoft.com/office/officeart/2005/8/layout/orgChart1"/>
    <dgm:cxn modelId="{548AD8BE-10EE-4C21-BE65-68864DCEA859}" type="presParOf" srcId="{433668BB-D9B6-43F7-BDFD-261B8E64342D}" destId="{0E562045-4096-477E-80B7-D0A2D1B35A4F}" srcOrd="0" destOrd="0" presId="urn:microsoft.com/office/officeart/2005/8/layout/orgChart1"/>
    <dgm:cxn modelId="{D86C92E7-7B17-4062-B5F4-160864931400}" type="presParOf" srcId="{0E562045-4096-477E-80B7-D0A2D1B35A4F}" destId="{E97FDC41-2186-48B7-8A0C-CB4E431E6DA3}" srcOrd="0" destOrd="0" presId="urn:microsoft.com/office/officeart/2005/8/layout/orgChart1"/>
    <dgm:cxn modelId="{1E575107-FBA9-4540-BEC7-2DDFAE69193F}" type="presParOf" srcId="{0E562045-4096-477E-80B7-D0A2D1B35A4F}" destId="{BD969258-8748-49EA-835B-CBD41E73A661}" srcOrd="1" destOrd="0" presId="urn:microsoft.com/office/officeart/2005/8/layout/orgChart1"/>
    <dgm:cxn modelId="{B63F5266-3B5B-4EB6-95DC-B5102FD8CF2E}" type="presParOf" srcId="{433668BB-D9B6-43F7-BDFD-261B8E64342D}" destId="{83F62D40-4AA5-486B-8C9C-874D08ECCBA0}" srcOrd="1" destOrd="0" presId="urn:microsoft.com/office/officeart/2005/8/layout/orgChart1"/>
    <dgm:cxn modelId="{01ECE09B-FB90-4F57-A89F-2E9B2F11ED2B}" type="presParOf" srcId="{433668BB-D9B6-43F7-BDFD-261B8E64342D}" destId="{5C64FE1E-6E11-44FD-B670-E19E1D636EFC}" srcOrd="2" destOrd="0" presId="urn:microsoft.com/office/officeart/2005/8/layout/orgChart1"/>
    <dgm:cxn modelId="{047C726C-595F-4928-BC37-DC1135038C87}" type="presParOf" srcId="{71CF0204-3037-4DDD-9D4F-683187239066}" destId="{2AF2F9AE-B9C8-4E6F-832F-73E06C12A3AE}" srcOrd="2" destOrd="0" presId="urn:microsoft.com/office/officeart/2005/8/layout/orgChart1"/>
    <dgm:cxn modelId="{D143C589-A705-4F83-AF03-18D348A6C532}" type="presParOf" srcId="{71CF0204-3037-4DDD-9D4F-683187239066}" destId="{CB38C899-599C-477D-A9AB-A2AEFB4F5FD7}" srcOrd="3" destOrd="0" presId="urn:microsoft.com/office/officeart/2005/8/layout/orgChart1"/>
    <dgm:cxn modelId="{4E802B60-264F-408D-BC79-08F1C3B0B9FA}" type="presParOf" srcId="{CB38C899-599C-477D-A9AB-A2AEFB4F5FD7}" destId="{812ADDBE-2E95-456F-B326-A52F1B84B206}" srcOrd="0" destOrd="0" presId="urn:microsoft.com/office/officeart/2005/8/layout/orgChart1"/>
    <dgm:cxn modelId="{69995D61-C018-4463-B4EF-6B822A6BCF72}" type="presParOf" srcId="{812ADDBE-2E95-456F-B326-A52F1B84B206}" destId="{B8641F07-8F91-4080-A701-AD6005F44693}" srcOrd="0" destOrd="0" presId="urn:microsoft.com/office/officeart/2005/8/layout/orgChart1"/>
    <dgm:cxn modelId="{8F932929-6BFB-48AA-8074-9DC3718DDDD8}" type="presParOf" srcId="{812ADDBE-2E95-456F-B326-A52F1B84B206}" destId="{BAF5BE74-F2E7-4EE6-9333-0F43C1260A5A}" srcOrd="1" destOrd="0" presId="urn:microsoft.com/office/officeart/2005/8/layout/orgChart1"/>
    <dgm:cxn modelId="{9E27BF56-1595-45D8-AA9F-A7FC7F28B8FA}" type="presParOf" srcId="{CB38C899-599C-477D-A9AB-A2AEFB4F5FD7}" destId="{79D7C527-BCB2-4157-934A-6F31AF3CA529}" srcOrd="1" destOrd="0" presId="urn:microsoft.com/office/officeart/2005/8/layout/orgChart1"/>
    <dgm:cxn modelId="{E4E80466-516E-43D9-8D32-33126A23F8E3}" type="presParOf" srcId="{CB38C899-599C-477D-A9AB-A2AEFB4F5FD7}" destId="{AE5B0F6C-68F8-426E-A514-0EAB1D8606A7}" srcOrd="2" destOrd="0" presId="urn:microsoft.com/office/officeart/2005/8/layout/orgChart1"/>
    <dgm:cxn modelId="{98F132C6-8888-4EF9-99E2-CB8A092D589B}" type="presParOf" srcId="{71CF0204-3037-4DDD-9D4F-683187239066}" destId="{41AAFCB5-426B-48F7-9B03-85C2412FBE60}" srcOrd="4" destOrd="0" presId="urn:microsoft.com/office/officeart/2005/8/layout/orgChart1"/>
    <dgm:cxn modelId="{1530D93F-DAB5-4F28-9149-E4D705CD5982}" type="presParOf" srcId="{71CF0204-3037-4DDD-9D4F-683187239066}" destId="{74781EF1-4421-4DEF-8866-F906708EDD23}" srcOrd="5" destOrd="0" presId="urn:microsoft.com/office/officeart/2005/8/layout/orgChart1"/>
    <dgm:cxn modelId="{FC9EEC50-E5B2-40C9-AFE4-D4AA0010D541}" type="presParOf" srcId="{74781EF1-4421-4DEF-8866-F906708EDD23}" destId="{43CCE3CE-3E4C-4927-A8A6-D0B5EB110523}" srcOrd="0" destOrd="0" presId="urn:microsoft.com/office/officeart/2005/8/layout/orgChart1"/>
    <dgm:cxn modelId="{0BCC3632-A173-4DA4-90FF-BFF6E97B7CF7}" type="presParOf" srcId="{43CCE3CE-3E4C-4927-A8A6-D0B5EB110523}" destId="{245BBE9D-CD74-49F1-9490-776DC540DE2B}" srcOrd="0" destOrd="0" presId="urn:microsoft.com/office/officeart/2005/8/layout/orgChart1"/>
    <dgm:cxn modelId="{D7914342-CE19-4CD9-A9C5-B72A313D39AF}" type="presParOf" srcId="{43CCE3CE-3E4C-4927-A8A6-D0B5EB110523}" destId="{77FF9AA1-14D6-4BE7-BD40-36E3A4CB1BC9}" srcOrd="1" destOrd="0" presId="urn:microsoft.com/office/officeart/2005/8/layout/orgChart1"/>
    <dgm:cxn modelId="{BA988599-A60B-48AC-B71F-DDE53CFAF438}" type="presParOf" srcId="{74781EF1-4421-4DEF-8866-F906708EDD23}" destId="{A9376C62-1BBF-4B08-AEEE-480D410B6E91}" srcOrd="1" destOrd="0" presId="urn:microsoft.com/office/officeart/2005/8/layout/orgChart1"/>
    <dgm:cxn modelId="{9302DDAB-6D6C-447A-801D-63091B19B92F}" type="presParOf" srcId="{74781EF1-4421-4DEF-8866-F906708EDD23}" destId="{00C01F21-6BDA-4A73-85D3-EFF0CFE08541}" srcOrd="2" destOrd="0" presId="urn:microsoft.com/office/officeart/2005/8/layout/orgChart1"/>
    <dgm:cxn modelId="{0880B239-23BF-4B74-9AE7-DF67AA8FC404}" type="presParOf" srcId="{7B900314-5DF1-44C6-A637-CF238F56ECB2}" destId="{15066E0A-E20A-4A1F-A5D2-0067ACA96B39}" srcOrd="2" destOrd="0" presId="urn:microsoft.com/office/officeart/2005/8/layout/orgChart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1AAFCB5-426B-48F7-9B03-85C2412FBE60}">
      <dsp:nvSpPr>
        <dsp:cNvPr id="0" name=""/>
        <dsp:cNvSpPr/>
      </dsp:nvSpPr>
      <dsp:spPr>
        <a:xfrm>
          <a:off x="2243428" y="1357883"/>
          <a:ext cx="1587242" cy="275471"/>
        </a:xfrm>
        <a:custGeom>
          <a:avLst/>
          <a:gdLst/>
          <a:ahLst/>
          <a:cxnLst/>
          <a:rect l="0" t="0" r="0" b="0"/>
          <a:pathLst>
            <a:path>
              <a:moveTo>
                <a:pt x="0" y="0"/>
              </a:moveTo>
              <a:lnTo>
                <a:pt x="0" y="137735"/>
              </a:lnTo>
              <a:lnTo>
                <a:pt x="1587242" y="137735"/>
              </a:lnTo>
              <a:lnTo>
                <a:pt x="1587242" y="27547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AF2F9AE-B9C8-4E6F-832F-73E06C12A3AE}">
      <dsp:nvSpPr>
        <dsp:cNvPr id="0" name=""/>
        <dsp:cNvSpPr/>
      </dsp:nvSpPr>
      <dsp:spPr>
        <a:xfrm>
          <a:off x="2197708" y="1357883"/>
          <a:ext cx="91440" cy="275471"/>
        </a:xfrm>
        <a:custGeom>
          <a:avLst/>
          <a:gdLst/>
          <a:ahLst/>
          <a:cxnLst/>
          <a:rect l="0" t="0" r="0" b="0"/>
          <a:pathLst>
            <a:path>
              <a:moveTo>
                <a:pt x="45720" y="0"/>
              </a:moveTo>
              <a:lnTo>
                <a:pt x="45720" y="27547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26CA8FE-88E5-4B12-91E3-E9BD747F0E4B}">
      <dsp:nvSpPr>
        <dsp:cNvPr id="0" name=""/>
        <dsp:cNvSpPr/>
      </dsp:nvSpPr>
      <dsp:spPr>
        <a:xfrm>
          <a:off x="656186" y="1357883"/>
          <a:ext cx="1587242" cy="275471"/>
        </a:xfrm>
        <a:custGeom>
          <a:avLst/>
          <a:gdLst/>
          <a:ahLst/>
          <a:cxnLst/>
          <a:rect l="0" t="0" r="0" b="0"/>
          <a:pathLst>
            <a:path>
              <a:moveTo>
                <a:pt x="1587242" y="0"/>
              </a:moveTo>
              <a:lnTo>
                <a:pt x="1587242" y="137735"/>
              </a:lnTo>
              <a:lnTo>
                <a:pt x="0" y="137735"/>
              </a:lnTo>
              <a:lnTo>
                <a:pt x="0" y="27547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AD7D888-49AA-4ED2-89D5-EA6B785EDE69}">
      <dsp:nvSpPr>
        <dsp:cNvPr id="0" name=""/>
        <dsp:cNvSpPr/>
      </dsp:nvSpPr>
      <dsp:spPr>
        <a:xfrm>
          <a:off x="1587543" y="701997"/>
          <a:ext cx="1311770" cy="655885"/>
        </a:xfrm>
        <a:prstGeom prst="rect">
          <a:avLst/>
        </a:prstGeom>
        <a:noFill/>
        <a:ln w="12700" cap="flat" cmpd="sng" algn="ctr">
          <a:solidFill>
            <a:schemeClr val="accent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en-US" sz="1400" b="1" kern="1200" dirty="0" err="1" smtClean="0">
              <a:solidFill>
                <a:schemeClr val="tx2"/>
              </a:solidFill>
            </a:rPr>
            <a:t>Redução</a:t>
          </a:r>
          <a:r>
            <a:rPr lang="en-US" sz="1400" b="1" kern="1200" dirty="0" smtClean="0">
              <a:solidFill>
                <a:schemeClr val="tx2"/>
              </a:solidFill>
            </a:rPr>
            <a:t> do Estado</a:t>
          </a:r>
          <a:endParaRPr lang="en-US" sz="1400" b="1" kern="1200" dirty="0">
            <a:solidFill>
              <a:schemeClr val="tx2"/>
            </a:solidFill>
          </a:endParaRPr>
        </a:p>
      </dsp:txBody>
      <dsp:txXfrm>
        <a:off x="1587543" y="701997"/>
        <a:ext cx="1311770" cy="655885"/>
      </dsp:txXfrm>
    </dsp:sp>
    <dsp:sp modelId="{E97FDC41-2186-48B7-8A0C-CB4E431E6DA3}">
      <dsp:nvSpPr>
        <dsp:cNvPr id="0" name=""/>
        <dsp:cNvSpPr/>
      </dsp:nvSpPr>
      <dsp:spPr>
        <a:xfrm>
          <a:off x="301" y="1633354"/>
          <a:ext cx="1311770" cy="655885"/>
        </a:xfrm>
        <a:prstGeom prst="rect">
          <a:avLst/>
        </a:prstGeom>
        <a:noFill/>
        <a:ln w="12700" cap="flat" cmpd="sng" algn="ctr">
          <a:solidFill>
            <a:schemeClr val="accent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en-US" sz="1400" kern="1200" dirty="0" smtClean="0">
              <a:solidFill>
                <a:schemeClr val="tx2"/>
              </a:solidFill>
            </a:rPr>
            <a:t>Agenda </a:t>
          </a:r>
          <a:r>
            <a:rPr lang="en-US" sz="1400" kern="1200" dirty="0" err="1" smtClean="0">
              <a:solidFill>
                <a:schemeClr val="tx2"/>
              </a:solidFill>
            </a:rPr>
            <a:t>Desestatização</a:t>
          </a:r>
          <a:endParaRPr lang="en-US" sz="1400" kern="1200" dirty="0">
            <a:solidFill>
              <a:schemeClr val="tx2"/>
            </a:solidFill>
          </a:endParaRPr>
        </a:p>
      </dsp:txBody>
      <dsp:txXfrm>
        <a:off x="301" y="1633354"/>
        <a:ext cx="1311770" cy="655885"/>
      </dsp:txXfrm>
    </dsp:sp>
    <dsp:sp modelId="{B8641F07-8F91-4080-A701-AD6005F44693}">
      <dsp:nvSpPr>
        <dsp:cNvPr id="0" name=""/>
        <dsp:cNvSpPr/>
      </dsp:nvSpPr>
      <dsp:spPr>
        <a:xfrm>
          <a:off x="1587543" y="1633354"/>
          <a:ext cx="1311770" cy="655885"/>
        </a:xfrm>
        <a:prstGeom prst="rect">
          <a:avLst/>
        </a:prstGeom>
        <a:noFill/>
        <a:ln w="12700" cap="flat" cmpd="sng" algn="ctr">
          <a:solidFill>
            <a:schemeClr val="accent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en-US" sz="1400" kern="1200" dirty="0" err="1" smtClean="0">
              <a:solidFill>
                <a:schemeClr val="tx2"/>
              </a:solidFill>
            </a:rPr>
            <a:t>Mais</a:t>
          </a:r>
          <a:r>
            <a:rPr lang="en-US" sz="1400" kern="1200" dirty="0" smtClean="0">
              <a:solidFill>
                <a:schemeClr val="tx2"/>
              </a:solidFill>
            </a:rPr>
            <a:t> </a:t>
          </a:r>
          <a:r>
            <a:rPr lang="en-US" sz="1400" kern="1200" dirty="0" err="1" smtClean="0">
              <a:solidFill>
                <a:schemeClr val="tx2"/>
              </a:solidFill>
            </a:rPr>
            <a:t>Investimentos</a:t>
          </a:r>
          <a:r>
            <a:rPr lang="en-US" sz="1400" kern="1200" dirty="0" smtClean="0">
              <a:solidFill>
                <a:schemeClr val="tx2"/>
              </a:solidFill>
            </a:rPr>
            <a:t> </a:t>
          </a:r>
          <a:r>
            <a:rPr lang="en-US" sz="1400" kern="1200" dirty="0" err="1" smtClean="0">
              <a:solidFill>
                <a:schemeClr val="tx2"/>
              </a:solidFill>
            </a:rPr>
            <a:t>Privados</a:t>
          </a:r>
          <a:r>
            <a:rPr lang="en-US" sz="1400" kern="1200" dirty="0" smtClean="0">
              <a:solidFill>
                <a:schemeClr val="tx2"/>
              </a:solidFill>
            </a:rPr>
            <a:t> de LP</a:t>
          </a:r>
          <a:endParaRPr lang="en-US" sz="1400" kern="1200" dirty="0">
            <a:solidFill>
              <a:schemeClr val="tx2"/>
            </a:solidFill>
          </a:endParaRPr>
        </a:p>
      </dsp:txBody>
      <dsp:txXfrm>
        <a:off x="1587543" y="1633354"/>
        <a:ext cx="1311770" cy="655885"/>
      </dsp:txXfrm>
    </dsp:sp>
    <dsp:sp modelId="{245BBE9D-CD74-49F1-9490-776DC540DE2B}">
      <dsp:nvSpPr>
        <dsp:cNvPr id="0" name=""/>
        <dsp:cNvSpPr/>
      </dsp:nvSpPr>
      <dsp:spPr>
        <a:xfrm>
          <a:off x="3174785" y="1633354"/>
          <a:ext cx="1311770" cy="655885"/>
        </a:xfrm>
        <a:prstGeom prst="rect">
          <a:avLst/>
        </a:prstGeom>
        <a:noFill/>
        <a:ln w="12700" cap="flat" cmpd="sng" algn="ctr">
          <a:solidFill>
            <a:schemeClr val="accent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en-US" sz="1400" kern="1200" dirty="0" err="1" smtClean="0">
              <a:solidFill>
                <a:schemeClr val="tx2"/>
              </a:solidFill>
            </a:rPr>
            <a:t>Mais</a:t>
          </a:r>
          <a:r>
            <a:rPr lang="en-US" sz="1400" kern="1200" dirty="0" smtClean="0">
              <a:solidFill>
                <a:schemeClr val="tx2"/>
              </a:solidFill>
            </a:rPr>
            <a:t> </a:t>
          </a:r>
          <a:r>
            <a:rPr lang="en-US" sz="1400" kern="1200" dirty="0" err="1" smtClean="0">
              <a:solidFill>
                <a:schemeClr val="tx2"/>
              </a:solidFill>
            </a:rPr>
            <a:t>Financiamento</a:t>
          </a:r>
          <a:r>
            <a:rPr lang="en-US" sz="1400" kern="1200" dirty="0" smtClean="0">
              <a:solidFill>
                <a:schemeClr val="tx2"/>
              </a:solidFill>
            </a:rPr>
            <a:t> </a:t>
          </a:r>
          <a:r>
            <a:rPr lang="en-US" sz="1400" kern="1200" dirty="0" err="1" smtClean="0">
              <a:solidFill>
                <a:schemeClr val="tx2"/>
              </a:solidFill>
            </a:rPr>
            <a:t>Privado</a:t>
          </a:r>
          <a:endParaRPr lang="en-US" sz="1400" kern="1200" dirty="0">
            <a:solidFill>
              <a:schemeClr val="tx2"/>
            </a:solidFill>
          </a:endParaRPr>
        </a:p>
      </dsp:txBody>
      <dsp:txXfrm>
        <a:off x="3174785" y="1633354"/>
        <a:ext cx="1311770" cy="65588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1AAFCB5-426B-48F7-9B03-85C2412FBE60}">
      <dsp:nvSpPr>
        <dsp:cNvPr id="0" name=""/>
        <dsp:cNvSpPr/>
      </dsp:nvSpPr>
      <dsp:spPr>
        <a:xfrm>
          <a:off x="2243428" y="1357883"/>
          <a:ext cx="1587242" cy="275471"/>
        </a:xfrm>
        <a:custGeom>
          <a:avLst/>
          <a:gdLst/>
          <a:ahLst/>
          <a:cxnLst/>
          <a:rect l="0" t="0" r="0" b="0"/>
          <a:pathLst>
            <a:path>
              <a:moveTo>
                <a:pt x="0" y="0"/>
              </a:moveTo>
              <a:lnTo>
                <a:pt x="0" y="137735"/>
              </a:lnTo>
              <a:lnTo>
                <a:pt x="1587242" y="137735"/>
              </a:lnTo>
              <a:lnTo>
                <a:pt x="1587242" y="27547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AF2F9AE-B9C8-4E6F-832F-73E06C12A3AE}">
      <dsp:nvSpPr>
        <dsp:cNvPr id="0" name=""/>
        <dsp:cNvSpPr/>
      </dsp:nvSpPr>
      <dsp:spPr>
        <a:xfrm>
          <a:off x="2197708" y="1357883"/>
          <a:ext cx="91440" cy="275471"/>
        </a:xfrm>
        <a:custGeom>
          <a:avLst/>
          <a:gdLst/>
          <a:ahLst/>
          <a:cxnLst/>
          <a:rect l="0" t="0" r="0" b="0"/>
          <a:pathLst>
            <a:path>
              <a:moveTo>
                <a:pt x="45720" y="0"/>
              </a:moveTo>
              <a:lnTo>
                <a:pt x="45720" y="27547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26CA8FE-88E5-4B12-91E3-E9BD747F0E4B}">
      <dsp:nvSpPr>
        <dsp:cNvPr id="0" name=""/>
        <dsp:cNvSpPr/>
      </dsp:nvSpPr>
      <dsp:spPr>
        <a:xfrm>
          <a:off x="656186" y="1357883"/>
          <a:ext cx="1587242" cy="275471"/>
        </a:xfrm>
        <a:custGeom>
          <a:avLst/>
          <a:gdLst/>
          <a:ahLst/>
          <a:cxnLst/>
          <a:rect l="0" t="0" r="0" b="0"/>
          <a:pathLst>
            <a:path>
              <a:moveTo>
                <a:pt x="1587242" y="0"/>
              </a:moveTo>
              <a:lnTo>
                <a:pt x="1587242" y="137735"/>
              </a:lnTo>
              <a:lnTo>
                <a:pt x="0" y="137735"/>
              </a:lnTo>
              <a:lnTo>
                <a:pt x="0" y="27547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AD7D888-49AA-4ED2-89D5-EA6B785EDE69}">
      <dsp:nvSpPr>
        <dsp:cNvPr id="0" name=""/>
        <dsp:cNvSpPr/>
      </dsp:nvSpPr>
      <dsp:spPr>
        <a:xfrm>
          <a:off x="1587543" y="701997"/>
          <a:ext cx="1311770" cy="655885"/>
        </a:xfrm>
        <a:prstGeom prst="rect">
          <a:avLst/>
        </a:prstGeom>
        <a:noFill/>
        <a:ln w="12700" cap="flat" cmpd="sng" algn="ctr">
          <a:solidFill>
            <a:schemeClr val="accent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US" sz="1600" b="1" kern="1200" dirty="0" err="1" smtClean="0">
              <a:solidFill>
                <a:schemeClr val="tx2"/>
              </a:solidFill>
            </a:rPr>
            <a:t>Crescimento</a:t>
          </a:r>
          <a:r>
            <a:rPr lang="en-US" sz="1600" b="1" kern="1200" dirty="0" smtClean="0">
              <a:solidFill>
                <a:schemeClr val="tx2"/>
              </a:solidFill>
            </a:rPr>
            <a:t> de  </a:t>
          </a:r>
          <a:r>
            <a:rPr lang="en-US" sz="1600" b="1" kern="1200" dirty="0" err="1" smtClean="0">
              <a:solidFill>
                <a:schemeClr val="tx2"/>
              </a:solidFill>
            </a:rPr>
            <a:t>Lucro</a:t>
          </a:r>
          <a:r>
            <a:rPr lang="en-US" sz="1600" b="1" kern="1200" dirty="0" smtClean="0">
              <a:solidFill>
                <a:schemeClr val="tx2"/>
              </a:solidFill>
            </a:rPr>
            <a:t> - </a:t>
          </a:r>
          <a:r>
            <a:rPr lang="en-US" sz="1600" b="1" kern="1200" dirty="0" err="1" smtClean="0">
              <a:solidFill>
                <a:schemeClr val="tx2"/>
              </a:solidFill>
            </a:rPr>
            <a:t>Varejo</a:t>
          </a:r>
          <a:endParaRPr lang="en-US" sz="1600" b="1" kern="1200" dirty="0">
            <a:solidFill>
              <a:schemeClr val="tx2"/>
            </a:solidFill>
          </a:endParaRPr>
        </a:p>
      </dsp:txBody>
      <dsp:txXfrm>
        <a:off x="1587543" y="701997"/>
        <a:ext cx="1311770" cy="655885"/>
      </dsp:txXfrm>
    </dsp:sp>
    <dsp:sp modelId="{E97FDC41-2186-48B7-8A0C-CB4E431E6DA3}">
      <dsp:nvSpPr>
        <dsp:cNvPr id="0" name=""/>
        <dsp:cNvSpPr/>
      </dsp:nvSpPr>
      <dsp:spPr>
        <a:xfrm>
          <a:off x="301" y="1633354"/>
          <a:ext cx="1311770" cy="655885"/>
        </a:xfrm>
        <a:prstGeom prst="rect">
          <a:avLst/>
        </a:prstGeom>
        <a:noFill/>
        <a:ln w="12700" cap="flat" cmpd="sng" algn="ctr">
          <a:solidFill>
            <a:schemeClr val="accent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US" sz="1600" kern="1200" dirty="0" err="1" smtClean="0">
              <a:solidFill>
                <a:schemeClr val="tx2"/>
              </a:solidFill>
            </a:rPr>
            <a:t>Crescimento</a:t>
          </a:r>
          <a:r>
            <a:rPr lang="en-US" sz="1600" kern="1200" dirty="0" smtClean="0">
              <a:solidFill>
                <a:schemeClr val="tx2"/>
              </a:solidFill>
            </a:rPr>
            <a:t> </a:t>
          </a:r>
          <a:r>
            <a:rPr lang="en-US" sz="1600" kern="1200" dirty="0" err="1" smtClean="0">
              <a:solidFill>
                <a:schemeClr val="tx2"/>
              </a:solidFill>
            </a:rPr>
            <a:t>Vendas</a:t>
          </a:r>
          <a:endParaRPr lang="en-US" sz="1600" kern="1200" dirty="0">
            <a:solidFill>
              <a:schemeClr val="tx2"/>
            </a:solidFill>
          </a:endParaRPr>
        </a:p>
      </dsp:txBody>
      <dsp:txXfrm>
        <a:off x="301" y="1633354"/>
        <a:ext cx="1311770" cy="655885"/>
      </dsp:txXfrm>
    </dsp:sp>
    <dsp:sp modelId="{B8641F07-8F91-4080-A701-AD6005F44693}">
      <dsp:nvSpPr>
        <dsp:cNvPr id="0" name=""/>
        <dsp:cNvSpPr/>
      </dsp:nvSpPr>
      <dsp:spPr>
        <a:xfrm>
          <a:off x="1587543" y="1633354"/>
          <a:ext cx="1311770" cy="655885"/>
        </a:xfrm>
        <a:prstGeom prst="rect">
          <a:avLst/>
        </a:prstGeom>
        <a:noFill/>
        <a:ln w="12700" cap="flat" cmpd="sng" algn="ctr">
          <a:solidFill>
            <a:schemeClr val="accent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US" sz="1600" kern="1200" dirty="0" err="1" smtClean="0">
              <a:solidFill>
                <a:schemeClr val="tx2"/>
              </a:solidFill>
            </a:rPr>
            <a:t>Maior</a:t>
          </a:r>
          <a:r>
            <a:rPr lang="en-US" sz="1600" kern="1200" dirty="0" smtClean="0">
              <a:solidFill>
                <a:schemeClr val="tx2"/>
              </a:solidFill>
            </a:rPr>
            <a:t> </a:t>
          </a:r>
          <a:r>
            <a:rPr lang="en-US" sz="1600" kern="1200" dirty="0" err="1" smtClean="0">
              <a:solidFill>
                <a:schemeClr val="tx2"/>
              </a:solidFill>
            </a:rPr>
            <a:t>Rentabilidade</a:t>
          </a:r>
          <a:endParaRPr lang="en-US" sz="1600" kern="1200" dirty="0">
            <a:solidFill>
              <a:schemeClr val="tx2"/>
            </a:solidFill>
          </a:endParaRPr>
        </a:p>
      </dsp:txBody>
      <dsp:txXfrm>
        <a:off x="1587543" y="1633354"/>
        <a:ext cx="1311770" cy="655885"/>
      </dsp:txXfrm>
    </dsp:sp>
    <dsp:sp modelId="{245BBE9D-CD74-49F1-9490-776DC540DE2B}">
      <dsp:nvSpPr>
        <dsp:cNvPr id="0" name=""/>
        <dsp:cNvSpPr/>
      </dsp:nvSpPr>
      <dsp:spPr>
        <a:xfrm>
          <a:off x="3174785" y="1633354"/>
          <a:ext cx="1311770" cy="655885"/>
        </a:xfrm>
        <a:prstGeom prst="rect">
          <a:avLst/>
        </a:prstGeom>
        <a:noFill/>
        <a:ln w="12700" cap="flat" cmpd="sng" algn="ctr">
          <a:solidFill>
            <a:schemeClr val="accent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US" sz="1600" kern="1200" dirty="0" err="1" smtClean="0">
              <a:solidFill>
                <a:schemeClr val="tx2"/>
              </a:solidFill>
            </a:rPr>
            <a:t>Menos</a:t>
          </a:r>
          <a:r>
            <a:rPr lang="en-US" sz="1600" kern="1200" dirty="0" smtClean="0">
              <a:solidFill>
                <a:schemeClr val="tx2"/>
              </a:solidFill>
            </a:rPr>
            <a:t> </a:t>
          </a:r>
          <a:r>
            <a:rPr lang="en-US" sz="1600" kern="1200" dirty="0" err="1" smtClean="0">
              <a:solidFill>
                <a:schemeClr val="tx2"/>
              </a:solidFill>
            </a:rPr>
            <a:t>Dívida</a:t>
          </a:r>
          <a:r>
            <a:rPr lang="en-US" sz="1600" kern="1200" dirty="0" smtClean="0">
              <a:solidFill>
                <a:schemeClr val="tx2"/>
              </a:solidFill>
            </a:rPr>
            <a:t>  </a:t>
          </a:r>
          <a:r>
            <a:rPr lang="en-US" sz="1600" kern="1200" dirty="0" err="1" smtClean="0">
              <a:solidFill>
                <a:schemeClr val="tx2"/>
              </a:solidFill>
            </a:rPr>
            <a:t>Juros</a:t>
          </a:r>
          <a:r>
            <a:rPr lang="en-US" sz="1600" kern="1200" dirty="0" smtClean="0">
              <a:solidFill>
                <a:schemeClr val="tx2"/>
              </a:solidFill>
            </a:rPr>
            <a:t> </a:t>
          </a:r>
          <a:r>
            <a:rPr lang="en-US" sz="1600" kern="1200" dirty="0" err="1" smtClean="0">
              <a:solidFill>
                <a:schemeClr val="tx2"/>
              </a:solidFill>
            </a:rPr>
            <a:t>Baixos</a:t>
          </a:r>
          <a:endParaRPr lang="en-US" sz="1600" kern="1200" dirty="0">
            <a:solidFill>
              <a:schemeClr val="tx2"/>
            </a:solidFill>
          </a:endParaRPr>
        </a:p>
      </dsp:txBody>
      <dsp:txXfrm>
        <a:off x="3174785" y="1633354"/>
        <a:ext cx="1311770" cy="655885"/>
      </dsp:txXfrm>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8475"/>
          </a:xfrm>
          <a:prstGeom prst="rect">
            <a:avLst/>
          </a:prstGeom>
        </p:spPr>
        <p:txBody>
          <a:bodyPr vert="horz" lIns="91440" tIns="45720" rIns="91440" bIns="45720" rtlCol="0"/>
          <a:lstStyle>
            <a:lvl1pPr algn="l" eaLnBrk="1" fontAlgn="auto" hangingPunct="1">
              <a:spcBef>
                <a:spcPts val="0"/>
              </a:spcBef>
              <a:spcAft>
                <a:spcPts val="0"/>
              </a:spcAft>
              <a:defRPr sz="1200">
                <a:latin typeface="+mn-lt"/>
                <a:cs typeface="+mn-cs"/>
              </a:defRPr>
            </a:lvl1pPr>
          </a:lstStyle>
          <a:p>
            <a:pPr>
              <a:defRPr/>
            </a:pPr>
            <a:endParaRPr lang="en-GB"/>
          </a:p>
        </p:txBody>
      </p:sp>
      <p:sp>
        <p:nvSpPr>
          <p:cNvPr id="3" name="Date Placeholder 2"/>
          <p:cNvSpPr>
            <a:spLocks noGrp="1"/>
          </p:cNvSpPr>
          <p:nvPr>
            <p:ph type="dt" idx="1"/>
          </p:nvPr>
        </p:nvSpPr>
        <p:spPr>
          <a:xfrm>
            <a:off x="3851275" y="0"/>
            <a:ext cx="2946400" cy="498475"/>
          </a:xfrm>
          <a:prstGeom prst="rect">
            <a:avLst/>
          </a:prstGeom>
        </p:spPr>
        <p:txBody>
          <a:bodyPr vert="horz" lIns="91440" tIns="45720" rIns="91440" bIns="45720" rtlCol="0"/>
          <a:lstStyle>
            <a:lvl1pPr algn="r" eaLnBrk="1" fontAlgn="auto" hangingPunct="1">
              <a:spcBef>
                <a:spcPts val="0"/>
              </a:spcBef>
              <a:spcAft>
                <a:spcPts val="0"/>
              </a:spcAft>
              <a:defRPr sz="1200">
                <a:latin typeface="+mn-lt"/>
                <a:cs typeface="+mn-cs"/>
              </a:defRPr>
            </a:lvl1pPr>
          </a:lstStyle>
          <a:p>
            <a:pPr>
              <a:defRPr/>
            </a:pPr>
            <a:fld id="{BF5F0B82-B536-40E9-87B0-E17C96DCF30C}" type="datetimeFigureOut">
              <a:rPr lang="en-GB"/>
              <a:pPr>
                <a:defRPr/>
              </a:pPr>
              <a:t>24/06/2019</a:t>
            </a:fld>
            <a:endParaRPr lang="en-GB"/>
          </a:p>
        </p:txBody>
      </p:sp>
      <p:sp>
        <p:nvSpPr>
          <p:cNvPr id="4" name="Slide Image Placeholder 3"/>
          <p:cNvSpPr>
            <a:spLocks noGrp="1" noRot="1" noChangeAspect="1"/>
          </p:cNvSpPr>
          <p:nvPr>
            <p:ph type="sldImg" idx="2"/>
          </p:nvPr>
        </p:nvSpPr>
        <p:spPr>
          <a:xfrm>
            <a:off x="979488" y="1241425"/>
            <a:ext cx="4840287" cy="3351213"/>
          </a:xfrm>
          <a:prstGeom prst="rect">
            <a:avLst/>
          </a:prstGeom>
          <a:noFill/>
          <a:ln w="12700">
            <a:solidFill>
              <a:prstClr val="black"/>
            </a:solidFill>
          </a:ln>
        </p:spPr>
        <p:txBody>
          <a:bodyPr vert="horz" lIns="91440" tIns="45720" rIns="91440" bIns="45720" rtlCol="0" anchor="ctr"/>
          <a:lstStyle/>
          <a:p>
            <a:pPr lvl="0"/>
            <a:endParaRPr lang="en-GB" noProof="0"/>
          </a:p>
        </p:txBody>
      </p:sp>
      <p:sp>
        <p:nvSpPr>
          <p:cNvPr id="5" name="Notes Placeholder 4"/>
          <p:cNvSpPr>
            <a:spLocks noGrp="1"/>
          </p:cNvSpPr>
          <p:nvPr>
            <p:ph type="body" sz="quarter" idx="3"/>
          </p:nvPr>
        </p:nvSpPr>
        <p:spPr>
          <a:xfrm>
            <a:off x="679450" y="4778375"/>
            <a:ext cx="5440363" cy="3910013"/>
          </a:xfrm>
          <a:prstGeom prst="rect">
            <a:avLst/>
          </a:prstGeom>
        </p:spPr>
        <p:txBody>
          <a:bodyPr vert="horz" wrap="square" lIns="91440" tIns="45720" rIns="91440" bIns="45720" numCol="1" anchor="t" anchorCtr="0" compatLnSpc="1">
            <a:prstTxWarp prst="textNoShape">
              <a:avLst/>
            </a:prstTxWarp>
          </a:bodyPr>
          <a:lstStyle/>
          <a:p>
            <a:pPr lvl="0"/>
            <a:r>
              <a:rPr lang="en-GB" altLang="en-US" noProof="0" smtClean="0"/>
              <a:t>Click to edit Master text styles</a:t>
            </a:r>
          </a:p>
          <a:p>
            <a:pPr lvl="1"/>
            <a:r>
              <a:rPr lang="en-GB" altLang="en-US" noProof="0" smtClean="0"/>
              <a:t>Second level</a:t>
            </a:r>
          </a:p>
          <a:p>
            <a:pPr lvl="2"/>
            <a:r>
              <a:rPr lang="en-GB" altLang="en-US" noProof="0" smtClean="0"/>
              <a:t>Third level</a:t>
            </a:r>
          </a:p>
          <a:p>
            <a:pPr lvl="3"/>
            <a:r>
              <a:rPr lang="en-GB" altLang="en-US" noProof="0" smtClean="0"/>
              <a:t>Fourth level</a:t>
            </a:r>
          </a:p>
          <a:p>
            <a:pPr lvl="4"/>
            <a:r>
              <a:rPr lang="en-GB" altLang="en-US" noProof="0" smtClean="0"/>
              <a:t>Fifth level</a:t>
            </a:r>
          </a:p>
        </p:txBody>
      </p:sp>
      <p:sp>
        <p:nvSpPr>
          <p:cNvPr id="6" name="Footer Placeholder 5"/>
          <p:cNvSpPr>
            <a:spLocks noGrp="1"/>
          </p:cNvSpPr>
          <p:nvPr>
            <p:ph type="ftr" sz="quarter" idx="4"/>
          </p:nvPr>
        </p:nvSpPr>
        <p:spPr>
          <a:xfrm>
            <a:off x="0" y="9431338"/>
            <a:ext cx="2946400" cy="498475"/>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cs typeface="+mn-cs"/>
              </a:defRPr>
            </a:lvl1pPr>
          </a:lstStyle>
          <a:p>
            <a:pPr>
              <a:defRPr/>
            </a:pPr>
            <a:endParaRPr lang="en-GB"/>
          </a:p>
        </p:txBody>
      </p:sp>
      <p:sp>
        <p:nvSpPr>
          <p:cNvPr id="7" name="Slide Number Placeholder 6"/>
          <p:cNvSpPr>
            <a:spLocks noGrp="1"/>
          </p:cNvSpPr>
          <p:nvPr>
            <p:ph type="sldNum" sz="quarter" idx="5"/>
          </p:nvPr>
        </p:nvSpPr>
        <p:spPr>
          <a:xfrm>
            <a:off x="3851275" y="9431338"/>
            <a:ext cx="2946400" cy="498475"/>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smtClean="0">
                <a:latin typeface="Calibri" panose="020F0502020204030204" pitchFamily="34" charset="0"/>
              </a:defRPr>
            </a:lvl1pPr>
          </a:lstStyle>
          <a:p>
            <a:pPr>
              <a:defRPr/>
            </a:pPr>
            <a:fld id="{319E8C36-62A5-4561-9FC8-E6EAC06FFE3C}" type="slidenum">
              <a:rPr lang="en-GB" altLang="es-ES"/>
              <a:pPr>
                <a:defRPr/>
              </a:pPr>
              <a:t>‹#›</a:t>
            </a:fld>
            <a:endParaRPr lang="en-GB" altLang="es-ES"/>
          </a:p>
        </p:txBody>
      </p:sp>
    </p:spTree>
    <p:extLst>
      <p:ext uri="{BB962C8B-B14F-4D97-AF65-F5344CB8AC3E}">
        <p14:creationId xmlns:p14="http://schemas.microsoft.com/office/powerpoint/2010/main" val="1393215218"/>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dirty="0"/>
          </a:p>
        </p:txBody>
      </p:sp>
      <p:sp>
        <p:nvSpPr>
          <p:cNvPr id="4" name="Slide Number Placeholder 3"/>
          <p:cNvSpPr>
            <a:spLocks noGrp="1"/>
          </p:cNvSpPr>
          <p:nvPr>
            <p:ph type="sldNum" sz="quarter" idx="10"/>
          </p:nvPr>
        </p:nvSpPr>
        <p:spPr/>
        <p:txBody>
          <a:bodyPr/>
          <a:lstStyle/>
          <a:p>
            <a:pPr>
              <a:defRPr/>
            </a:pPr>
            <a:fld id="{319E8C36-62A5-4561-9FC8-E6EAC06FFE3C}" type="slidenum">
              <a:rPr lang="en-GB" altLang="es-ES" smtClean="0"/>
              <a:pPr>
                <a:defRPr/>
              </a:pPr>
              <a:t>4</a:t>
            </a:fld>
            <a:endParaRPr lang="en-GB" altLang="es-ES"/>
          </a:p>
        </p:txBody>
      </p:sp>
    </p:spTree>
    <p:extLst>
      <p:ext uri="{BB962C8B-B14F-4D97-AF65-F5344CB8AC3E}">
        <p14:creationId xmlns:p14="http://schemas.microsoft.com/office/powerpoint/2010/main" val="413010162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RON COVER">
    <p:spTree>
      <p:nvGrpSpPr>
        <p:cNvPr id="1" name=""/>
        <p:cNvGrpSpPr/>
        <p:nvPr/>
      </p:nvGrpSpPr>
      <p:grpSpPr>
        <a:xfrm>
          <a:off x="0" y="0"/>
          <a:ext cx="0" cy="0"/>
          <a:chOff x="0" y="0"/>
          <a:chExt cx="0" cy="0"/>
        </a:xfrm>
      </p:grpSpPr>
      <p:pic>
        <p:nvPicPr>
          <p:cNvPr id="6" name="Picture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6840538"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 Placeholder 10"/>
          <p:cNvSpPr>
            <a:spLocks noGrp="1"/>
          </p:cNvSpPr>
          <p:nvPr>
            <p:ph type="body" sz="quarter" idx="10"/>
          </p:nvPr>
        </p:nvSpPr>
        <p:spPr>
          <a:xfrm>
            <a:off x="1069975" y="4776628"/>
            <a:ext cx="5668963" cy="331460"/>
          </a:xfrm>
          <a:prstGeom prst="rect">
            <a:avLst/>
          </a:prstGeom>
        </p:spPr>
        <p:txBody>
          <a:bodyPr lIns="0" rIns="0" anchor="ctr"/>
          <a:lstStyle>
            <a:lvl1pPr marL="0" indent="0">
              <a:buNone/>
              <a:defRPr sz="1600" cap="none" baseline="0">
                <a:solidFill>
                  <a:schemeClr val="accent2"/>
                </a:solidFill>
                <a:latin typeface="Arial" panose="020B0604020202020204" pitchFamily="34" charset="0"/>
                <a:cs typeface="Arial" panose="020B0604020202020204" pitchFamily="34" charset="0"/>
              </a:defRPr>
            </a:lvl1pPr>
          </a:lstStyle>
          <a:p>
            <a:pPr lvl="0"/>
            <a:r>
              <a:rPr lang="en-US" smtClean="0"/>
              <a:t>Click to edit Master text styles</a:t>
            </a:r>
          </a:p>
        </p:txBody>
      </p:sp>
      <p:sp>
        <p:nvSpPr>
          <p:cNvPr id="2" name="Title 1"/>
          <p:cNvSpPr>
            <a:spLocks noGrp="1"/>
          </p:cNvSpPr>
          <p:nvPr>
            <p:ph type="ctrTitle"/>
          </p:nvPr>
        </p:nvSpPr>
        <p:spPr>
          <a:xfrm>
            <a:off x="1069621" y="3934479"/>
            <a:ext cx="5668530" cy="686860"/>
          </a:xfrm>
          <a:prstGeom prst="rect">
            <a:avLst/>
          </a:prstGeom>
        </p:spPr>
        <p:txBody>
          <a:bodyPr lIns="0" tIns="0" rIns="0" bIns="0" anchor="t">
            <a:normAutofit/>
          </a:bodyPr>
          <a:lstStyle>
            <a:lvl1pPr algn="l">
              <a:defRPr sz="2400" cap="none" baseline="0">
                <a:solidFill>
                  <a:schemeClr val="accent2"/>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834501" y="2130641"/>
            <a:ext cx="1757778" cy="360057"/>
          </a:xfrm>
          <a:prstGeom prst="rect">
            <a:avLst/>
          </a:prstGeom>
        </p:spPr>
        <p:txBody>
          <a:bodyPr anchor="ctr">
            <a:normAutofit/>
          </a:bodyPr>
          <a:lstStyle>
            <a:lvl1pPr marL="0" indent="0" algn="ctr">
              <a:buNone/>
              <a:defRPr sz="1400" cap="all" baseline="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5" name="Text Placeholder 4"/>
          <p:cNvSpPr>
            <a:spLocks noGrp="1"/>
          </p:cNvSpPr>
          <p:nvPr>
            <p:ph type="body" sz="quarter" idx="11"/>
          </p:nvPr>
        </p:nvSpPr>
        <p:spPr>
          <a:xfrm>
            <a:off x="1069621" y="6065120"/>
            <a:ext cx="8420100" cy="474662"/>
          </a:xfrm>
          <a:prstGeom prst="rect">
            <a:avLst/>
          </a:prstGeom>
        </p:spPr>
        <p:txBody>
          <a:bodyPr anchor="ctr"/>
          <a:lstStyle>
            <a:lvl1pPr marL="0" indent="0" algn="r">
              <a:buNone/>
              <a:defRPr sz="1400">
                <a:solidFill>
                  <a:schemeClr val="accent2"/>
                </a:solidFill>
                <a:latin typeface="Arial" panose="020B0604020202020204" pitchFamily="34" charset="0"/>
                <a:cs typeface="Arial" panose="020B0604020202020204" pitchFamily="34" charset="0"/>
              </a:defRPr>
            </a:lvl1pPr>
          </a:lstStyle>
          <a:p>
            <a:pPr lvl="0"/>
            <a:r>
              <a:rPr lang="en-US" smtClean="0"/>
              <a:t>Click to edit Master text styles</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549449" y="121016"/>
            <a:ext cx="3356551" cy="592662"/>
          </a:xfrm>
          <a:prstGeom prst="rect">
            <a:avLst/>
          </a:prstGeom>
        </p:spPr>
      </p:pic>
    </p:spTree>
    <p:extLst>
      <p:ext uri="{BB962C8B-B14F-4D97-AF65-F5344CB8AC3E}">
        <p14:creationId xmlns:p14="http://schemas.microsoft.com/office/powerpoint/2010/main" val="143251793"/>
      </p:ext>
    </p:extLst>
  </p:cSld>
  <p:clrMapOvr>
    <a:masterClrMapping/>
  </p:clrMapOvr>
  <p:transition spd="med">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pic>
        <p:nvPicPr>
          <p:cNvPr id="8" name="Picture 6"/>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590675" cy="1276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9" name="Straight Connector 8"/>
          <p:cNvCxnSpPr/>
          <p:nvPr/>
        </p:nvCxnSpPr>
        <p:spPr>
          <a:xfrm>
            <a:off x="681038" y="6176963"/>
            <a:ext cx="8543925" cy="0"/>
          </a:xfrm>
          <a:prstGeom prst="line">
            <a:avLst/>
          </a:prstGeom>
          <a:ln>
            <a:solidFill>
              <a:schemeClr val="accent6"/>
            </a:solidFill>
          </a:ln>
          <a:effectLst/>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1635063" y="512420"/>
            <a:ext cx="7634288" cy="257452"/>
          </a:xfrm>
          <a:prstGeom prst="rect">
            <a:avLst/>
          </a:prstGeom>
        </p:spPr>
        <p:txBody>
          <a:bodyPr anchor="ctr">
            <a:noAutofit/>
          </a:bodyPr>
          <a:lstStyle>
            <a:lvl1pPr>
              <a:defRPr sz="1800" cap="none" baseline="0">
                <a:solidFill>
                  <a:schemeClr val="accent2"/>
                </a:solidFill>
                <a:latin typeface="Arial" panose="020B0604020202020204" pitchFamily="34" charset="0"/>
                <a:cs typeface="Arial" panose="020B0604020202020204" pitchFamily="34" charset="0"/>
              </a:defRPr>
            </a:lvl1pPr>
          </a:lstStyle>
          <a:p>
            <a:r>
              <a:rPr lang="en-US" smtClean="0"/>
              <a:t>Click to edit Master title style</a:t>
            </a:r>
            <a:endParaRPr lang="en-US" dirty="0"/>
          </a:p>
        </p:txBody>
      </p:sp>
      <p:sp>
        <p:nvSpPr>
          <p:cNvPr id="3" name="Content Placeholder 2"/>
          <p:cNvSpPr>
            <a:spLocks noGrp="1"/>
          </p:cNvSpPr>
          <p:nvPr>
            <p:ph idx="1"/>
          </p:nvPr>
        </p:nvSpPr>
        <p:spPr>
          <a:xfrm>
            <a:off x="681038" y="2725445"/>
            <a:ext cx="4086271" cy="3192228"/>
          </a:xfrm>
          <a:prstGeom prst="rect">
            <a:avLst/>
          </a:prstGeom>
        </p:spPr>
        <p:txBody>
          <a:bodyPr lIns="0" tIns="0" rIns="0" bIns="0">
            <a:normAutofit/>
          </a:bodyPr>
          <a:lstStyle>
            <a:lvl1pPr marL="177800" indent="-177800" algn="just">
              <a:spcBef>
                <a:spcPts val="0"/>
              </a:spcBef>
              <a:spcAft>
                <a:spcPts val="600"/>
              </a:spcAft>
              <a:buClr>
                <a:schemeClr val="accent1"/>
              </a:buClr>
              <a:buSzPct val="150000"/>
              <a:defRPr sz="1200">
                <a:solidFill>
                  <a:schemeClr val="accent2"/>
                </a:solidFill>
                <a:latin typeface="Arial" panose="020B0604020202020204" pitchFamily="34" charset="0"/>
                <a:cs typeface="Arial" panose="020B0604020202020204" pitchFamily="34" charset="0"/>
              </a:defRPr>
            </a:lvl1pPr>
            <a:lvl2pPr marL="630238" indent="-173038" algn="just">
              <a:spcBef>
                <a:spcPts val="0"/>
              </a:spcBef>
              <a:spcAft>
                <a:spcPts val="600"/>
              </a:spcAft>
              <a:buClr>
                <a:schemeClr val="accent6"/>
              </a:buClr>
              <a:buSzPct val="100000"/>
              <a:buFont typeface="Frutiger" panose="00000400000000000000" pitchFamily="2" charset="0"/>
              <a:buChar char="•"/>
              <a:defRPr sz="1200">
                <a:solidFill>
                  <a:schemeClr val="accent2"/>
                </a:solidFill>
                <a:latin typeface="Arial" panose="020B0604020202020204" pitchFamily="34" charset="0"/>
                <a:cs typeface="Arial" panose="020B0604020202020204" pitchFamily="34" charset="0"/>
              </a:defRPr>
            </a:lvl2pPr>
          </a:lstStyle>
          <a:p>
            <a:pPr lvl="0"/>
            <a:r>
              <a:rPr lang="en-US" smtClean="0"/>
              <a:t>Click to edit Master text styles</a:t>
            </a:r>
          </a:p>
          <a:p>
            <a:pPr lvl="1"/>
            <a:r>
              <a:rPr lang="en-US" smtClean="0"/>
              <a:t>Second level</a:t>
            </a:r>
          </a:p>
        </p:txBody>
      </p:sp>
      <p:sp>
        <p:nvSpPr>
          <p:cNvPr id="11" name="Content Placeholder 2"/>
          <p:cNvSpPr>
            <a:spLocks noGrp="1"/>
          </p:cNvSpPr>
          <p:nvPr>
            <p:ph idx="13"/>
          </p:nvPr>
        </p:nvSpPr>
        <p:spPr>
          <a:xfrm>
            <a:off x="681037" y="1313354"/>
            <a:ext cx="8543925" cy="1028509"/>
          </a:xfrm>
          <a:prstGeom prst="rect">
            <a:avLst/>
          </a:prstGeom>
        </p:spPr>
        <p:txBody>
          <a:bodyPr lIns="0" tIns="0" rIns="0" bIns="0">
            <a:normAutofit/>
          </a:bodyPr>
          <a:lstStyle>
            <a:lvl1pPr marL="0" indent="0" algn="just">
              <a:lnSpc>
                <a:spcPct val="100000"/>
              </a:lnSpc>
              <a:spcBef>
                <a:spcPts val="0"/>
              </a:spcBef>
              <a:buClr>
                <a:schemeClr val="accent1"/>
              </a:buClr>
              <a:buSzPct val="150000"/>
              <a:buNone/>
              <a:defRPr sz="1400">
                <a:solidFill>
                  <a:schemeClr val="accent2"/>
                </a:solidFill>
                <a:latin typeface="Arial" panose="020B0604020202020204" pitchFamily="34" charset="0"/>
                <a:cs typeface="Arial" panose="020B0604020202020204" pitchFamily="34" charset="0"/>
              </a:defRPr>
            </a:lvl1pPr>
            <a:lvl2pPr marL="808038" indent="-350838">
              <a:buClr>
                <a:schemeClr val="accent1"/>
              </a:buClr>
              <a:buSzPct val="100000"/>
              <a:buFont typeface="Frutiger" panose="00000400000000000000" pitchFamily="2" charset="0"/>
              <a:buChar char="•"/>
              <a:defRPr sz="1600"/>
            </a:lvl2pPr>
          </a:lstStyle>
          <a:p>
            <a:pPr lvl="0"/>
            <a:r>
              <a:rPr lang="en-US" dirty="0" smtClean="0"/>
              <a:t>Click to edit Master text styles</a:t>
            </a:r>
          </a:p>
        </p:txBody>
      </p:sp>
      <p:sp>
        <p:nvSpPr>
          <p:cNvPr id="13" name="Content Placeholder 2"/>
          <p:cNvSpPr>
            <a:spLocks noGrp="1"/>
          </p:cNvSpPr>
          <p:nvPr>
            <p:ph idx="15"/>
          </p:nvPr>
        </p:nvSpPr>
        <p:spPr>
          <a:xfrm>
            <a:off x="5086906" y="2725445"/>
            <a:ext cx="4182446" cy="3192228"/>
          </a:xfrm>
          <a:prstGeom prst="rect">
            <a:avLst/>
          </a:prstGeom>
        </p:spPr>
        <p:txBody>
          <a:bodyPr lIns="0" tIns="0" rIns="0" bIns="0">
            <a:normAutofit/>
          </a:bodyPr>
          <a:lstStyle>
            <a:lvl1pPr marL="177800" indent="-177800" algn="just">
              <a:spcBef>
                <a:spcPts val="0"/>
              </a:spcBef>
              <a:spcAft>
                <a:spcPts val="600"/>
              </a:spcAft>
              <a:buClr>
                <a:schemeClr val="accent1"/>
              </a:buClr>
              <a:buSzPct val="150000"/>
              <a:defRPr sz="1200">
                <a:solidFill>
                  <a:schemeClr val="accent2"/>
                </a:solidFill>
                <a:latin typeface="Arial" panose="020B0604020202020204" pitchFamily="34" charset="0"/>
                <a:cs typeface="Arial" panose="020B0604020202020204" pitchFamily="34" charset="0"/>
              </a:defRPr>
            </a:lvl1pPr>
            <a:lvl2pPr marL="630238" indent="-173038" algn="just">
              <a:spcBef>
                <a:spcPts val="0"/>
              </a:spcBef>
              <a:spcAft>
                <a:spcPts val="600"/>
              </a:spcAft>
              <a:buClr>
                <a:schemeClr val="accent6"/>
              </a:buClr>
              <a:buSzPct val="100000"/>
              <a:buFont typeface="Frutiger" panose="00000400000000000000" pitchFamily="2" charset="0"/>
              <a:buChar char="•"/>
              <a:defRPr sz="1200">
                <a:solidFill>
                  <a:schemeClr val="accent2"/>
                </a:solidFill>
                <a:latin typeface="Arial" panose="020B0604020202020204" pitchFamily="34" charset="0"/>
                <a:cs typeface="Arial" panose="020B0604020202020204" pitchFamily="34" charset="0"/>
              </a:defRPr>
            </a:lvl2pPr>
          </a:lstStyle>
          <a:p>
            <a:pPr lvl="0"/>
            <a:r>
              <a:rPr lang="en-US" smtClean="0"/>
              <a:t>Click to edit Master text styles</a:t>
            </a:r>
          </a:p>
          <a:p>
            <a:pPr lvl="1"/>
            <a:r>
              <a:rPr lang="en-US" smtClean="0"/>
              <a:t>Second level</a:t>
            </a:r>
          </a:p>
        </p:txBody>
      </p:sp>
      <p:sp>
        <p:nvSpPr>
          <p:cNvPr id="15" name="Slide Number Placeholder 5"/>
          <p:cNvSpPr>
            <a:spLocks noGrp="1"/>
          </p:cNvSpPr>
          <p:nvPr>
            <p:ph type="sldNum" sz="quarter" idx="17"/>
          </p:nvPr>
        </p:nvSpPr>
        <p:spPr>
          <a:xfrm>
            <a:off x="681038" y="6540500"/>
            <a:ext cx="500062" cy="260350"/>
          </a:xfrm>
        </p:spPr>
        <p:txBody>
          <a:bodyPr lIns="0" rIns="0"/>
          <a:lstStyle>
            <a:lvl1pPr>
              <a:defRPr smtClean="0"/>
            </a:lvl1pPr>
          </a:lstStyle>
          <a:p>
            <a:pPr>
              <a:defRPr/>
            </a:pPr>
            <a:fld id="{3B12D388-6543-4C5E-BB5D-24583166FFFB}" type="slidenum">
              <a:rPr lang="en-GB" altLang="es-ES"/>
              <a:pPr>
                <a:defRPr/>
              </a:pPr>
              <a:t>‹#›</a:t>
            </a:fld>
            <a:endParaRPr lang="en-GB" altLang="es-ES"/>
          </a:p>
        </p:txBody>
      </p:sp>
      <p:sp>
        <p:nvSpPr>
          <p:cNvPr id="16" name="Content Placeholder 2"/>
          <p:cNvSpPr>
            <a:spLocks noGrp="1"/>
          </p:cNvSpPr>
          <p:nvPr>
            <p:ph idx="16"/>
          </p:nvPr>
        </p:nvSpPr>
        <p:spPr>
          <a:xfrm>
            <a:off x="681038" y="6199043"/>
            <a:ext cx="5481637" cy="256261"/>
          </a:xfrm>
          <a:prstGeom prst="rect">
            <a:avLst/>
          </a:prstGeom>
        </p:spPr>
        <p:txBody>
          <a:bodyPr lIns="0" tIns="0" rIns="0" bIns="0" anchor="ctr">
            <a:normAutofit/>
          </a:bodyPr>
          <a:lstStyle>
            <a:lvl1pPr marL="0" indent="0">
              <a:buClr>
                <a:schemeClr val="accent1"/>
              </a:buClr>
              <a:buSzPct val="150000"/>
              <a:buNone/>
              <a:defRPr sz="800">
                <a:solidFill>
                  <a:schemeClr val="accent4"/>
                </a:solidFill>
                <a:latin typeface="Arial" panose="020B0604020202020204" pitchFamily="34" charset="0"/>
                <a:cs typeface="Arial" panose="020B0604020202020204" pitchFamily="34" charset="0"/>
              </a:defRPr>
            </a:lvl1pPr>
            <a:lvl2pPr marL="808038" indent="-350838">
              <a:buClr>
                <a:schemeClr val="accent1"/>
              </a:buClr>
              <a:buSzPct val="100000"/>
              <a:buFont typeface="Frutiger" panose="00000400000000000000" pitchFamily="2" charset="0"/>
              <a:buChar char="•"/>
              <a:defRPr sz="1600"/>
            </a:lvl2pPr>
          </a:lstStyle>
          <a:p>
            <a:pPr lvl="0"/>
            <a:r>
              <a:rPr lang="en-US" smtClean="0"/>
              <a:t>Click to edit Master text styles</a:t>
            </a:r>
          </a:p>
        </p:txBody>
      </p:sp>
      <p:pic>
        <p:nvPicPr>
          <p:cNvPr id="17" name="Picture 1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108124" y="6100763"/>
            <a:ext cx="3356551" cy="592662"/>
          </a:xfrm>
          <a:prstGeom prst="rect">
            <a:avLst/>
          </a:prstGeom>
        </p:spPr>
      </p:pic>
    </p:spTree>
    <p:extLst>
      <p:ext uri="{BB962C8B-B14F-4D97-AF65-F5344CB8AC3E}">
        <p14:creationId xmlns:p14="http://schemas.microsoft.com/office/powerpoint/2010/main" val="2498653893"/>
      </p:ext>
    </p:extLst>
  </p:cSld>
  <p:clrMapOvr>
    <a:masterClrMapping/>
  </p:clrMapOvr>
  <p:transition spd="med">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1_Title and Content BLUE">
    <p:spTree>
      <p:nvGrpSpPr>
        <p:cNvPr id="1" name=""/>
        <p:cNvGrpSpPr/>
        <p:nvPr/>
      </p:nvGrpSpPr>
      <p:grpSpPr>
        <a:xfrm>
          <a:off x="0" y="0"/>
          <a:ext cx="0" cy="0"/>
          <a:chOff x="0" y="0"/>
          <a:chExt cx="0" cy="0"/>
        </a:xfrm>
      </p:grpSpPr>
      <p:pic>
        <p:nvPicPr>
          <p:cNvPr id="8" name="Picture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590675" cy="1276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9" name="Straight Connector 8"/>
          <p:cNvCxnSpPr/>
          <p:nvPr/>
        </p:nvCxnSpPr>
        <p:spPr>
          <a:xfrm>
            <a:off x="681038" y="6176963"/>
            <a:ext cx="8543925" cy="0"/>
          </a:xfrm>
          <a:prstGeom prst="line">
            <a:avLst/>
          </a:prstGeom>
          <a:ln>
            <a:solidFill>
              <a:schemeClr val="accent6"/>
            </a:solidFill>
          </a:ln>
          <a:effectLst/>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1635063" y="512420"/>
            <a:ext cx="7634288" cy="257452"/>
          </a:xfrm>
          <a:prstGeom prst="rect">
            <a:avLst/>
          </a:prstGeom>
        </p:spPr>
        <p:txBody>
          <a:bodyPr anchor="ctr">
            <a:noAutofit/>
          </a:bodyPr>
          <a:lstStyle>
            <a:lvl1pPr>
              <a:defRPr sz="1800" cap="none" baseline="0">
                <a:solidFill>
                  <a:schemeClr val="accent2"/>
                </a:solidFill>
                <a:latin typeface="Arial" panose="020B0604020202020204" pitchFamily="34" charset="0"/>
                <a:cs typeface="Arial" panose="020B0604020202020204" pitchFamily="34" charset="0"/>
              </a:defRPr>
            </a:lvl1pPr>
          </a:lstStyle>
          <a:p>
            <a:r>
              <a:rPr lang="en-US" smtClean="0"/>
              <a:t>Click to edit Master title style</a:t>
            </a:r>
            <a:endParaRPr lang="en-US" dirty="0"/>
          </a:p>
        </p:txBody>
      </p:sp>
      <p:sp>
        <p:nvSpPr>
          <p:cNvPr id="3" name="Content Placeholder 2"/>
          <p:cNvSpPr>
            <a:spLocks noGrp="1"/>
          </p:cNvSpPr>
          <p:nvPr>
            <p:ph idx="1"/>
          </p:nvPr>
        </p:nvSpPr>
        <p:spPr>
          <a:xfrm>
            <a:off x="681038" y="2725445"/>
            <a:ext cx="4086271" cy="3192228"/>
          </a:xfrm>
          <a:prstGeom prst="rect">
            <a:avLst/>
          </a:prstGeom>
        </p:spPr>
        <p:txBody>
          <a:bodyPr lIns="0" tIns="0" rIns="0" bIns="0">
            <a:normAutofit/>
          </a:bodyPr>
          <a:lstStyle>
            <a:lvl1pPr marL="177800" indent="-177800" algn="just">
              <a:spcBef>
                <a:spcPts val="0"/>
              </a:spcBef>
              <a:spcAft>
                <a:spcPts val="600"/>
              </a:spcAft>
              <a:buClr>
                <a:schemeClr val="accent3"/>
              </a:buClr>
              <a:buSzPct val="150000"/>
              <a:buFont typeface="Arial" panose="020B0604020202020204" pitchFamily="34" charset="0"/>
              <a:buChar char="•"/>
              <a:defRPr sz="1200">
                <a:solidFill>
                  <a:schemeClr val="accent4"/>
                </a:solidFill>
                <a:latin typeface="Arial" panose="020B0604020202020204" pitchFamily="34" charset="0"/>
                <a:cs typeface="Arial" panose="020B0604020202020204" pitchFamily="34" charset="0"/>
              </a:defRPr>
            </a:lvl1pPr>
            <a:lvl2pPr marL="630238" indent="-173038" algn="just">
              <a:spcBef>
                <a:spcPts val="0"/>
              </a:spcBef>
              <a:spcAft>
                <a:spcPts val="600"/>
              </a:spcAft>
              <a:buClr>
                <a:schemeClr val="accent6"/>
              </a:buClr>
              <a:buSzPct val="100000"/>
              <a:buFont typeface="Frutiger" panose="00000400000000000000" pitchFamily="2" charset="0"/>
              <a:buChar char="•"/>
              <a:defRPr sz="1200">
                <a:solidFill>
                  <a:schemeClr val="tx2"/>
                </a:solidFill>
                <a:latin typeface="Arial" panose="020B0604020202020204" pitchFamily="34" charset="0"/>
                <a:cs typeface="Arial" panose="020B0604020202020204" pitchFamily="34" charset="0"/>
              </a:defRPr>
            </a:lvl2pPr>
          </a:lstStyle>
          <a:p>
            <a:pPr lvl="0"/>
            <a:r>
              <a:rPr lang="en-US" smtClean="0"/>
              <a:t>Click to edit Master text styles</a:t>
            </a:r>
          </a:p>
          <a:p>
            <a:pPr lvl="1"/>
            <a:r>
              <a:rPr lang="en-US" smtClean="0"/>
              <a:t>Second level</a:t>
            </a:r>
          </a:p>
        </p:txBody>
      </p:sp>
      <p:sp>
        <p:nvSpPr>
          <p:cNvPr id="11" name="Content Placeholder 2"/>
          <p:cNvSpPr>
            <a:spLocks noGrp="1"/>
          </p:cNvSpPr>
          <p:nvPr>
            <p:ph idx="13"/>
          </p:nvPr>
        </p:nvSpPr>
        <p:spPr>
          <a:xfrm>
            <a:off x="681037" y="1313354"/>
            <a:ext cx="8543925" cy="1028509"/>
          </a:xfrm>
          <a:prstGeom prst="rect">
            <a:avLst/>
          </a:prstGeom>
        </p:spPr>
        <p:txBody>
          <a:bodyPr lIns="0" tIns="0" rIns="0" bIns="0">
            <a:normAutofit/>
          </a:bodyPr>
          <a:lstStyle>
            <a:lvl1pPr marL="0" indent="0" algn="just">
              <a:lnSpc>
                <a:spcPct val="100000"/>
              </a:lnSpc>
              <a:spcBef>
                <a:spcPts val="0"/>
              </a:spcBef>
              <a:buClr>
                <a:schemeClr val="accent1"/>
              </a:buClr>
              <a:buSzPct val="150000"/>
              <a:buNone/>
              <a:defRPr sz="1400">
                <a:solidFill>
                  <a:schemeClr val="accent3"/>
                </a:solidFill>
                <a:latin typeface="Arial" panose="020B0604020202020204" pitchFamily="34" charset="0"/>
                <a:cs typeface="Arial" panose="020B0604020202020204" pitchFamily="34" charset="0"/>
              </a:defRPr>
            </a:lvl1pPr>
            <a:lvl2pPr marL="808038" indent="-350838">
              <a:buClr>
                <a:schemeClr val="accent1"/>
              </a:buClr>
              <a:buSzPct val="100000"/>
              <a:buFont typeface="Frutiger" panose="00000400000000000000" pitchFamily="2" charset="0"/>
              <a:buChar char="•"/>
              <a:defRPr sz="1600"/>
            </a:lvl2pPr>
          </a:lstStyle>
          <a:p>
            <a:pPr lvl="0"/>
            <a:r>
              <a:rPr lang="en-US" dirty="0" smtClean="0"/>
              <a:t>Click to edit Master text styles</a:t>
            </a:r>
          </a:p>
        </p:txBody>
      </p:sp>
      <p:sp>
        <p:nvSpPr>
          <p:cNvPr id="13" name="Content Placeholder 2"/>
          <p:cNvSpPr>
            <a:spLocks noGrp="1"/>
          </p:cNvSpPr>
          <p:nvPr>
            <p:ph idx="15"/>
          </p:nvPr>
        </p:nvSpPr>
        <p:spPr>
          <a:xfrm>
            <a:off x="5086906" y="2725445"/>
            <a:ext cx="4182446" cy="3192228"/>
          </a:xfrm>
          <a:prstGeom prst="rect">
            <a:avLst/>
          </a:prstGeom>
        </p:spPr>
        <p:txBody>
          <a:bodyPr lIns="0" tIns="0" rIns="0" bIns="0">
            <a:normAutofit/>
          </a:bodyPr>
          <a:lstStyle>
            <a:lvl1pPr marL="177800" indent="-177800" algn="just">
              <a:spcBef>
                <a:spcPts val="0"/>
              </a:spcBef>
              <a:spcAft>
                <a:spcPts val="600"/>
              </a:spcAft>
              <a:buClr>
                <a:schemeClr val="accent3"/>
              </a:buClr>
              <a:buSzPct val="150000"/>
              <a:defRPr sz="1200">
                <a:solidFill>
                  <a:schemeClr val="accent4"/>
                </a:solidFill>
                <a:latin typeface="Arial" panose="020B0604020202020204" pitchFamily="34" charset="0"/>
                <a:cs typeface="Arial" panose="020B0604020202020204" pitchFamily="34" charset="0"/>
              </a:defRPr>
            </a:lvl1pPr>
            <a:lvl2pPr marL="630238" indent="-173038" algn="just">
              <a:spcBef>
                <a:spcPts val="0"/>
              </a:spcBef>
              <a:spcAft>
                <a:spcPts val="600"/>
              </a:spcAft>
              <a:buClr>
                <a:schemeClr val="accent6"/>
              </a:buClr>
              <a:buSzPct val="100000"/>
              <a:buFont typeface="Frutiger" panose="00000400000000000000" pitchFamily="2" charset="0"/>
              <a:buChar char="•"/>
              <a:defRPr sz="1200">
                <a:solidFill>
                  <a:schemeClr val="tx2"/>
                </a:solidFill>
                <a:latin typeface="Arial" panose="020B0604020202020204" pitchFamily="34" charset="0"/>
                <a:cs typeface="Arial" panose="020B0604020202020204" pitchFamily="34" charset="0"/>
              </a:defRPr>
            </a:lvl2pPr>
          </a:lstStyle>
          <a:p>
            <a:pPr lvl="0"/>
            <a:r>
              <a:rPr lang="en-US" smtClean="0"/>
              <a:t>Click to edit Master text styles</a:t>
            </a:r>
          </a:p>
          <a:p>
            <a:pPr lvl="1"/>
            <a:r>
              <a:rPr lang="en-US" smtClean="0"/>
              <a:t>Second level</a:t>
            </a:r>
          </a:p>
        </p:txBody>
      </p:sp>
      <p:sp>
        <p:nvSpPr>
          <p:cNvPr id="15" name="Slide Number Placeholder 5"/>
          <p:cNvSpPr>
            <a:spLocks noGrp="1"/>
          </p:cNvSpPr>
          <p:nvPr>
            <p:ph type="sldNum" sz="quarter" idx="17"/>
          </p:nvPr>
        </p:nvSpPr>
        <p:spPr>
          <a:xfrm>
            <a:off x="681038" y="6540500"/>
            <a:ext cx="500062" cy="260350"/>
          </a:xfrm>
        </p:spPr>
        <p:txBody>
          <a:bodyPr lIns="0" rIns="0"/>
          <a:lstStyle>
            <a:lvl1pPr>
              <a:defRPr smtClean="0"/>
            </a:lvl1pPr>
          </a:lstStyle>
          <a:p>
            <a:pPr>
              <a:defRPr/>
            </a:pPr>
            <a:fld id="{44A32178-350A-491A-9EC3-8E0424802B70}" type="slidenum">
              <a:rPr lang="en-GB" altLang="es-ES"/>
              <a:pPr>
                <a:defRPr/>
              </a:pPr>
              <a:t>‹#›</a:t>
            </a:fld>
            <a:endParaRPr lang="en-GB" altLang="es-ES"/>
          </a:p>
        </p:txBody>
      </p:sp>
      <p:sp>
        <p:nvSpPr>
          <p:cNvPr id="16" name="Content Placeholder 2"/>
          <p:cNvSpPr>
            <a:spLocks noGrp="1"/>
          </p:cNvSpPr>
          <p:nvPr>
            <p:ph idx="16"/>
          </p:nvPr>
        </p:nvSpPr>
        <p:spPr>
          <a:xfrm>
            <a:off x="681038" y="6199043"/>
            <a:ext cx="5481637" cy="256261"/>
          </a:xfrm>
          <a:prstGeom prst="rect">
            <a:avLst/>
          </a:prstGeom>
        </p:spPr>
        <p:txBody>
          <a:bodyPr lIns="0" tIns="0" rIns="0" bIns="0" anchor="ctr">
            <a:normAutofit/>
          </a:bodyPr>
          <a:lstStyle>
            <a:lvl1pPr marL="0" indent="0">
              <a:buClr>
                <a:schemeClr val="accent1"/>
              </a:buClr>
              <a:buSzPct val="150000"/>
              <a:buNone/>
              <a:defRPr sz="800">
                <a:solidFill>
                  <a:schemeClr val="accent4"/>
                </a:solidFill>
                <a:latin typeface="Arial" panose="020B0604020202020204" pitchFamily="34" charset="0"/>
                <a:cs typeface="Arial" panose="020B0604020202020204" pitchFamily="34" charset="0"/>
              </a:defRPr>
            </a:lvl1pPr>
            <a:lvl2pPr marL="808038" indent="-350838">
              <a:buClr>
                <a:schemeClr val="accent1"/>
              </a:buClr>
              <a:buSzPct val="100000"/>
              <a:buFont typeface="Frutiger" panose="00000400000000000000" pitchFamily="2" charset="0"/>
              <a:buChar char="•"/>
              <a:defRPr sz="1600"/>
            </a:lvl2pPr>
          </a:lstStyle>
          <a:p>
            <a:pPr lvl="0"/>
            <a:r>
              <a:rPr lang="en-US" smtClean="0"/>
              <a:t>Click to edit Master text styles</a:t>
            </a:r>
          </a:p>
        </p:txBody>
      </p:sp>
      <p:pic>
        <p:nvPicPr>
          <p:cNvPr id="17" name="Picture 1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108124" y="6100763"/>
            <a:ext cx="3356551" cy="592662"/>
          </a:xfrm>
          <a:prstGeom prst="rect">
            <a:avLst/>
          </a:prstGeom>
        </p:spPr>
      </p:pic>
    </p:spTree>
    <p:extLst>
      <p:ext uri="{BB962C8B-B14F-4D97-AF65-F5344CB8AC3E}">
        <p14:creationId xmlns:p14="http://schemas.microsoft.com/office/powerpoint/2010/main" val="3004519261"/>
      </p:ext>
    </p:extLst>
  </p:cSld>
  <p:clrMapOvr>
    <a:masterClrMapping/>
  </p:clrMapOvr>
  <p:transition spd="med">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pic>
        <p:nvPicPr>
          <p:cNvPr id="8" name="Picture 6"/>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590675" cy="1276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9" name="Straight Connector 8"/>
          <p:cNvCxnSpPr/>
          <p:nvPr/>
        </p:nvCxnSpPr>
        <p:spPr>
          <a:xfrm>
            <a:off x="681038" y="6176963"/>
            <a:ext cx="8543925" cy="0"/>
          </a:xfrm>
          <a:prstGeom prst="line">
            <a:avLst/>
          </a:prstGeom>
          <a:ln>
            <a:solidFill>
              <a:schemeClr val="accent6"/>
            </a:solidFill>
          </a:ln>
          <a:effectLst/>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1635063" y="512420"/>
            <a:ext cx="7634288" cy="257452"/>
          </a:xfrm>
          <a:prstGeom prst="rect">
            <a:avLst/>
          </a:prstGeom>
        </p:spPr>
        <p:txBody>
          <a:bodyPr anchor="ctr">
            <a:noAutofit/>
          </a:bodyPr>
          <a:lstStyle>
            <a:lvl1pPr>
              <a:defRPr sz="1800" cap="none" baseline="0">
                <a:solidFill>
                  <a:schemeClr val="accent2"/>
                </a:solidFill>
                <a:latin typeface="Arial" panose="020B0604020202020204" pitchFamily="34" charset="0"/>
                <a:cs typeface="Arial" panose="020B0604020202020204" pitchFamily="34" charset="0"/>
              </a:defRPr>
            </a:lvl1pPr>
          </a:lstStyle>
          <a:p>
            <a:r>
              <a:rPr lang="en-US" smtClean="0"/>
              <a:t>Click to edit Master title style</a:t>
            </a:r>
            <a:endParaRPr lang="en-US" dirty="0"/>
          </a:p>
        </p:txBody>
      </p:sp>
      <p:sp>
        <p:nvSpPr>
          <p:cNvPr id="3" name="Content Placeholder 2"/>
          <p:cNvSpPr>
            <a:spLocks noGrp="1"/>
          </p:cNvSpPr>
          <p:nvPr>
            <p:ph idx="1"/>
          </p:nvPr>
        </p:nvSpPr>
        <p:spPr>
          <a:xfrm>
            <a:off x="681038" y="2725445"/>
            <a:ext cx="4086271" cy="3192228"/>
          </a:xfrm>
          <a:prstGeom prst="rect">
            <a:avLst/>
          </a:prstGeom>
        </p:spPr>
        <p:txBody>
          <a:bodyPr lIns="0" tIns="0" rIns="0" bIns="0">
            <a:normAutofit/>
          </a:bodyPr>
          <a:lstStyle>
            <a:lvl1pPr marL="0" indent="0" algn="just">
              <a:spcBef>
                <a:spcPts val="0"/>
              </a:spcBef>
              <a:spcAft>
                <a:spcPts val="600"/>
              </a:spcAft>
              <a:buClr>
                <a:schemeClr val="accent1"/>
              </a:buClr>
              <a:buSzPct val="200000"/>
              <a:buNone/>
              <a:defRPr sz="1200">
                <a:solidFill>
                  <a:schemeClr val="accent2"/>
                </a:solidFill>
                <a:latin typeface="Arial" panose="020B0604020202020204" pitchFamily="34" charset="0"/>
                <a:cs typeface="Arial" panose="020B0604020202020204" pitchFamily="34" charset="0"/>
              </a:defRPr>
            </a:lvl1pPr>
            <a:lvl2pPr marL="457200" indent="0">
              <a:spcBef>
                <a:spcPts val="0"/>
              </a:spcBef>
              <a:spcAft>
                <a:spcPts val="600"/>
              </a:spcAft>
              <a:buClr>
                <a:schemeClr val="accent6"/>
              </a:buClr>
              <a:buSzPct val="100000"/>
              <a:buFont typeface="Frutiger" panose="00000400000000000000" pitchFamily="2" charset="0"/>
              <a:buNone/>
              <a:defRPr sz="1200">
                <a:solidFill>
                  <a:schemeClr val="tx2"/>
                </a:solidFill>
              </a:defRPr>
            </a:lvl2pPr>
          </a:lstStyle>
          <a:p>
            <a:pPr lvl="0"/>
            <a:r>
              <a:rPr lang="en-US" smtClean="0"/>
              <a:t>Click to edit Master text styles</a:t>
            </a:r>
          </a:p>
        </p:txBody>
      </p:sp>
      <p:sp>
        <p:nvSpPr>
          <p:cNvPr id="11" name="Content Placeholder 2"/>
          <p:cNvSpPr>
            <a:spLocks noGrp="1"/>
          </p:cNvSpPr>
          <p:nvPr>
            <p:ph idx="13"/>
          </p:nvPr>
        </p:nvSpPr>
        <p:spPr>
          <a:xfrm>
            <a:off x="681037" y="1313354"/>
            <a:ext cx="8543925" cy="1028509"/>
          </a:xfrm>
          <a:prstGeom prst="rect">
            <a:avLst/>
          </a:prstGeom>
        </p:spPr>
        <p:txBody>
          <a:bodyPr lIns="0" tIns="0" rIns="0" bIns="0">
            <a:normAutofit/>
          </a:bodyPr>
          <a:lstStyle>
            <a:lvl1pPr marL="0" indent="0" algn="just">
              <a:lnSpc>
                <a:spcPct val="100000"/>
              </a:lnSpc>
              <a:buClr>
                <a:schemeClr val="accent1"/>
              </a:buClr>
              <a:buSzPct val="150000"/>
              <a:buNone/>
              <a:defRPr sz="1400">
                <a:solidFill>
                  <a:schemeClr val="accent2"/>
                </a:solidFill>
                <a:latin typeface="Arial" panose="020B0604020202020204" pitchFamily="34" charset="0"/>
                <a:cs typeface="Arial" panose="020B0604020202020204" pitchFamily="34" charset="0"/>
              </a:defRPr>
            </a:lvl1pPr>
            <a:lvl2pPr marL="808038" indent="-350838">
              <a:buClr>
                <a:schemeClr val="accent1"/>
              </a:buClr>
              <a:buSzPct val="100000"/>
              <a:buFont typeface="Frutiger" panose="00000400000000000000" pitchFamily="2" charset="0"/>
              <a:buChar char="•"/>
              <a:defRPr sz="1600"/>
            </a:lvl2pPr>
          </a:lstStyle>
          <a:p>
            <a:pPr lvl="0"/>
            <a:r>
              <a:rPr lang="en-US" smtClean="0"/>
              <a:t>Click to edit Master text styles</a:t>
            </a:r>
          </a:p>
        </p:txBody>
      </p:sp>
      <p:sp>
        <p:nvSpPr>
          <p:cNvPr id="13" name="Content Placeholder 2"/>
          <p:cNvSpPr>
            <a:spLocks noGrp="1"/>
          </p:cNvSpPr>
          <p:nvPr>
            <p:ph idx="15"/>
          </p:nvPr>
        </p:nvSpPr>
        <p:spPr>
          <a:xfrm>
            <a:off x="5086906" y="2725445"/>
            <a:ext cx="4182446" cy="3192228"/>
          </a:xfrm>
          <a:prstGeom prst="rect">
            <a:avLst/>
          </a:prstGeom>
        </p:spPr>
        <p:txBody>
          <a:bodyPr lIns="0" tIns="0" rIns="0" bIns="0">
            <a:normAutofit/>
          </a:bodyPr>
          <a:lstStyle>
            <a:lvl1pPr marL="0" indent="0" algn="just">
              <a:spcBef>
                <a:spcPts val="0"/>
              </a:spcBef>
              <a:spcAft>
                <a:spcPts val="600"/>
              </a:spcAft>
              <a:buClr>
                <a:schemeClr val="accent1"/>
              </a:buClr>
              <a:buSzPct val="200000"/>
              <a:buNone/>
              <a:defRPr sz="1200">
                <a:solidFill>
                  <a:schemeClr val="accent2"/>
                </a:solidFill>
                <a:latin typeface="Arial" panose="020B0604020202020204" pitchFamily="34" charset="0"/>
                <a:cs typeface="Arial" panose="020B0604020202020204" pitchFamily="34" charset="0"/>
              </a:defRPr>
            </a:lvl1pPr>
            <a:lvl2pPr marL="457200" indent="0">
              <a:spcBef>
                <a:spcPts val="0"/>
              </a:spcBef>
              <a:spcAft>
                <a:spcPts val="600"/>
              </a:spcAft>
              <a:buClr>
                <a:schemeClr val="accent6"/>
              </a:buClr>
              <a:buSzPct val="100000"/>
              <a:buFont typeface="Frutiger" panose="00000400000000000000" pitchFamily="2" charset="0"/>
              <a:buNone/>
              <a:defRPr sz="1200">
                <a:solidFill>
                  <a:schemeClr val="tx2"/>
                </a:solidFill>
              </a:defRPr>
            </a:lvl2pPr>
          </a:lstStyle>
          <a:p>
            <a:pPr lvl="0"/>
            <a:r>
              <a:rPr lang="en-US" smtClean="0"/>
              <a:t>Click to edit Master text styles</a:t>
            </a:r>
          </a:p>
        </p:txBody>
      </p:sp>
      <p:sp>
        <p:nvSpPr>
          <p:cNvPr id="15" name="Slide Number Placeholder 5"/>
          <p:cNvSpPr>
            <a:spLocks noGrp="1"/>
          </p:cNvSpPr>
          <p:nvPr>
            <p:ph type="sldNum" sz="quarter" idx="17"/>
          </p:nvPr>
        </p:nvSpPr>
        <p:spPr>
          <a:xfrm>
            <a:off x="681038" y="6540500"/>
            <a:ext cx="500062" cy="260350"/>
          </a:xfrm>
        </p:spPr>
        <p:txBody>
          <a:bodyPr lIns="0" rIns="0"/>
          <a:lstStyle>
            <a:lvl1pPr>
              <a:defRPr smtClean="0"/>
            </a:lvl1pPr>
          </a:lstStyle>
          <a:p>
            <a:pPr>
              <a:defRPr/>
            </a:pPr>
            <a:fld id="{7B9D5F03-4ADA-4C75-8B22-307C7D1DA0D9}" type="slidenum">
              <a:rPr lang="en-GB" altLang="es-ES"/>
              <a:pPr>
                <a:defRPr/>
              </a:pPr>
              <a:t>‹#›</a:t>
            </a:fld>
            <a:endParaRPr lang="en-GB" altLang="es-ES"/>
          </a:p>
        </p:txBody>
      </p:sp>
      <p:sp>
        <p:nvSpPr>
          <p:cNvPr id="16" name="Content Placeholder 2"/>
          <p:cNvSpPr>
            <a:spLocks noGrp="1"/>
          </p:cNvSpPr>
          <p:nvPr>
            <p:ph idx="16"/>
          </p:nvPr>
        </p:nvSpPr>
        <p:spPr>
          <a:xfrm>
            <a:off x="681038" y="6199043"/>
            <a:ext cx="5481637" cy="256261"/>
          </a:xfrm>
          <a:prstGeom prst="rect">
            <a:avLst/>
          </a:prstGeom>
        </p:spPr>
        <p:txBody>
          <a:bodyPr lIns="0" tIns="0" rIns="0" bIns="0" anchor="ctr">
            <a:normAutofit/>
          </a:bodyPr>
          <a:lstStyle>
            <a:lvl1pPr marL="0" indent="0">
              <a:buClr>
                <a:schemeClr val="accent1"/>
              </a:buClr>
              <a:buSzPct val="150000"/>
              <a:buNone/>
              <a:defRPr sz="800">
                <a:solidFill>
                  <a:schemeClr val="accent4"/>
                </a:solidFill>
                <a:latin typeface="Arial" panose="020B0604020202020204" pitchFamily="34" charset="0"/>
                <a:cs typeface="Arial" panose="020B0604020202020204" pitchFamily="34" charset="0"/>
              </a:defRPr>
            </a:lvl1pPr>
            <a:lvl2pPr marL="808038" indent="-350838">
              <a:buClr>
                <a:schemeClr val="accent1"/>
              </a:buClr>
              <a:buSzPct val="100000"/>
              <a:buFont typeface="Frutiger" panose="00000400000000000000" pitchFamily="2" charset="0"/>
              <a:buChar char="•"/>
              <a:defRPr sz="1600"/>
            </a:lvl2pPr>
          </a:lstStyle>
          <a:p>
            <a:pPr lvl="0"/>
            <a:r>
              <a:rPr lang="en-US" smtClean="0"/>
              <a:t>Click to edit Master text styles</a:t>
            </a:r>
          </a:p>
        </p:txBody>
      </p:sp>
      <p:pic>
        <p:nvPicPr>
          <p:cNvPr id="17" name="Picture 1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108124" y="6100763"/>
            <a:ext cx="3356551" cy="592662"/>
          </a:xfrm>
          <a:prstGeom prst="rect">
            <a:avLst/>
          </a:prstGeom>
        </p:spPr>
      </p:pic>
    </p:spTree>
    <p:extLst>
      <p:ext uri="{BB962C8B-B14F-4D97-AF65-F5344CB8AC3E}">
        <p14:creationId xmlns:p14="http://schemas.microsoft.com/office/powerpoint/2010/main" val="3410064521"/>
      </p:ext>
    </p:extLst>
  </p:cSld>
  <p:clrMapOvr>
    <a:masterClrMapping/>
  </p:clrMapOvr>
  <p:transition spd="med">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7" name="Snip Diagonal Corner Rectangle 3"/>
          <p:cNvSpPr/>
          <p:nvPr/>
        </p:nvSpPr>
        <p:spPr>
          <a:xfrm>
            <a:off x="5956300" y="2725738"/>
            <a:ext cx="3268663" cy="3275012"/>
          </a:xfrm>
          <a:prstGeom prst="snip2DiagRect">
            <a:avLst>
              <a:gd name="adj1" fmla="val 0"/>
              <a:gd name="adj2" fmla="val 33238"/>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a:latin typeface="Arial" panose="020B0604020202020204" pitchFamily="34" charset="0"/>
              <a:cs typeface="Arial" panose="020B0604020202020204" pitchFamily="34" charset="0"/>
            </a:endParaRPr>
          </a:p>
        </p:txBody>
      </p:sp>
      <p:pic>
        <p:nvPicPr>
          <p:cNvPr id="8" name="Picture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590675" cy="1276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9" name="Straight Connector 8"/>
          <p:cNvCxnSpPr/>
          <p:nvPr/>
        </p:nvCxnSpPr>
        <p:spPr>
          <a:xfrm>
            <a:off x="681038" y="6176963"/>
            <a:ext cx="8543925" cy="0"/>
          </a:xfrm>
          <a:prstGeom prst="line">
            <a:avLst/>
          </a:prstGeom>
          <a:ln>
            <a:solidFill>
              <a:schemeClr val="accent6"/>
            </a:solidFill>
          </a:ln>
          <a:effectLst/>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1635063" y="512420"/>
            <a:ext cx="7634288" cy="257452"/>
          </a:xfrm>
          <a:prstGeom prst="rect">
            <a:avLst/>
          </a:prstGeom>
        </p:spPr>
        <p:txBody>
          <a:bodyPr anchor="ctr">
            <a:noAutofit/>
          </a:bodyPr>
          <a:lstStyle>
            <a:lvl1pPr>
              <a:defRPr sz="1800" cap="none" baseline="0">
                <a:solidFill>
                  <a:schemeClr val="accent2"/>
                </a:solidFill>
                <a:latin typeface="Arial" panose="020B0604020202020204" pitchFamily="34" charset="0"/>
                <a:cs typeface="Arial" panose="020B0604020202020204" pitchFamily="34" charset="0"/>
              </a:defRPr>
            </a:lvl1pPr>
          </a:lstStyle>
          <a:p>
            <a:r>
              <a:rPr lang="en-US" smtClean="0"/>
              <a:t>Click to edit Master title style</a:t>
            </a:r>
            <a:endParaRPr lang="en-US" dirty="0"/>
          </a:p>
        </p:txBody>
      </p:sp>
      <p:sp>
        <p:nvSpPr>
          <p:cNvPr id="3" name="Content Placeholder 2"/>
          <p:cNvSpPr>
            <a:spLocks noGrp="1"/>
          </p:cNvSpPr>
          <p:nvPr>
            <p:ph idx="1"/>
          </p:nvPr>
        </p:nvSpPr>
        <p:spPr>
          <a:xfrm>
            <a:off x="681038" y="2725445"/>
            <a:ext cx="4618931" cy="3192228"/>
          </a:xfrm>
          <a:prstGeom prst="rect">
            <a:avLst/>
          </a:prstGeom>
        </p:spPr>
        <p:txBody>
          <a:bodyPr lIns="0" tIns="0" rIns="0" bIns="0">
            <a:normAutofit/>
          </a:bodyPr>
          <a:lstStyle>
            <a:lvl1pPr marL="177800" indent="-177800" algn="just">
              <a:spcBef>
                <a:spcPts val="0"/>
              </a:spcBef>
              <a:spcAft>
                <a:spcPts val="600"/>
              </a:spcAft>
              <a:buClr>
                <a:schemeClr val="accent1"/>
              </a:buClr>
              <a:buSzPct val="150000"/>
              <a:defRPr sz="1200">
                <a:solidFill>
                  <a:schemeClr val="accent1"/>
                </a:solidFill>
                <a:latin typeface="Arial" panose="020B0604020202020204" pitchFamily="34" charset="0"/>
                <a:cs typeface="Arial" panose="020B0604020202020204" pitchFamily="34" charset="0"/>
              </a:defRPr>
            </a:lvl1pPr>
            <a:lvl2pPr marL="630238" indent="-173038" algn="just">
              <a:spcBef>
                <a:spcPts val="0"/>
              </a:spcBef>
              <a:spcAft>
                <a:spcPts val="600"/>
              </a:spcAft>
              <a:buClr>
                <a:schemeClr val="accent6"/>
              </a:buClr>
              <a:buSzPct val="100000"/>
              <a:buFont typeface="Frutiger" panose="00000400000000000000" pitchFamily="2" charset="0"/>
              <a:buChar char="•"/>
              <a:defRPr sz="1200">
                <a:solidFill>
                  <a:schemeClr val="tx2"/>
                </a:solidFill>
                <a:latin typeface="Arial" panose="020B0604020202020204" pitchFamily="34" charset="0"/>
                <a:cs typeface="Arial" panose="020B0604020202020204" pitchFamily="34" charset="0"/>
              </a:defRPr>
            </a:lvl2pPr>
          </a:lstStyle>
          <a:p>
            <a:pPr lvl="0"/>
            <a:r>
              <a:rPr lang="en-US" dirty="0" smtClean="0"/>
              <a:t>Click to edit Master text styles</a:t>
            </a:r>
          </a:p>
          <a:p>
            <a:pPr lvl="1"/>
            <a:r>
              <a:rPr lang="en-US" dirty="0" smtClean="0"/>
              <a:t>Second level</a:t>
            </a:r>
          </a:p>
        </p:txBody>
      </p:sp>
      <p:sp>
        <p:nvSpPr>
          <p:cNvPr id="11" name="Content Placeholder 2"/>
          <p:cNvSpPr>
            <a:spLocks noGrp="1"/>
          </p:cNvSpPr>
          <p:nvPr>
            <p:ph idx="13"/>
          </p:nvPr>
        </p:nvSpPr>
        <p:spPr>
          <a:xfrm>
            <a:off x="681037" y="1313354"/>
            <a:ext cx="8543925" cy="1028509"/>
          </a:xfrm>
          <a:prstGeom prst="rect">
            <a:avLst/>
          </a:prstGeom>
        </p:spPr>
        <p:txBody>
          <a:bodyPr lIns="0" tIns="0" rIns="0" bIns="0">
            <a:normAutofit/>
          </a:bodyPr>
          <a:lstStyle>
            <a:lvl1pPr marL="0" indent="0" algn="just">
              <a:lnSpc>
                <a:spcPct val="100000"/>
              </a:lnSpc>
              <a:buClr>
                <a:schemeClr val="accent1"/>
              </a:buClr>
              <a:buSzPct val="150000"/>
              <a:buNone/>
              <a:defRPr sz="1400">
                <a:solidFill>
                  <a:schemeClr val="accent2"/>
                </a:solidFill>
                <a:latin typeface="Arial" panose="020B0604020202020204" pitchFamily="34" charset="0"/>
                <a:cs typeface="Arial" panose="020B0604020202020204" pitchFamily="34" charset="0"/>
              </a:defRPr>
            </a:lvl1pPr>
            <a:lvl2pPr marL="808038" indent="-350838">
              <a:buClr>
                <a:schemeClr val="accent1"/>
              </a:buClr>
              <a:buSzPct val="100000"/>
              <a:buFont typeface="Frutiger" panose="00000400000000000000" pitchFamily="2" charset="0"/>
              <a:buChar char="•"/>
              <a:defRPr sz="1600"/>
            </a:lvl2pPr>
          </a:lstStyle>
          <a:p>
            <a:pPr lvl="0"/>
            <a:r>
              <a:rPr lang="en-US" smtClean="0"/>
              <a:t>Click to edit Master text styles</a:t>
            </a:r>
          </a:p>
        </p:txBody>
      </p:sp>
      <p:sp>
        <p:nvSpPr>
          <p:cNvPr id="12" name="Slide Number Placeholder 5"/>
          <p:cNvSpPr>
            <a:spLocks noGrp="1"/>
          </p:cNvSpPr>
          <p:nvPr>
            <p:ph type="sldNum" sz="quarter" idx="16"/>
          </p:nvPr>
        </p:nvSpPr>
        <p:spPr>
          <a:xfrm>
            <a:off x="681038" y="6540500"/>
            <a:ext cx="500062" cy="260350"/>
          </a:xfrm>
        </p:spPr>
        <p:txBody>
          <a:bodyPr lIns="0" rIns="0"/>
          <a:lstStyle>
            <a:lvl1pPr>
              <a:defRPr smtClean="0"/>
            </a:lvl1pPr>
          </a:lstStyle>
          <a:p>
            <a:pPr>
              <a:defRPr/>
            </a:pPr>
            <a:fld id="{082D012E-79A7-4434-869B-0C28E387EFE9}" type="slidenum">
              <a:rPr lang="en-GB" altLang="es-ES"/>
              <a:pPr>
                <a:defRPr/>
              </a:pPr>
              <a:t>‹#›</a:t>
            </a:fld>
            <a:endParaRPr lang="en-GB" altLang="es-ES"/>
          </a:p>
        </p:txBody>
      </p:sp>
      <p:sp>
        <p:nvSpPr>
          <p:cNvPr id="15" name="Content Placeholder 2"/>
          <p:cNvSpPr>
            <a:spLocks noGrp="1"/>
          </p:cNvSpPr>
          <p:nvPr>
            <p:ph idx="17"/>
          </p:nvPr>
        </p:nvSpPr>
        <p:spPr>
          <a:xfrm>
            <a:off x="681038" y="6199043"/>
            <a:ext cx="5481637" cy="256261"/>
          </a:xfrm>
          <a:prstGeom prst="rect">
            <a:avLst/>
          </a:prstGeom>
        </p:spPr>
        <p:txBody>
          <a:bodyPr lIns="0" tIns="0" rIns="0" bIns="0" anchor="ctr">
            <a:normAutofit/>
          </a:bodyPr>
          <a:lstStyle>
            <a:lvl1pPr marL="0" indent="0">
              <a:buClr>
                <a:schemeClr val="accent1"/>
              </a:buClr>
              <a:buSzPct val="150000"/>
              <a:buNone/>
              <a:defRPr sz="800">
                <a:solidFill>
                  <a:schemeClr val="accent4"/>
                </a:solidFill>
                <a:latin typeface="Arial" panose="020B0604020202020204" pitchFamily="34" charset="0"/>
                <a:cs typeface="Arial" panose="020B0604020202020204" pitchFamily="34" charset="0"/>
              </a:defRPr>
            </a:lvl1pPr>
            <a:lvl2pPr marL="808038" indent="-350838">
              <a:buClr>
                <a:schemeClr val="accent1"/>
              </a:buClr>
              <a:buSzPct val="100000"/>
              <a:buFont typeface="Frutiger" panose="00000400000000000000" pitchFamily="2" charset="0"/>
              <a:buChar char="•"/>
              <a:defRPr sz="1600"/>
            </a:lvl2pPr>
          </a:lstStyle>
          <a:p>
            <a:pPr lvl="0"/>
            <a:r>
              <a:rPr lang="en-US" dirty="0" smtClean="0"/>
              <a:t>Click to edit Master text styles</a:t>
            </a:r>
          </a:p>
        </p:txBody>
      </p:sp>
      <p:pic>
        <p:nvPicPr>
          <p:cNvPr id="16" name="Picture 1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108124" y="6100763"/>
            <a:ext cx="3356551" cy="592662"/>
          </a:xfrm>
          <a:prstGeom prst="rect">
            <a:avLst/>
          </a:prstGeom>
        </p:spPr>
      </p:pic>
    </p:spTree>
    <p:extLst>
      <p:ext uri="{BB962C8B-B14F-4D97-AF65-F5344CB8AC3E}">
        <p14:creationId xmlns:p14="http://schemas.microsoft.com/office/powerpoint/2010/main" val="2561340304"/>
      </p:ext>
    </p:extLst>
  </p:cSld>
  <p:clrMapOvr>
    <a:masterClrMapping/>
  </p:clrMapOvr>
  <p:transition spd="med">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7" name="Snip Diagonal Corner Rectangle 15"/>
          <p:cNvSpPr/>
          <p:nvPr/>
        </p:nvSpPr>
        <p:spPr>
          <a:xfrm>
            <a:off x="5956300" y="2725738"/>
            <a:ext cx="3268663" cy="3275012"/>
          </a:xfrm>
          <a:prstGeom prst="snip2DiagRect">
            <a:avLst>
              <a:gd name="adj1" fmla="val 0"/>
              <a:gd name="adj2" fmla="val 33238"/>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a:latin typeface="Arial" panose="020B0604020202020204" pitchFamily="34" charset="0"/>
              <a:cs typeface="Arial" panose="020B0604020202020204" pitchFamily="34" charset="0"/>
            </a:endParaRPr>
          </a:p>
        </p:txBody>
      </p:sp>
      <p:pic>
        <p:nvPicPr>
          <p:cNvPr id="8" name="Picture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590675" cy="1276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9" name="Straight Connector 8"/>
          <p:cNvCxnSpPr/>
          <p:nvPr/>
        </p:nvCxnSpPr>
        <p:spPr>
          <a:xfrm>
            <a:off x="681038" y="6176963"/>
            <a:ext cx="8543925" cy="0"/>
          </a:xfrm>
          <a:prstGeom prst="line">
            <a:avLst/>
          </a:prstGeom>
          <a:ln>
            <a:solidFill>
              <a:schemeClr val="accent6"/>
            </a:solidFill>
          </a:ln>
          <a:effectLst/>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1635063" y="512420"/>
            <a:ext cx="7634288" cy="257452"/>
          </a:xfrm>
          <a:prstGeom prst="rect">
            <a:avLst/>
          </a:prstGeom>
        </p:spPr>
        <p:txBody>
          <a:bodyPr anchor="ctr">
            <a:noAutofit/>
          </a:bodyPr>
          <a:lstStyle>
            <a:lvl1pPr>
              <a:defRPr sz="1800" cap="none" baseline="0">
                <a:solidFill>
                  <a:schemeClr val="accent2"/>
                </a:solidFill>
                <a:latin typeface="Arial" panose="020B0604020202020204" pitchFamily="34" charset="0"/>
                <a:cs typeface="Arial" panose="020B0604020202020204" pitchFamily="34" charset="0"/>
              </a:defRPr>
            </a:lvl1pPr>
          </a:lstStyle>
          <a:p>
            <a:r>
              <a:rPr lang="en-US" smtClean="0"/>
              <a:t>Click to edit Master title style</a:t>
            </a:r>
            <a:endParaRPr lang="en-US" dirty="0"/>
          </a:p>
        </p:txBody>
      </p:sp>
      <p:sp>
        <p:nvSpPr>
          <p:cNvPr id="3" name="Content Placeholder 2"/>
          <p:cNvSpPr>
            <a:spLocks noGrp="1"/>
          </p:cNvSpPr>
          <p:nvPr>
            <p:ph idx="1"/>
          </p:nvPr>
        </p:nvSpPr>
        <p:spPr>
          <a:xfrm>
            <a:off x="681038" y="2725445"/>
            <a:ext cx="4618931" cy="3192228"/>
          </a:xfrm>
          <a:prstGeom prst="rect">
            <a:avLst/>
          </a:prstGeom>
        </p:spPr>
        <p:txBody>
          <a:bodyPr lIns="0" tIns="0" rIns="0" bIns="0">
            <a:normAutofit/>
          </a:bodyPr>
          <a:lstStyle>
            <a:lvl1pPr marL="177800" indent="-177800" algn="just">
              <a:spcBef>
                <a:spcPts val="0"/>
              </a:spcBef>
              <a:spcAft>
                <a:spcPts val="600"/>
              </a:spcAft>
              <a:buClr>
                <a:schemeClr val="accent1"/>
              </a:buClr>
              <a:buSzPct val="150000"/>
              <a:defRPr sz="1200">
                <a:solidFill>
                  <a:schemeClr val="accent3"/>
                </a:solidFill>
                <a:latin typeface="Arial" panose="020B0604020202020204" pitchFamily="34" charset="0"/>
                <a:cs typeface="Arial" panose="020B0604020202020204" pitchFamily="34" charset="0"/>
              </a:defRPr>
            </a:lvl1pPr>
            <a:lvl2pPr marL="630238" indent="-173038" algn="just">
              <a:spcBef>
                <a:spcPts val="0"/>
              </a:spcBef>
              <a:spcAft>
                <a:spcPts val="600"/>
              </a:spcAft>
              <a:buClr>
                <a:schemeClr val="accent6"/>
              </a:buClr>
              <a:buSzPct val="100000"/>
              <a:buFont typeface="Frutiger" panose="00000400000000000000" pitchFamily="2" charset="0"/>
              <a:buChar char="•"/>
              <a:defRPr sz="1200">
                <a:solidFill>
                  <a:schemeClr val="tx2"/>
                </a:solidFill>
                <a:latin typeface="Arial" panose="020B0604020202020204" pitchFamily="34" charset="0"/>
                <a:cs typeface="Arial" panose="020B0604020202020204" pitchFamily="34" charset="0"/>
              </a:defRPr>
            </a:lvl2pPr>
          </a:lstStyle>
          <a:p>
            <a:pPr lvl="0"/>
            <a:r>
              <a:rPr lang="en-US" smtClean="0"/>
              <a:t>Click to edit Master text styles</a:t>
            </a:r>
          </a:p>
          <a:p>
            <a:pPr lvl="1"/>
            <a:r>
              <a:rPr lang="en-US" smtClean="0"/>
              <a:t>Second level</a:t>
            </a:r>
          </a:p>
        </p:txBody>
      </p:sp>
      <p:sp>
        <p:nvSpPr>
          <p:cNvPr id="11" name="Content Placeholder 2"/>
          <p:cNvSpPr>
            <a:spLocks noGrp="1"/>
          </p:cNvSpPr>
          <p:nvPr>
            <p:ph idx="13"/>
          </p:nvPr>
        </p:nvSpPr>
        <p:spPr>
          <a:xfrm>
            <a:off x="681037" y="1313354"/>
            <a:ext cx="8543925" cy="1028509"/>
          </a:xfrm>
          <a:prstGeom prst="rect">
            <a:avLst/>
          </a:prstGeom>
        </p:spPr>
        <p:txBody>
          <a:bodyPr lIns="0" tIns="0" rIns="0" bIns="0">
            <a:normAutofit/>
          </a:bodyPr>
          <a:lstStyle>
            <a:lvl1pPr marL="0" indent="0" algn="just">
              <a:lnSpc>
                <a:spcPct val="100000"/>
              </a:lnSpc>
              <a:buClr>
                <a:schemeClr val="accent1"/>
              </a:buClr>
              <a:buSzPct val="150000"/>
              <a:buNone/>
              <a:defRPr sz="1400">
                <a:solidFill>
                  <a:schemeClr val="accent2"/>
                </a:solidFill>
                <a:latin typeface="Arial" panose="020B0604020202020204" pitchFamily="34" charset="0"/>
                <a:cs typeface="Arial" panose="020B0604020202020204" pitchFamily="34" charset="0"/>
              </a:defRPr>
            </a:lvl1pPr>
            <a:lvl2pPr marL="808038" indent="-350838">
              <a:buClr>
                <a:schemeClr val="accent1"/>
              </a:buClr>
              <a:buSzPct val="100000"/>
              <a:buFont typeface="Frutiger" panose="00000400000000000000" pitchFamily="2" charset="0"/>
              <a:buChar char="•"/>
              <a:defRPr sz="1600"/>
            </a:lvl2pPr>
          </a:lstStyle>
          <a:p>
            <a:pPr lvl="0"/>
            <a:r>
              <a:rPr lang="en-US" dirty="0" smtClean="0"/>
              <a:t>Click to edit Master text styles</a:t>
            </a:r>
          </a:p>
        </p:txBody>
      </p:sp>
      <p:sp>
        <p:nvSpPr>
          <p:cNvPr id="12" name="Slide Number Placeholder 5"/>
          <p:cNvSpPr>
            <a:spLocks noGrp="1"/>
          </p:cNvSpPr>
          <p:nvPr>
            <p:ph type="sldNum" sz="quarter" idx="16"/>
          </p:nvPr>
        </p:nvSpPr>
        <p:spPr>
          <a:xfrm>
            <a:off x="681038" y="6540500"/>
            <a:ext cx="500062" cy="260350"/>
          </a:xfrm>
        </p:spPr>
        <p:txBody>
          <a:bodyPr lIns="0" rIns="0"/>
          <a:lstStyle>
            <a:lvl1pPr>
              <a:defRPr smtClean="0"/>
            </a:lvl1pPr>
          </a:lstStyle>
          <a:p>
            <a:pPr>
              <a:defRPr/>
            </a:pPr>
            <a:fld id="{24AFBD85-CC1A-4318-A171-2C9AE37A1E8A}" type="slidenum">
              <a:rPr lang="en-GB" altLang="es-ES"/>
              <a:pPr>
                <a:defRPr/>
              </a:pPr>
              <a:t>‹#›</a:t>
            </a:fld>
            <a:endParaRPr lang="en-GB" altLang="es-ES"/>
          </a:p>
        </p:txBody>
      </p:sp>
      <p:sp>
        <p:nvSpPr>
          <p:cNvPr id="15" name="Content Placeholder 2"/>
          <p:cNvSpPr>
            <a:spLocks noGrp="1"/>
          </p:cNvSpPr>
          <p:nvPr>
            <p:ph idx="17"/>
          </p:nvPr>
        </p:nvSpPr>
        <p:spPr>
          <a:xfrm>
            <a:off x="681038" y="6199043"/>
            <a:ext cx="5481637" cy="256261"/>
          </a:xfrm>
          <a:prstGeom prst="rect">
            <a:avLst/>
          </a:prstGeom>
        </p:spPr>
        <p:txBody>
          <a:bodyPr lIns="0" tIns="0" rIns="0" bIns="0" anchor="ctr">
            <a:normAutofit/>
          </a:bodyPr>
          <a:lstStyle>
            <a:lvl1pPr marL="0" indent="0">
              <a:buClr>
                <a:schemeClr val="accent1"/>
              </a:buClr>
              <a:buSzPct val="150000"/>
              <a:buNone/>
              <a:defRPr sz="800">
                <a:solidFill>
                  <a:schemeClr val="accent4"/>
                </a:solidFill>
                <a:latin typeface="Arial" panose="020B0604020202020204" pitchFamily="34" charset="0"/>
                <a:cs typeface="Arial" panose="020B0604020202020204" pitchFamily="34" charset="0"/>
              </a:defRPr>
            </a:lvl1pPr>
            <a:lvl2pPr marL="808038" indent="-350838">
              <a:buClr>
                <a:schemeClr val="accent1"/>
              </a:buClr>
              <a:buSzPct val="100000"/>
              <a:buFont typeface="Frutiger" panose="00000400000000000000" pitchFamily="2" charset="0"/>
              <a:buChar char="•"/>
              <a:defRPr sz="1600"/>
            </a:lvl2pPr>
          </a:lstStyle>
          <a:p>
            <a:pPr lvl="0"/>
            <a:r>
              <a:rPr lang="en-US" smtClean="0"/>
              <a:t>Click to edit Master text styles</a:t>
            </a:r>
          </a:p>
        </p:txBody>
      </p:sp>
      <p:pic>
        <p:nvPicPr>
          <p:cNvPr id="16" name="Picture 1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108124" y="6100763"/>
            <a:ext cx="3356551" cy="592662"/>
          </a:xfrm>
          <a:prstGeom prst="rect">
            <a:avLst/>
          </a:prstGeom>
        </p:spPr>
      </p:pic>
    </p:spTree>
    <p:extLst>
      <p:ext uri="{BB962C8B-B14F-4D97-AF65-F5344CB8AC3E}">
        <p14:creationId xmlns:p14="http://schemas.microsoft.com/office/powerpoint/2010/main" val="182465989"/>
      </p:ext>
    </p:extLst>
  </p:cSld>
  <p:clrMapOvr>
    <a:masterClrMapping/>
  </p:clrMapOvr>
  <p:transition spd="med">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7" name="Snip Diagonal Corner Rectangle 11"/>
          <p:cNvSpPr/>
          <p:nvPr/>
        </p:nvSpPr>
        <p:spPr>
          <a:xfrm>
            <a:off x="5956300" y="2725738"/>
            <a:ext cx="3268663" cy="3275012"/>
          </a:xfrm>
          <a:prstGeom prst="snip2DiagRect">
            <a:avLst>
              <a:gd name="adj1" fmla="val 0"/>
              <a:gd name="adj2" fmla="val 33238"/>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a:latin typeface="Arial" panose="020B0604020202020204" pitchFamily="34" charset="0"/>
              <a:cs typeface="Arial" panose="020B0604020202020204" pitchFamily="34" charset="0"/>
            </a:endParaRPr>
          </a:p>
        </p:txBody>
      </p:sp>
      <p:pic>
        <p:nvPicPr>
          <p:cNvPr id="8" name="Picture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590675" cy="1276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9" name="Straight Connector 8"/>
          <p:cNvCxnSpPr/>
          <p:nvPr/>
        </p:nvCxnSpPr>
        <p:spPr>
          <a:xfrm>
            <a:off x="681038" y="6176963"/>
            <a:ext cx="8543925" cy="0"/>
          </a:xfrm>
          <a:prstGeom prst="line">
            <a:avLst/>
          </a:prstGeom>
          <a:ln>
            <a:solidFill>
              <a:schemeClr val="accent6"/>
            </a:solidFill>
          </a:ln>
          <a:effectLst/>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1635063" y="512420"/>
            <a:ext cx="7634288" cy="257452"/>
          </a:xfrm>
          <a:prstGeom prst="rect">
            <a:avLst/>
          </a:prstGeom>
        </p:spPr>
        <p:txBody>
          <a:bodyPr anchor="ctr">
            <a:noAutofit/>
          </a:bodyPr>
          <a:lstStyle>
            <a:lvl1pPr>
              <a:defRPr sz="1800" cap="none" baseline="0">
                <a:solidFill>
                  <a:schemeClr val="accent2"/>
                </a:solidFill>
                <a:latin typeface="Arial" panose="020B0604020202020204" pitchFamily="34" charset="0"/>
                <a:cs typeface="Arial" panose="020B0604020202020204" pitchFamily="34" charset="0"/>
              </a:defRPr>
            </a:lvl1pPr>
          </a:lstStyle>
          <a:p>
            <a:r>
              <a:rPr lang="en-US" smtClean="0"/>
              <a:t>Click to edit Master title style</a:t>
            </a:r>
            <a:endParaRPr lang="en-US" dirty="0"/>
          </a:p>
        </p:txBody>
      </p:sp>
      <p:sp>
        <p:nvSpPr>
          <p:cNvPr id="3" name="Content Placeholder 2"/>
          <p:cNvSpPr>
            <a:spLocks noGrp="1"/>
          </p:cNvSpPr>
          <p:nvPr>
            <p:ph idx="1"/>
          </p:nvPr>
        </p:nvSpPr>
        <p:spPr>
          <a:xfrm>
            <a:off x="681038" y="2725445"/>
            <a:ext cx="4618931" cy="3192228"/>
          </a:xfrm>
          <a:prstGeom prst="rect">
            <a:avLst/>
          </a:prstGeom>
        </p:spPr>
        <p:txBody>
          <a:bodyPr lIns="0" tIns="0" rIns="0" bIns="0">
            <a:normAutofit/>
          </a:bodyPr>
          <a:lstStyle>
            <a:lvl1pPr marL="177800" indent="-177800" algn="just">
              <a:spcBef>
                <a:spcPts val="0"/>
              </a:spcBef>
              <a:spcAft>
                <a:spcPts val="600"/>
              </a:spcAft>
              <a:buClr>
                <a:schemeClr val="accent1"/>
              </a:buClr>
              <a:buSzPct val="150000"/>
              <a:defRPr sz="1200">
                <a:solidFill>
                  <a:schemeClr val="accent2"/>
                </a:solidFill>
                <a:latin typeface="Arial" panose="020B0604020202020204" pitchFamily="34" charset="0"/>
                <a:cs typeface="Arial" panose="020B0604020202020204" pitchFamily="34" charset="0"/>
              </a:defRPr>
            </a:lvl1pPr>
            <a:lvl2pPr marL="630238" indent="-173038" algn="just">
              <a:spcBef>
                <a:spcPts val="0"/>
              </a:spcBef>
              <a:spcAft>
                <a:spcPts val="600"/>
              </a:spcAft>
              <a:buClr>
                <a:schemeClr val="accent6"/>
              </a:buClr>
              <a:buSzPct val="100000"/>
              <a:buFont typeface="Frutiger" panose="00000400000000000000" pitchFamily="2" charset="0"/>
              <a:buChar char="•"/>
              <a:defRPr sz="1200">
                <a:solidFill>
                  <a:schemeClr val="accent2"/>
                </a:solidFill>
                <a:latin typeface="Arial" panose="020B0604020202020204" pitchFamily="34" charset="0"/>
                <a:cs typeface="Arial" panose="020B0604020202020204" pitchFamily="34" charset="0"/>
              </a:defRPr>
            </a:lvl2pPr>
          </a:lstStyle>
          <a:p>
            <a:pPr lvl="0"/>
            <a:r>
              <a:rPr lang="en-US" smtClean="0"/>
              <a:t>Click to edit Master text styles</a:t>
            </a:r>
          </a:p>
          <a:p>
            <a:pPr lvl="1"/>
            <a:r>
              <a:rPr lang="en-US" smtClean="0"/>
              <a:t>Second level</a:t>
            </a:r>
          </a:p>
        </p:txBody>
      </p:sp>
      <p:sp>
        <p:nvSpPr>
          <p:cNvPr id="11" name="Content Placeholder 2"/>
          <p:cNvSpPr>
            <a:spLocks noGrp="1"/>
          </p:cNvSpPr>
          <p:nvPr>
            <p:ph idx="13"/>
          </p:nvPr>
        </p:nvSpPr>
        <p:spPr>
          <a:xfrm>
            <a:off x="681037" y="1313354"/>
            <a:ext cx="8543925" cy="1028509"/>
          </a:xfrm>
          <a:prstGeom prst="rect">
            <a:avLst/>
          </a:prstGeom>
        </p:spPr>
        <p:txBody>
          <a:bodyPr lIns="0" tIns="0" rIns="0" bIns="0">
            <a:normAutofit/>
          </a:bodyPr>
          <a:lstStyle>
            <a:lvl1pPr marL="0" indent="0" algn="just">
              <a:lnSpc>
                <a:spcPct val="100000"/>
              </a:lnSpc>
              <a:buClr>
                <a:schemeClr val="accent1"/>
              </a:buClr>
              <a:buSzPct val="150000"/>
              <a:buNone/>
              <a:defRPr sz="1400">
                <a:solidFill>
                  <a:schemeClr val="accent2"/>
                </a:solidFill>
                <a:latin typeface="Arial" panose="020B0604020202020204" pitchFamily="34" charset="0"/>
                <a:cs typeface="Arial" panose="020B0604020202020204" pitchFamily="34" charset="0"/>
              </a:defRPr>
            </a:lvl1pPr>
            <a:lvl2pPr marL="808038" indent="-350838">
              <a:buClr>
                <a:schemeClr val="accent1"/>
              </a:buClr>
              <a:buSzPct val="100000"/>
              <a:buFont typeface="Frutiger" panose="00000400000000000000" pitchFamily="2" charset="0"/>
              <a:buChar char="•"/>
              <a:defRPr sz="1600"/>
            </a:lvl2pPr>
          </a:lstStyle>
          <a:p>
            <a:pPr lvl="0"/>
            <a:r>
              <a:rPr lang="en-US" dirty="0" smtClean="0"/>
              <a:t>Click to edit Master text styles</a:t>
            </a:r>
          </a:p>
        </p:txBody>
      </p:sp>
      <p:sp>
        <p:nvSpPr>
          <p:cNvPr id="12" name="Slide Number Placeholder 5"/>
          <p:cNvSpPr>
            <a:spLocks noGrp="1"/>
          </p:cNvSpPr>
          <p:nvPr>
            <p:ph type="sldNum" sz="quarter" idx="16"/>
          </p:nvPr>
        </p:nvSpPr>
        <p:spPr>
          <a:xfrm>
            <a:off x="681038" y="6540500"/>
            <a:ext cx="500062" cy="260350"/>
          </a:xfrm>
        </p:spPr>
        <p:txBody>
          <a:bodyPr lIns="0" rIns="0"/>
          <a:lstStyle>
            <a:lvl1pPr>
              <a:defRPr smtClean="0"/>
            </a:lvl1pPr>
          </a:lstStyle>
          <a:p>
            <a:pPr>
              <a:defRPr/>
            </a:pPr>
            <a:fld id="{24225B0D-1DFD-4EC6-B959-AD8D20823B64}" type="slidenum">
              <a:rPr lang="en-GB" altLang="es-ES"/>
              <a:pPr>
                <a:defRPr/>
              </a:pPr>
              <a:t>‹#›</a:t>
            </a:fld>
            <a:endParaRPr lang="en-GB" altLang="es-ES"/>
          </a:p>
        </p:txBody>
      </p:sp>
      <p:sp>
        <p:nvSpPr>
          <p:cNvPr id="15" name="Content Placeholder 2"/>
          <p:cNvSpPr>
            <a:spLocks noGrp="1"/>
          </p:cNvSpPr>
          <p:nvPr>
            <p:ph idx="17"/>
          </p:nvPr>
        </p:nvSpPr>
        <p:spPr>
          <a:xfrm>
            <a:off x="681038" y="6199043"/>
            <a:ext cx="5481637" cy="256261"/>
          </a:xfrm>
          <a:prstGeom prst="rect">
            <a:avLst/>
          </a:prstGeom>
        </p:spPr>
        <p:txBody>
          <a:bodyPr lIns="0" tIns="0" rIns="0" bIns="0" anchor="ctr">
            <a:normAutofit/>
          </a:bodyPr>
          <a:lstStyle>
            <a:lvl1pPr marL="0" indent="0">
              <a:buClr>
                <a:schemeClr val="accent1"/>
              </a:buClr>
              <a:buSzPct val="150000"/>
              <a:buNone/>
              <a:defRPr sz="800">
                <a:solidFill>
                  <a:schemeClr val="accent4"/>
                </a:solidFill>
                <a:latin typeface="Arial" panose="020B0604020202020204" pitchFamily="34" charset="0"/>
                <a:cs typeface="Arial" panose="020B0604020202020204" pitchFamily="34" charset="0"/>
              </a:defRPr>
            </a:lvl1pPr>
            <a:lvl2pPr marL="808038" indent="-350838">
              <a:buClr>
                <a:schemeClr val="accent1"/>
              </a:buClr>
              <a:buSzPct val="100000"/>
              <a:buFont typeface="Frutiger" panose="00000400000000000000" pitchFamily="2" charset="0"/>
              <a:buChar char="•"/>
              <a:defRPr sz="1600"/>
            </a:lvl2pPr>
          </a:lstStyle>
          <a:p>
            <a:pPr lvl="0"/>
            <a:r>
              <a:rPr lang="en-US" smtClean="0"/>
              <a:t>Click to edit Master text styles</a:t>
            </a:r>
          </a:p>
        </p:txBody>
      </p:sp>
      <p:pic>
        <p:nvPicPr>
          <p:cNvPr id="16" name="Picture 1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108124" y="6100763"/>
            <a:ext cx="3356551" cy="592662"/>
          </a:xfrm>
          <a:prstGeom prst="rect">
            <a:avLst/>
          </a:prstGeom>
        </p:spPr>
      </p:pic>
    </p:spTree>
    <p:extLst>
      <p:ext uri="{BB962C8B-B14F-4D97-AF65-F5344CB8AC3E}">
        <p14:creationId xmlns:p14="http://schemas.microsoft.com/office/powerpoint/2010/main" val="2358438354"/>
      </p:ext>
    </p:extLst>
  </p:cSld>
  <p:clrMapOvr>
    <a:masterClrMapping/>
  </p:clrMapOvr>
  <p:transition spd="med">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pic>
        <p:nvPicPr>
          <p:cNvPr id="7" name="Picture 3"/>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5948363" y="2708275"/>
            <a:ext cx="3276600" cy="3276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590675" cy="1276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0" name="Straight Connector 8"/>
          <p:cNvCxnSpPr/>
          <p:nvPr/>
        </p:nvCxnSpPr>
        <p:spPr>
          <a:xfrm>
            <a:off x="681038" y="6176963"/>
            <a:ext cx="8543925" cy="0"/>
          </a:xfrm>
          <a:prstGeom prst="line">
            <a:avLst/>
          </a:prstGeom>
          <a:ln>
            <a:solidFill>
              <a:schemeClr val="accent6"/>
            </a:solidFill>
          </a:ln>
          <a:effectLst/>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1635063" y="512420"/>
            <a:ext cx="7634288" cy="257452"/>
          </a:xfrm>
          <a:prstGeom prst="rect">
            <a:avLst/>
          </a:prstGeom>
        </p:spPr>
        <p:txBody>
          <a:bodyPr anchor="ctr">
            <a:noAutofit/>
          </a:bodyPr>
          <a:lstStyle>
            <a:lvl1pPr>
              <a:defRPr sz="1800" cap="none" baseline="0">
                <a:solidFill>
                  <a:schemeClr val="accent2"/>
                </a:solidFill>
                <a:latin typeface="Arial" panose="020B0604020202020204" pitchFamily="34" charset="0"/>
                <a:cs typeface="Arial" panose="020B0604020202020204" pitchFamily="34" charset="0"/>
              </a:defRPr>
            </a:lvl1pPr>
          </a:lstStyle>
          <a:p>
            <a:r>
              <a:rPr lang="en-US" smtClean="0"/>
              <a:t>Click to edit Master title style</a:t>
            </a:r>
            <a:endParaRPr lang="en-US" dirty="0"/>
          </a:p>
        </p:txBody>
      </p:sp>
      <p:sp>
        <p:nvSpPr>
          <p:cNvPr id="3" name="Content Placeholder 2"/>
          <p:cNvSpPr>
            <a:spLocks noGrp="1"/>
          </p:cNvSpPr>
          <p:nvPr>
            <p:ph idx="1"/>
          </p:nvPr>
        </p:nvSpPr>
        <p:spPr>
          <a:xfrm>
            <a:off x="681038" y="2725445"/>
            <a:ext cx="4618931" cy="3192228"/>
          </a:xfrm>
          <a:prstGeom prst="rect">
            <a:avLst/>
          </a:prstGeom>
        </p:spPr>
        <p:txBody>
          <a:bodyPr lIns="0" tIns="0" rIns="0" bIns="0">
            <a:normAutofit/>
          </a:bodyPr>
          <a:lstStyle>
            <a:lvl1pPr marL="177800" indent="-177800" algn="just">
              <a:spcBef>
                <a:spcPts val="0"/>
              </a:spcBef>
              <a:spcAft>
                <a:spcPts val="600"/>
              </a:spcAft>
              <a:buClr>
                <a:schemeClr val="accent1"/>
              </a:buClr>
              <a:buSzPct val="150000"/>
              <a:defRPr sz="1200">
                <a:solidFill>
                  <a:schemeClr val="accent2"/>
                </a:solidFill>
                <a:latin typeface="Arial" panose="020B0604020202020204" pitchFamily="34" charset="0"/>
                <a:cs typeface="Arial" panose="020B0604020202020204" pitchFamily="34" charset="0"/>
              </a:defRPr>
            </a:lvl1pPr>
            <a:lvl2pPr marL="630238" indent="-173038" algn="just">
              <a:spcBef>
                <a:spcPts val="0"/>
              </a:spcBef>
              <a:spcAft>
                <a:spcPts val="600"/>
              </a:spcAft>
              <a:buClr>
                <a:schemeClr val="accent6"/>
              </a:buClr>
              <a:buSzPct val="100000"/>
              <a:buFont typeface="Frutiger" panose="00000400000000000000" pitchFamily="2" charset="0"/>
              <a:buChar char="•"/>
              <a:defRPr sz="1200">
                <a:solidFill>
                  <a:schemeClr val="accent2"/>
                </a:solidFill>
                <a:latin typeface="Arial" panose="020B0604020202020204" pitchFamily="34" charset="0"/>
                <a:cs typeface="Arial" panose="020B0604020202020204" pitchFamily="34" charset="0"/>
              </a:defRPr>
            </a:lvl2pPr>
          </a:lstStyle>
          <a:p>
            <a:pPr lvl="0"/>
            <a:r>
              <a:rPr lang="en-US" smtClean="0"/>
              <a:t>Click to edit Master text styles</a:t>
            </a:r>
          </a:p>
          <a:p>
            <a:pPr lvl="1"/>
            <a:r>
              <a:rPr lang="en-US" smtClean="0"/>
              <a:t>Second level</a:t>
            </a:r>
          </a:p>
        </p:txBody>
      </p:sp>
      <p:sp>
        <p:nvSpPr>
          <p:cNvPr id="11" name="Content Placeholder 2"/>
          <p:cNvSpPr>
            <a:spLocks noGrp="1"/>
          </p:cNvSpPr>
          <p:nvPr>
            <p:ph idx="13"/>
          </p:nvPr>
        </p:nvSpPr>
        <p:spPr>
          <a:xfrm>
            <a:off x="681037" y="1313354"/>
            <a:ext cx="8543925" cy="1028509"/>
          </a:xfrm>
          <a:prstGeom prst="rect">
            <a:avLst/>
          </a:prstGeom>
        </p:spPr>
        <p:txBody>
          <a:bodyPr lIns="0" tIns="0" rIns="0" bIns="0">
            <a:normAutofit/>
          </a:bodyPr>
          <a:lstStyle>
            <a:lvl1pPr marL="0" indent="0" algn="just">
              <a:lnSpc>
                <a:spcPct val="100000"/>
              </a:lnSpc>
              <a:buClr>
                <a:schemeClr val="accent1"/>
              </a:buClr>
              <a:buSzPct val="150000"/>
              <a:buNone/>
              <a:defRPr sz="1400">
                <a:solidFill>
                  <a:schemeClr val="accent2"/>
                </a:solidFill>
                <a:latin typeface="Arial" panose="020B0604020202020204" pitchFamily="34" charset="0"/>
                <a:cs typeface="Arial" panose="020B0604020202020204" pitchFamily="34" charset="0"/>
              </a:defRPr>
            </a:lvl1pPr>
            <a:lvl2pPr marL="808038" indent="-350838">
              <a:buClr>
                <a:schemeClr val="accent1"/>
              </a:buClr>
              <a:buSzPct val="100000"/>
              <a:buFont typeface="Frutiger" panose="00000400000000000000" pitchFamily="2" charset="0"/>
              <a:buChar char="•"/>
              <a:defRPr sz="1600"/>
            </a:lvl2pPr>
          </a:lstStyle>
          <a:p>
            <a:pPr lvl="0"/>
            <a:r>
              <a:rPr lang="en-US" smtClean="0"/>
              <a:t>Click to edit Master text styles</a:t>
            </a:r>
          </a:p>
        </p:txBody>
      </p:sp>
      <p:sp>
        <p:nvSpPr>
          <p:cNvPr id="14" name="Slide Number Placeholder 5"/>
          <p:cNvSpPr>
            <a:spLocks noGrp="1"/>
          </p:cNvSpPr>
          <p:nvPr>
            <p:ph type="sldNum" sz="quarter" idx="16"/>
          </p:nvPr>
        </p:nvSpPr>
        <p:spPr>
          <a:xfrm>
            <a:off x="681038" y="6540500"/>
            <a:ext cx="500062" cy="260350"/>
          </a:xfrm>
        </p:spPr>
        <p:txBody>
          <a:bodyPr lIns="0" rIns="0"/>
          <a:lstStyle>
            <a:lvl1pPr>
              <a:defRPr smtClean="0"/>
            </a:lvl1pPr>
          </a:lstStyle>
          <a:p>
            <a:pPr>
              <a:defRPr/>
            </a:pPr>
            <a:fld id="{33CA3BC7-3013-47A3-8D1B-0A69CF002885}" type="slidenum">
              <a:rPr lang="en-GB" altLang="es-ES"/>
              <a:pPr>
                <a:defRPr/>
              </a:pPr>
              <a:t>‹#›</a:t>
            </a:fld>
            <a:endParaRPr lang="en-GB" altLang="es-ES"/>
          </a:p>
        </p:txBody>
      </p:sp>
      <p:sp>
        <p:nvSpPr>
          <p:cNvPr id="15" name="Content Placeholder 2"/>
          <p:cNvSpPr>
            <a:spLocks noGrp="1"/>
          </p:cNvSpPr>
          <p:nvPr>
            <p:ph idx="17"/>
          </p:nvPr>
        </p:nvSpPr>
        <p:spPr>
          <a:xfrm>
            <a:off x="681038" y="6199043"/>
            <a:ext cx="5481637" cy="256261"/>
          </a:xfrm>
          <a:prstGeom prst="rect">
            <a:avLst/>
          </a:prstGeom>
        </p:spPr>
        <p:txBody>
          <a:bodyPr lIns="0" tIns="0" rIns="0" bIns="0" anchor="ctr">
            <a:normAutofit/>
          </a:bodyPr>
          <a:lstStyle>
            <a:lvl1pPr marL="0" indent="0">
              <a:buClr>
                <a:schemeClr val="accent1"/>
              </a:buClr>
              <a:buSzPct val="150000"/>
              <a:buNone/>
              <a:defRPr sz="800">
                <a:solidFill>
                  <a:schemeClr val="accent4"/>
                </a:solidFill>
                <a:latin typeface="Arial" panose="020B0604020202020204" pitchFamily="34" charset="0"/>
                <a:cs typeface="Arial" panose="020B0604020202020204" pitchFamily="34" charset="0"/>
              </a:defRPr>
            </a:lvl1pPr>
            <a:lvl2pPr marL="808038" indent="-350838">
              <a:buClr>
                <a:schemeClr val="accent1"/>
              </a:buClr>
              <a:buSzPct val="100000"/>
              <a:buFont typeface="Frutiger" panose="00000400000000000000" pitchFamily="2" charset="0"/>
              <a:buChar char="•"/>
              <a:defRPr sz="1600"/>
            </a:lvl2pPr>
          </a:lstStyle>
          <a:p>
            <a:pPr lvl="0"/>
            <a:r>
              <a:rPr lang="en-US" smtClean="0"/>
              <a:t>Click to edit Master text styles</a:t>
            </a:r>
          </a:p>
        </p:txBody>
      </p:sp>
      <p:pic>
        <p:nvPicPr>
          <p:cNvPr id="16" name="Picture 15"/>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6108124" y="6100763"/>
            <a:ext cx="3356551" cy="592662"/>
          </a:xfrm>
          <a:prstGeom prst="rect">
            <a:avLst/>
          </a:prstGeom>
        </p:spPr>
      </p:pic>
    </p:spTree>
    <p:extLst>
      <p:ext uri="{BB962C8B-B14F-4D97-AF65-F5344CB8AC3E}">
        <p14:creationId xmlns:p14="http://schemas.microsoft.com/office/powerpoint/2010/main" val="2783296305"/>
      </p:ext>
    </p:extLst>
  </p:cSld>
  <p:clrMapOvr>
    <a:masterClrMapping/>
  </p:clrMapOvr>
  <p:transition spd="med">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pic>
        <p:nvPicPr>
          <p:cNvPr id="7" name="Picture 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48362" y="2704660"/>
            <a:ext cx="3276601" cy="3268446"/>
          </a:xfrm>
          <a:prstGeom prst="snip2DiagRect">
            <a:avLst>
              <a:gd name="adj1" fmla="val 0"/>
              <a:gd name="adj2" fmla="val 33261"/>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6"/>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0"/>
            <a:ext cx="1590675" cy="1276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0" name="Straight Connector 8"/>
          <p:cNvCxnSpPr/>
          <p:nvPr/>
        </p:nvCxnSpPr>
        <p:spPr>
          <a:xfrm>
            <a:off x="681038" y="6176963"/>
            <a:ext cx="8543925" cy="0"/>
          </a:xfrm>
          <a:prstGeom prst="line">
            <a:avLst/>
          </a:prstGeom>
          <a:ln>
            <a:solidFill>
              <a:schemeClr val="accent6"/>
            </a:solidFill>
          </a:ln>
          <a:effectLst/>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1635063" y="512420"/>
            <a:ext cx="7634288" cy="257452"/>
          </a:xfrm>
          <a:prstGeom prst="rect">
            <a:avLst/>
          </a:prstGeom>
        </p:spPr>
        <p:txBody>
          <a:bodyPr anchor="ctr">
            <a:noAutofit/>
          </a:bodyPr>
          <a:lstStyle>
            <a:lvl1pPr>
              <a:defRPr sz="1800" cap="none" baseline="0">
                <a:solidFill>
                  <a:schemeClr val="accent2"/>
                </a:solidFill>
                <a:latin typeface="Arial" panose="020B0604020202020204" pitchFamily="34" charset="0"/>
                <a:cs typeface="Arial" panose="020B0604020202020204" pitchFamily="34" charset="0"/>
              </a:defRPr>
            </a:lvl1pPr>
          </a:lstStyle>
          <a:p>
            <a:r>
              <a:rPr lang="en-US" smtClean="0"/>
              <a:t>Click to edit Master title style</a:t>
            </a:r>
            <a:endParaRPr lang="en-US" dirty="0"/>
          </a:p>
        </p:txBody>
      </p:sp>
      <p:sp>
        <p:nvSpPr>
          <p:cNvPr id="3" name="Content Placeholder 2"/>
          <p:cNvSpPr>
            <a:spLocks noGrp="1"/>
          </p:cNvSpPr>
          <p:nvPr>
            <p:ph idx="1"/>
          </p:nvPr>
        </p:nvSpPr>
        <p:spPr>
          <a:xfrm>
            <a:off x="681038" y="2725445"/>
            <a:ext cx="4618931" cy="3192228"/>
          </a:xfrm>
          <a:prstGeom prst="rect">
            <a:avLst/>
          </a:prstGeom>
        </p:spPr>
        <p:txBody>
          <a:bodyPr lIns="0" tIns="0" rIns="0" bIns="0">
            <a:normAutofit/>
          </a:bodyPr>
          <a:lstStyle>
            <a:lvl1pPr marL="177800" indent="-177800" algn="just">
              <a:spcBef>
                <a:spcPts val="0"/>
              </a:spcBef>
              <a:spcAft>
                <a:spcPts val="600"/>
              </a:spcAft>
              <a:buClr>
                <a:schemeClr val="accent1"/>
              </a:buClr>
              <a:buSzPct val="150000"/>
              <a:defRPr sz="1200">
                <a:solidFill>
                  <a:schemeClr val="accent2"/>
                </a:solidFill>
                <a:latin typeface="Arial" panose="020B0604020202020204" pitchFamily="34" charset="0"/>
                <a:cs typeface="Arial" panose="020B0604020202020204" pitchFamily="34" charset="0"/>
              </a:defRPr>
            </a:lvl1pPr>
            <a:lvl2pPr marL="630238" indent="-173038" algn="just">
              <a:spcBef>
                <a:spcPts val="0"/>
              </a:spcBef>
              <a:spcAft>
                <a:spcPts val="600"/>
              </a:spcAft>
              <a:buClr>
                <a:schemeClr val="accent6"/>
              </a:buClr>
              <a:buSzPct val="100000"/>
              <a:buFont typeface="Frutiger" panose="00000400000000000000" pitchFamily="2" charset="0"/>
              <a:buChar char="•"/>
              <a:defRPr sz="1200">
                <a:solidFill>
                  <a:schemeClr val="accent2"/>
                </a:solidFill>
                <a:latin typeface="Arial" panose="020B0604020202020204" pitchFamily="34" charset="0"/>
                <a:cs typeface="Arial" panose="020B0604020202020204" pitchFamily="34" charset="0"/>
              </a:defRPr>
            </a:lvl2pPr>
          </a:lstStyle>
          <a:p>
            <a:pPr lvl="0"/>
            <a:r>
              <a:rPr lang="en-US" smtClean="0"/>
              <a:t>Click to edit Master text styles</a:t>
            </a:r>
          </a:p>
          <a:p>
            <a:pPr lvl="1"/>
            <a:r>
              <a:rPr lang="en-US" smtClean="0"/>
              <a:t>Second level</a:t>
            </a:r>
          </a:p>
        </p:txBody>
      </p:sp>
      <p:sp>
        <p:nvSpPr>
          <p:cNvPr id="11" name="Content Placeholder 2"/>
          <p:cNvSpPr>
            <a:spLocks noGrp="1"/>
          </p:cNvSpPr>
          <p:nvPr>
            <p:ph idx="13"/>
          </p:nvPr>
        </p:nvSpPr>
        <p:spPr>
          <a:xfrm>
            <a:off x="681037" y="1313354"/>
            <a:ext cx="8543925" cy="1028509"/>
          </a:xfrm>
          <a:prstGeom prst="rect">
            <a:avLst/>
          </a:prstGeom>
        </p:spPr>
        <p:txBody>
          <a:bodyPr lIns="0" tIns="0" rIns="0" bIns="0">
            <a:normAutofit/>
          </a:bodyPr>
          <a:lstStyle>
            <a:lvl1pPr marL="0" indent="0" algn="just">
              <a:lnSpc>
                <a:spcPct val="100000"/>
              </a:lnSpc>
              <a:buClr>
                <a:schemeClr val="accent1"/>
              </a:buClr>
              <a:buSzPct val="150000"/>
              <a:buNone/>
              <a:defRPr sz="1400">
                <a:solidFill>
                  <a:schemeClr val="accent2"/>
                </a:solidFill>
                <a:latin typeface="Arial" panose="020B0604020202020204" pitchFamily="34" charset="0"/>
                <a:cs typeface="Arial" panose="020B0604020202020204" pitchFamily="34" charset="0"/>
              </a:defRPr>
            </a:lvl1pPr>
            <a:lvl2pPr marL="808038" indent="-350838">
              <a:buClr>
                <a:schemeClr val="accent1"/>
              </a:buClr>
              <a:buSzPct val="100000"/>
              <a:buFont typeface="Frutiger" panose="00000400000000000000" pitchFamily="2" charset="0"/>
              <a:buChar char="•"/>
              <a:defRPr sz="1600"/>
            </a:lvl2pPr>
          </a:lstStyle>
          <a:p>
            <a:pPr lvl="0"/>
            <a:r>
              <a:rPr lang="en-US" smtClean="0"/>
              <a:t>Click to edit Master text styles</a:t>
            </a:r>
          </a:p>
        </p:txBody>
      </p:sp>
      <p:sp>
        <p:nvSpPr>
          <p:cNvPr id="14" name="Slide Number Placeholder 5"/>
          <p:cNvSpPr>
            <a:spLocks noGrp="1"/>
          </p:cNvSpPr>
          <p:nvPr>
            <p:ph type="sldNum" sz="quarter" idx="16"/>
          </p:nvPr>
        </p:nvSpPr>
        <p:spPr>
          <a:xfrm>
            <a:off x="681038" y="6540500"/>
            <a:ext cx="500062" cy="260350"/>
          </a:xfrm>
        </p:spPr>
        <p:txBody>
          <a:bodyPr lIns="0" rIns="0"/>
          <a:lstStyle>
            <a:lvl1pPr>
              <a:defRPr smtClean="0"/>
            </a:lvl1pPr>
          </a:lstStyle>
          <a:p>
            <a:pPr>
              <a:defRPr/>
            </a:pPr>
            <a:fld id="{C65524DC-31D2-4D73-8BE8-101BDCA75DF8}" type="slidenum">
              <a:rPr lang="en-GB" altLang="es-ES"/>
              <a:pPr>
                <a:defRPr/>
              </a:pPr>
              <a:t>‹#›</a:t>
            </a:fld>
            <a:endParaRPr lang="en-GB" altLang="es-ES"/>
          </a:p>
        </p:txBody>
      </p:sp>
      <p:sp>
        <p:nvSpPr>
          <p:cNvPr id="15" name="Content Placeholder 2"/>
          <p:cNvSpPr>
            <a:spLocks noGrp="1"/>
          </p:cNvSpPr>
          <p:nvPr>
            <p:ph idx="17"/>
          </p:nvPr>
        </p:nvSpPr>
        <p:spPr>
          <a:xfrm>
            <a:off x="681038" y="6199043"/>
            <a:ext cx="5481637" cy="256261"/>
          </a:xfrm>
          <a:prstGeom prst="rect">
            <a:avLst/>
          </a:prstGeom>
        </p:spPr>
        <p:txBody>
          <a:bodyPr lIns="0" tIns="0" rIns="0" bIns="0" anchor="ctr">
            <a:normAutofit/>
          </a:bodyPr>
          <a:lstStyle>
            <a:lvl1pPr marL="0" indent="0">
              <a:buClr>
                <a:schemeClr val="accent1"/>
              </a:buClr>
              <a:buSzPct val="150000"/>
              <a:buNone/>
              <a:defRPr sz="800">
                <a:solidFill>
                  <a:schemeClr val="accent4"/>
                </a:solidFill>
                <a:latin typeface="Arial" panose="020B0604020202020204" pitchFamily="34" charset="0"/>
                <a:cs typeface="Arial" panose="020B0604020202020204" pitchFamily="34" charset="0"/>
              </a:defRPr>
            </a:lvl1pPr>
            <a:lvl2pPr marL="808038" indent="-350838">
              <a:buClr>
                <a:schemeClr val="accent1"/>
              </a:buClr>
              <a:buSzPct val="100000"/>
              <a:buFont typeface="Frutiger" panose="00000400000000000000" pitchFamily="2" charset="0"/>
              <a:buChar char="•"/>
              <a:defRPr sz="1600"/>
            </a:lvl2pPr>
          </a:lstStyle>
          <a:p>
            <a:pPr lvl="0"/>
            <a:r>
              <a:rPr lang="en-US" smtClean="0"/>
              <a:t>Click to edit Master text styles</a:t>
            </a:r>
          </a:p>
        </p:txBody>
      </p:sp>
      <p:pic>
        <p:nvPicPr>
          <p:cNvPr id="16" name="Picture 15"/>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6108124" y="6100763"/>
            <a:ext cx="3356551" cy="592662"/>
          </a:xfrm>
          <a:prstGeom prst="rect">
            <a:avLst/>
          </a:prstGeom>
        </p:spPr>
      </p:pic>
    </p:spTree>
    <p:extLst>
      <p:ext uri="{BB962C8B-B14F-4D97-AF65-F5344CB8AC3E}">
        <p14:creationId xmlns:p14="http://schemas.microsoft.com/office/powerpoint/2010/main" val="1971063443"/>
      </p:ext>
    </p:extLst>
  </p:cSld>
  <p:clrMapOvr>
    <a:masterClrMapping/>
  </p:clrMapOvr>
  <p:transition spd="med">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pic>
        <p:nvPicPr>
          <p:cNvPr id="7" name="Picture 3"/>
          <p:cNvPicPr>
            <a:picLocks noChangeAspect="1" noChangeArrowheads="1"/>
          </p:cNvPicPr>
          <p:nvPr/>
        </p:nvPicPr>
        <p:blipFill rotWithShape="1">
          <a:blip r:embed="rId2">
            <a:extLst>
              <a:ext uri="{28A0092B-C50C-407E-A947-70E740481C1C}">
                <a14:useLocalDpi xmlns:a14="http://schemas.microsoft.com/office/drawing/2010/main" val="0"/>
              </a:ext>
            </a:extLst>
          </a:blip>
          <a:srcRect l="6444" t="2570" r="6444" b="2570"/>
          <a:stretch/>
        </p:blipFill>
        <p:spPr bwMode="auto">
          <a:xfrm>
            <a:off x="5948362" y="2701632"/>
            <a:ext cx="3276600" cy="3260432"/>
          </a:xfrm>
          <a:prstGeom prst="snip2DiagRect">
            <a:avLst>
              <a:gd name="adj1" fmla="val 0"/>
              <a:gd name="adj2" fmla="val 33304"/>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590675" cy="1276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0" name="Straight Connector 8"/>
          <p:cNvCxnSpPr/>
          <p:nvPr/>
        </p:nvCxnSpPr>
        <p:spPr>
          <a:xfrm>
            <a:off x="681038" y="6176963"/>
            <a:ext cx="8543925" cy="0"/>
          </a:xfrm>
          <a:prstGeom prst="line">
            <a:avLst/>
          </a:prstGeom>
          <a:ln>
            <a:solidFill>
              <a:schemeClr val="accent6"/>
            </a:solidFill>
          </a:ln>
          <a:effectLst/>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1635063" y="512420"/>
            <a:ext cx="7634288" cy="257452"/>
          </a:xfrm>
          <a:prstGeom prst="rect">
            <a:avLst/>
          </a:prstGeom>
        </p:spPr>
        <p:txBody>
          <a:bodyPr anchor="ctr">
            <a:noAutofit/>
          </a:bodyPr>
          <a:lstStyle>
            <a:lvl1pPr>
              <a:defRPr sz="1800" cap="none" baseline="0">
                <a:solidFill>
                  <a:schemeClr val="accent2"/>
                </a:solidFill>
                <a:latin typeface="Arial" panose="020B0604020202020204" pitchFamily="34" charset="0"/>
                <a:cs typeface="Arial" panose="020B0604020202020204" pitchFamily="34" charset="0"/>
              </a:defRPr>
            </a:lvl1pPr>
          </a:lstStyle>
          <a:p>
            <a:r>
              <a:rPr lang="en-US" smtClean="0"/>
              <a:t>Click to edit Master title style</a:t>
            </a:r>
            <a:endParaRPr lang="en-US" dirty="0"/>
          </a:p>
        </p:txBody>
      </p:sp>
      <p:sp>
        <p:nvSpPr>
          <p:cNvPr id="3" name="Content Placeholder 2"/>
          <p:cNvSpPr>
            <a:spLocks noGrp="1"/>
          </p:cNvSpPr>
          <p:nvPr>
            <p:ph idx="1"/>
          </p:nvPr>
        </p:nvSpPr>
        <p:spPr>
          <a:xfrm>
            <a:off x="681038" y="2725445"/>
            <a:ext cx="4618931" cy="3192228"/>
          </a:xfrm>
          <a:prstGeom prst="rect">
            <a:avLst/>
          </a:prstGeom>
        </p:spPr>
        <p:txBody>
          <a:bodyPr lIns="0" tIns="0" rIns="0" bIns="0">
            <a:normAutofit/>
          </a:bodyPr>
          <a:lstStyle>
            <a:lvl1pPr marL="177800" indent="-177800" algn="just">
              <a:spcBef>
                <a:spcPts val="0"/>
              </a:spcBef>
              <a:spcAft>
                <a:spcPts val="600"/>
              </a:spcAft>
              <a:buClr>
                <a:schemeClr val="accent1"/>
              </a:buClr>
              <a:buSzPct val="150000"/>
              <a:defRPr sz="1200">
                <a:solidFill>
                  <a:schemeClr val="accent2"/>
                </a:solidFill>
                <a:latin typeface="Arial" panose="020B0604020202020204" pitchFamily="34" charset="0"/>
                <a:cs typeface="Arial" panose="020B0604020202020204" pitchFamily="34" charset="0"/>
              </a:defRPr>
            </a:lvl1pPr>
            <a:lvl2pPr marL="630238" indent="-173038" algn="just">
              <a:spcBef>
                <a:spcPts val="0"/>
              </a:spcBef>
              <a:spcAft>
                <a:spcPts val="600"/>
              </a:spcAft>
              <a:buClr>
                <a:schemeClr val="accent6"/>
              </a:buClr>
              <a:buSzPct val="100000"/>
              <a:buFont typeface="Frutiger" panose="00000400000000000000" pitchFamily="2" charset="0"/>
              <a:buChar char="•"/>
              <a:defRPr sz="1200">
                <a:solidFill>
                  <a:schemeClr val="accent2"/>
                </a:solidFill>
                <a:latin typeface="Arial" panose="020B0604020202020204" pitchFamily="34" charset="0"/>
                <a:cs typeface="Arial" panose="020B0604020202020204" pitchFamily="34" charset="0"/>
              </a:defRPr>
            </a:lvl2pPr>
          </a:lstStyle>
          <a:p>
            <a:pPr lvl="0"/>
            <a:r>
              <a:rPr lang="en-US" smtClean="0"/>
              <a:t>Click to edit Master text styles</a:t>
            </a:r>
          </a:p>
          <a:p>
            <a:pPr lvl="1"/>
            <a:r>
              <a:rPr lang="en-US" smtClean="0"/>
              <a:t>Second level</a:t>
            </a:r>
          </a:p>
        </p:txBody>
      </p:sp>
      <p:sp>
        <p:nvSpPr>
          <p:cNvPr id="11" name="Content Placeholder 2"/>
          <p:cNvSpPr>
            <a:spLocks noGrp="1"/>
          </p:cNvSpPr>
          <p:nvPr>
            <p:ph idx="13"/>
          </p:nvPr>
        </p:nvSpPr>
        <p:spPr>
          <a:xfrm>
            <a:off x="681037" y="1313354"/>
            <a:ext cx="8543925" cy="1028509"/>
          </a:xfrm>
          <a:prstGeom prst="rect">
            <a:avLst/>
          </a:prstGeom>
        </p:spPr>
        <p:txBody>
          <a:bodyPr lIns="0" tIns="0" rIns="0" bIns="0">
            <a:normAutofit/>
          </a:bodyPr>
          <a:lstStyle>
            <a:lvl1pPr marL="0" indent="0" algn="just">
              <a:lnSpc>
                <a:spcPct val="100000"/>
              </a:lnSpc>
              <a:buClr>
                <a:schemeClr val="accent1"/>
              </a:buClr>
              <a:buSzPct val="150000"/>
              <a:buNone/>
              <a:defRPr sz="1400">
                <a:solidFill>
                  <a:schemeClr val="accent2"/>
                </a:solidFill>
                <a:latin typeface="Arial" panose="020B0604020202020204" pitchFamily="34" charset="0"/>
                <a:cs typeface="Arial" panose="020B0604020202020204" pitchFamily="34" charset="0"/>
              </a:defRPr>
            </a:lvl1pPr>
            <a:lvl2pPr marL="808038" indent="-350838">
              <a:buClr>
                <a:schemeClr val="accent1"/>
              </a:buClr>
              <a:buSzPct val="100000"/>
              <a:buFont typeface="Frutiger" panose="00000400000000000000" pitchFamily="2" charset="0"/>
              <a:buChar char="•"/>
              <a:defRPr sz="1600"/>
            </a:lvl2pPr>
          </a:lstStyle>
          <a:p>
            <a:pPr lvl="0"/>
            <a:r>
              <a:rPr lang="en-US" smtClean="0"/>
              <a:t>Click to edit Master text styles</a:t>
            </a:r>
          </a:p>
        </p:txBody>
      </p:sp>
      <p:sp>
        <p:nvSpPr>
          <p:cNvPr id="14" name="Slide Number Placeholder 5"/>
          <p:cNvSpPr>
            <a:spLocks noGrp="1"/>
          </p:cNvSpPr>
          <p:nvPr>
            <p:ph type="sldNum" sz="quarter" idx="16"/>
          </p:nvPr>
        </p:nvSpPr>
        <p:spPr>
          <a:xfrm>
            <a:off x="681038" y="6540500"/>
            <a:ext cx="500062" cy="260350"/>
          </a:xfrm>
        </p:spPr>
        <p:txBody>
          <a:bodyPr lIns="0" rIns="0"/>
          <a:lstStyle>
            <a:lvl1pPr>
              <a:defRPr smtClean="0"/>
            </a:lvl1pPr>
          </a:lstStyle>
          <a:p>
            <a:pPr>
              <a:defRPr/>
            </a:pPr>
            <a:fld id="{FD85F615-8FC0-40F7-9179-BD449498FCB9}" type="slidenum">
              <a:rPr lang="en-GB" altLang="es-ES"/>
              <a:pPr>
                <a:defRPr/>
              </a:pPr>
              <a:t>‹#›</a:t>
            </a:fld>
            <a:endParaRPr lang="en-GB" altLang="es-ES"/>
          </a:p>
        </p:txBody>
      </p:sp>
      <p:sp>
        <p:nvSpPr>
          <p:cNvPr id="15" name="Content Placeholder 2"/>
          <p:cNvSpPr>
            <a:spLocks noGrp="1"/>
          </p:cNvSpPr>
          <p:nvPr>
            <p:ph idx="17"/>
          </p:nvPr>
        </p:nvSpPr>
        <p:spPr>
          <a:xfrm>
            <a:off x="681038" y="6199043"/>
            <a:ext cx="5481637" cy="256261"/>
          </a:xfrm>
          <a:prstGeom prst="rect">
            <a:avLst/>
          </a:prstGeom>
        </p:spPr>
        <p:txBody>
          <a:bodyPr lIns="0" tIns="0" rIns="0" bIns="0" anchor="ctr">
            <a:normAutofit/>
          </a:bodyPr>
          <a:lstStyle>
            <a:lvl1pPr marL="0" indent="0">
              <a:buClr>
                <a:schemeClr val="accent1"/>
              </a:buClr>
              <a:buSzPct val="150000"/>
              <a:buNone/>
              <a:defRPr sz="800">
                <a:solidFill>
                  <a:schemeClr val="accent4"/>
                </a:solidFill>
                <a:latin typeface="Arial" panose="020B0604020202020204" pitchFamily="34" charset="0"/>
                <a:cs typeface="Arial" panose="020B0604020202020204" pitchFamily="34" charset="0"/>
              </a:defRPr>
            </a:lvl1pPr>
            <a:lvl2pPr marL="808038" indent="-350838">
              <a:buClr>
                <a:schemeClr val="accent1"/>
              </a:buClr>
              <a:buSzPct val="100000"/>
              <a:buFont typeface="Frutiger" panose="00000400000000000000" pitchFamily="2" charset="0"/>
              <a:buChar char="•"/>
              <a:defRPr sz="1600"/>
            </a:lvl2pPr>
          </a:lstStyle>
          <a:p>
            <a:pPr lvl="0"/>
            <a:r>
              <a:rPr lang="en-US" smtClean="0"/>
              <a:t>Click to edit Master text styles</a:t>
            </a:r>
          </a:p>
        </p:txBody>
      </p:sp>
      <p:pic>
        <p:nvPicPr>
          <p:cNvPr id="16" name="Picture 15"/>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6108124" y="6100763"/>
            <a:ext cx="3356551" cy="592662"/>
          </a:xfrm>
          <a:prstGeom prst="rect">
            <a:avLst/>
          </a:prstGeom>
        </p:spPr>
      </p:pic>
    </p:spTree>
    <p:extLst>
      <p:ext uri="{BB962C8B-B14F-4D97-AF65-F5344CB8AC3E}">
        <p14:creationId xmlns:p14="http://schemas.microsoft.com/office/powerpoint/2010/main" val="2164189581"/>
      </p:ext>
    </p:extLst>
  </p:cSld>
  <p:clrMapOvr>
    <a:masterClrMapping/>
  </p:clrMapOvr>
  <p:transition spd="med">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0_Title and Content">
    <p:spTree>
      <p:nvGrpSpPr>
        <p:cNvPr id="1" name=""/>
        <p:cNvGrpSpPr/>
        <p:nvPr/>
      </p:nvGrpSpPr>
      <p:grpSpPr>
        <a:xfrm>
          <a:off x="0" y="0"/>
          <a:ext cx="0" cy="0"/>
          <a:chOff x="0" y="0"/>
          <a:chExt cx="0" cy="0"/>
        </a:xfrm>
      </p:grpSpPr>
      <p:pic>
        <p:nvPicPr>
          <p:cNvPr id="7" name="Picture 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48362" y="2698603"/>
            <a:ext cx="3276601" cy="3263462"/>
          </a:xfrm>
          <a:prstGeom prst="snip2DiagRect">
            <a:avLst>
              <a:gd name="adj1" fmla="val 0"/>
              <a:gd name="adj2" fmla="val 33403"/>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590675" cy="1276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0" name="Straight Connector 8"/>
          <p:cNvCxnSpPr/>
          <p:nvPr/>
        </p:nvCxnSpPr>
        <p:spPr>
          <a:xfrm>
            <a:off x="681038" y="6176963"/>
            <a:ext cx="8543925" cy="0"/>
          </a:xfrm>
          <a:prstGeom prst="line">
            <a:avLst/>
          </a:prstGeom>
          <a:ln>
            <a:solidFill>
              <a:schemeClr val="accent6"/>
            </a:solidFill>
          </a:ln>
          <a:effectLst/>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1635063" y="512420"/>
            <a:ext cx="7634288" cy="257452"/>
          </a:xfrm>
          <a:prstGeom prst="rect">
            <a:avLst/>
          </a:prstGeom>
        </p:spPr>
        <p:txBody>
          <a:bodyPr anchor="ctr">
            <a:noAutofit/>
          </a:bodyPr>
          <a:lstStyle>
            <a:lvl1pPr>
              <a:defRPr sz="1800" cap="none" baseline="0">
                <a:solidFill>
                  <a:schemeClr val="accent2"/>
                </a:solidFill>
                <a:latin typeface="Arial" panose="020B0604020202020204" pitchFamily="34" charset="0"/>
                <a:cs typeface="Arial" panose="020B0604020202020204" pitchFamily="34" charset="0"/>
              </a:defRPr>
            </a:lvl1pPr>
          </a:lstStyle>
          <a:p>
            <a:r>
              <a:rPr lang="en-US" smtClean="0"/>
              <a:t>Click to edit Master title style</a:t>
            </a:r>
            <a:endParaRPr lang="en-US" dirty="0"/>
          </a:p>
        </p:txBody>
      </p:sp>
      <p:sp>
        <p:nvSpPr>
          <p:cNvPr id="3" name="Content Placeholder 2"/>
          <p:cNvSpPr>
            <a:spLocks noGrp="1"/>
          </p:cNvSpPr>
          <p:nvPr>
            <p:ph idx="1"/>
          </p:nvPr>
        </p:nvSpPr>
        <p:spPr>
          <a:xfrm>
            <a:off x="681038" y="2725445"/>
            <a:ext cx="4618931" cy="3192228"/>
          </a:xfrm>
          <a:prstGeom prst="rect">
            <a:avLst/>
          </a:prstGeom>
        </p:spPr>
        <p:txBody>
          <a:bodyPr lIns="0" tIns="0" rIns="0" bIns="0">
            <a:normAutofit/>
          </a:bodyPr>
          <a:lstStyle>
            <a:lvl1pPr marL="177800" indent="-177800" algn="just">
              <a:spcBef>
                <a:spcPts val="0"/>
              </a:spcBef>
              <a:spcAft>
                <a:spcPts val="600"/>
              </a:spcAft>
              <a:buClr>
                <a:schemeClr val="accent1"/>
              </a:buClr>
              <a:buSzPct val="150000"/>
              <a:defRPr sz="1200">
                <a:solidFill>
                  <a:schemeClr val="accent2"/>
                </a:solidFill>
                <a:latin typeface="Arial" panose="020B0604020202020204" pitchFamily="34" charset="0"/>
                <a:cs typeface="Arial" panose="020B0604020202020204" pitchFamily="34" charset="0"/>
              </a:defRPr>
            </a:lvl1pPr>
            <a:lvl2pPr marL="630238" indent="-173038" algn="just">
              <a:spcBef>
                <a:spcPts val="0"/>
              </a:spcBef>
              <a:spcAft>
                <a:spcPts val="600"/>
              </a:spcAft>
              <a:buClr>
                <a:schemeClr val="accent6"/>
              </a:buClr>
              <a:buSzPct val="100000"/>
              <a:buFont typeface="Frutiger" panose="00000400000000000000" pitchFamily="2" charset="0"/>
              <a:buChar char="•"/>
              <a:defRPr sz="1200">
                <a:solidFill>
                  <a:schemeClr val="accent2"/>
                </a:solidFill>
                <a:latin typeface="Arial" panose="020B0604020202020204" pitchFamily="34" charset="0"/>
                <a:cs typeface="Arial" panose="020B0604020202020204" pitchFamily="34" charset="0"/>
              </a:defRPr>
            </a:lvl2pPr>
          </a:lstStyle>
          <a:p>
            <a:pPr lvl="0"/>
            <a:r>
              <a:rPr lang="en-US" smtClean="0"/>
              <a:t>Click to edit Master text styles</a:t>
            </a:r>
          </a:p>
          <a:p>
            <a:pPr lvl="1"/>
            <a:r>
              <a:rPr lang="en-US" smtClean="0"/>
              <a:t>Second level</a:t>
            </a:r>
          </a:p>
        </p:txBody>
      </p:sp>
      <p:sp>
        <p:nvSpPr>
          <p:cNvPr id="11" name="Content Placeholder 2"/>
          <p:cNvSpPr>
            <a:spLocks noGrp="1"/>
          </p:cNvSpPr>
          <p:nvPr>
            <p:ph idx="13"/>
          </p:nvPr>
        </p:nvSpPr>
        <p:spPr>
          <a:xfrm>
            <a:off x="681037" y="1313354"/>
            <a:ext cx="8543925" cy="1028509"/>
          </a:xfrm>
          <a:prstGeom prst="rect">
            <a:avLst/>
          </a:prstGeom>
        </p:spPr>
        <p:txBody>
          <a:bodyPr lIns="0" tIns="0" rIns="0" bIns="0">
            <a:normAutofit/>
          </a:bodyPr>
          <a:lstStyle>
            <a:lvl1pPr marL="0" indent="0" algn="just">
              <a:lnSpc>
                <a:spcPct val="100000"/>
              </a:lnSpc>
              <a:buClr>
                <a:schemeClr val="accent1"/>
              </a:buClr>
              <a:buSzPct val="150000"/>
              <a:buNone/>
              <a:defRPr sz="1400">
                <a:solidFill>
                  <a:schemeClr val="accent2"/>
                </a:solidFill>
                <a:latin typeface="Arial" panose="020B0604020202020204" pitchFamily="34" charset="0"/>
                <a:cs typeface="Arial" panose="020B0604020202020204" pitchFamily="34" charset="0"/>
              </a:defRPr>
            </a:lvl1pPr>
            <a:lvl2pPr marL="808038" indent="-350838">
              <a:buClr>
                <a:schemeClr val="accent1"/>
              </a:buClr>
              <a:buSzPct val="100000"/>
              <a:buFont typeface="Frutiger" panose="00000400000000000000" pitchFamily="2" charset="0"/>
              <a:buChar char="•"/>
              <a:defRPr sz="1600"/>
            </a:lvl2pPr>
          </a:lstStyle>
          <a:p>
            <a:pPr lvl="0"/>
            <a:r>
              <a:rPr lang="en-US" smtClean="0"/>
              <a:t>Click to edit Master text styles</a:t>
            </a:r>
          </a:p>
        </p:txBody>
      </p:sp>
      <p:sp>
        <p:nvSpPr>
          <p:cNvPr id="14" name="Slide Number Placeholder 5"/>
          <p:cNvSpPr>
            <a:spLocks noGrp="1"/>
          </p:cNvSpPr>
          <p:nvPr>
            <p:ph type="sldNum" sz="quarter" idx="16"/>
          </p:nvPr>
        </p:nvSpPr>
        <p:spPr>
          <a:xfrm>
            <a:off x="681038" y="6540500"/>
            <a:ext cx="500062" cy="260350"/>
          </a:xfrm>
        </p:spPr>
        <p:txBody>
          <a:bodyPr lIns="0" rIns="0"/>
          <a:lstStyle>
            <a:lvl1pPr>
              <a:defRPr smtClean="0"/>
            </a:lvl1pPr>
          </a:lstStyle>
          <a:p>
            <a:pPr>
              <a:defRPr/>
            </a:pPr>
            <a:fld id="{DA48D875-6C92-43D5-A2DB-4F69A7654E8C}" type="slidenum">
              <a:rPr lang="en-GB" altLang="es-ES"/>
              <a:pPr>
                <a:defRPr/>
              </a:pPr>
              <a:t>‹#›</a:t>
            </a:fld>
            <a:endParaRPr lang="en-GB" altLang="es-ES"/>
          </a:p>
        </p:txBody>
      </p:sp>
      <p:sp>
        <p:nvSpPr>
          <p:cNvPr id="15" name="Content Placeholder 2"/>
          <p:cNvSpPr>
            <a:spLocks noGrp="1"/>
          </p:cNvSpPr>
          <p:nvPr>
            <p:ph idx="17"/>
          </p:nvPr>
        </p:nvSpPr>
        <p:spPr>
          <a:xfrm>
            <a:off x="681038" y="6199043"/>
            <a:ext cx="5481637" cy="256261"/>
          </a:xfrm>
          <a:prstGeom prst="rect">
            <a:avLst/>
          </a:prstGeom>
        </p:spPr>
        <p:txBody>
          <a:bodyPr lIns="0" tIns="0" rIns="0" bIns="0" anchor="ctr">
            <a:normAutofit/>
          </a:bodyPr>
          <a:lstStyle>
            <a:lvl1pPr marL="0" indent="0">
              <a:buClr>
                <a:schemeClr val="accent1"/>
              </a:buClr>
              <a:buSzPct val="150000"/>
              <a:buNone/>
              <a:defRPr sz="800">
                <a:solidFill>
                  <a:schemeClr val="accent4"/>
                </a:solidFill>
                <a:latin typeface="Arial" panose="020B0604020202020204" pitchFamily="34" charset="0"/>
                <a:cs typeface="Arial" panose="020B0604020202020204" pitchFamily="34" charset="0"/>
              </a:defRPr>
            </a:lvl1pPr>
            <a:lvl2pPr marL="808038" indent="-350838">
              <a:buClr>
                <a:schemeClr val="accent1"/>
              </a:buClr>
              <a:buSzPct val="100000"/>
              <a:buFont typeface="Frutiger" panose="00000400000000000000" pitchFamily="2" charset="0"/>
              <a:buChar char="•"/>
              <a:defRPr sz="1600"/>
            </a:lvl2pPr>
          </a:lstStyle>
          <a:p>
            <a:pPr lvl="0"/>
            <a:r>
              <a:rPr lang="en-US" smtClean="0"/>
              <a:t>Click to edit Master text styles</a:t>
            </a:r>
          </a:p>
        </p:txBody>
      </p:sp>
      <p:pic>
        <p:nvPicPr>
          <p:cNvPr id="16" name="Picture 15"/>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6108124" y="6100763"/>
            <a:ext cx="3356551" cy="592662"/>
          </a:xfrm>
          <a:prstGeom prst="rect">
            <a:avLst/>
          </a:prstGeom>
        </p:spPr>
      </p:pic>
    </p:spTree>
    <p:extLst>
      <p:ext uri="{BB962C8B-B14F-4D97-AF65-F5344CB8AC3E}">
        <p14:creationId xmlns:p14="http://schemas.microsoft.com/office/powerpoint/2010/main" val="3649504421"/>
      </p:ext>
    </p:extLst>
  </p:cSld>
  <p:clrMapOvr>
    <a:masterClrMapping/>
  </p:clrMapOvr>
  <p:transition spd="med">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ACK COVER">
    <p:spTree>
      <p:nvGrpSpPr>
        <p:cNvPr id="1" name=""/>
        <p:cNvGrpSpPr/>
        <p:nvPr/>
      </p:nvGrpSpPr>
      <p:grpSpPr>
        <a:xfrm>
          <a:off x="0" y="0"/>
          <a:ext cx="0" cy="0"/>
          <a:chOff x="0" y="0"/>
          <a:chExt cx="0" cy="0"/>
        </a:xfrm>
      </p:grpSpPr>
      <p:pic>
        <p:nvPicPr>
          <p:cNvPr id="4" name="Picture 6"/>
          <p:cNvPicPr>
            <a:picLocks noChangeAspect="1"/>
          </p:cNvPicPr>
          <p:nvPr/>
        </p:nvPicPr>
        <p:blipFill>
          <a:blip r:embed="rId2">
            <a:extLst>
              <a:ext uri="{28A0092B-C50C-407E-A947-70E740481C1C}">
                <a14:useLocalDpi xmlns:a14="http://schemas.microsoft.com/office/drawing/2010/main" val="0"/>
              </a:ext>
            </a:extLst>
          </a:blip>
          <a:srcRect t="-2" b="31058"/>
          <a:stretch>
            <a:fillRect/>
          </a:stretch>
        </p:blipFill>
        <p:spPr bwMode="auto">
          <a:xfrm>
            <a:off x="0" y="0"/>
            <a:ext cx="9906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Subtitle 2"/>
          <p:cNvSpPr>
            <a:spLocks noGrp="1"/>
          </p:cNvSpPr>
          <p:nvPr>
            <p:ph type="subTitle" idx="1"/>
          </p:nvPr>
        </p:nvSpPr>
        <p:spPr>
          <a:xfrm>
            <a:off x="1069621" y="2896185"/>
            <a:ext cx="2651774" cy="527499"/>
          </a:xfrm>
          <a:prstGeom prst="rect">
            <a:avLst/>
          </a:prstGeom>
        </p:spPr>
        <p:txBody>
          <a:bodyPr anchor="ctr">
            <a:normAutofit/>
          </a:bodyPr>
          <a:lstStyle>
            <a:lvl1pPr marL="0" indent="0" algn="ctr">
              <a:buNone/>
              <a:defRPr sz="2400" cap="all" baseline="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549449" y="6006120"/>
            <a:ext cx="3356551" cy="592662"/>
          </a:xfrm>
          <a:prstGeom prst="rect">
            <a:avLst/>
          </a:prstGeom>
        </p:spPr>
      </p:pic>
    </p:spTree>
    <p:extLst>
      <p:ext uri="{BB962C8B-B14F-4D97-AF65-F5344CB8AC3E}">
        <p14:creationId xmlns:p14="http://schemas.microsoft.com/office/powerpoint/2010/main" val="583870351"/>
      </p:ext>
    </p:extLst>
  </p:cSld>
  <p:clrMapOvr>
    <a:masterClrMapping/>
  </p:clrMapOvr>
  <p:transition spd="med">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cxnSp>
        <p:nvCxnSpPr>
          <p:cNvPr id="7" name="Straight Connector 8"/>
          <p:cNvCxnSpPr/>
          <p:nvPr/>
        </p:nvCxnSpPr>
        <p:spPr>
          <a:xfrm>
            <a:off x="681038" y="6176963"/>
            <a:ext cx="8543925" cy="0"/>
          </a:xfrm>
          <a:prstGeom prst="line">
            <a:avLst/>
          </a:prstGeom>
          <a:ln>
            <a:solidFill>
              <a:schemeClr val="accent6"/>
            </a:solidFill>
          </a:ln>
          <a:effectLst/>
        </p:spPr>
        <p:style>
          <a:lnRef idx="1">
            <a:schemeClr val="accent1"/>
          </a:lnRef>
          <a:fillRef idx="0">
            <a:schemeClr val="accent1"/>
          </a:fillRef>
          <a:effectRef idx="0">
            <a:schemeClr val="accent1"/>
          </a:effectRef>
          <a:fontRef idx="minor">
            <a:schemeClr val="tx1"/>
          </a:fontRef>
        </p:style>
      </p:cxnSp>
      <p:pic>
        <p:nvPicPr>
          <p:cNvPr id="8" name="Picture 11"/>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590675" cy="1276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txBox="1">
            <a:spLocks/>
          </p:cNvSpPr>
          <p:nvPr/>
        </p:nvSpPr>
        <p:spPr>
          <a:xfrm>
            <a:off x="1635125" y="512763"/>
            <a:ext cx="7634288" cy="257175"/>
          </a:xfrm>
          <a:prstGeom prst="rect">
            <a:avLst/>
          </a:prstGeom>
        </p:spPr>
        <p:txBody>
          <a:bodyPr anchor="ctr"/>
          <a:lstStyle>
            <a:lvl1pPr algn="l" defTabSz="914400" rtl="0" eaLnBrk="1" latinLnBrk="0" hangingPunct="1">
              <a:lnSpc>
                <a:spcPct val="90000"/>
              </a:lnSpc>
              <a:spcBef>
                <a:spcPct val="0"/>
              </a:spcBef>
              <a:buNone/>
              <a:defRPr sz="1800" kern="1200" cap="all" baseline="0">
                <a:solidFill>
                  <a:schemeClr val="accent6"/>
                </a:solidFill>
                <a:latin typeface="+mj-lt"/>
                <a:ea typeface="+mj-ea"/>
                <a:cs typeface="+mj-cs"/>
              </a:defRPr>
            </a:lvl1pPr>
          </a:lstStyle>
          <a:p>
            <a:pPr fontAlgn="auto">
              <a:spcAft>
                <a:spcPts val="0"/>
              </a:spcAft>
              <a:defRPr/>
            </a:pPr>
            <a:r>
              <a:rPr lang="en-US" dirty="0" smtClean="0">
                <a:latin typeface="Arial" panose="020B0604020202020204" pitchFamily="34" charset="0"/>
                <a:cs typeface="Arial" panose="020B0604020202020204" pitchFamily="34" charset="0"/>
              </a:rPr>
              <a:t> </a:t>
            </a:r>
            <a:endParaRPr lang="en-US" dirty="0">
              <a:latin typeface="Arial" panose="020B0604020202020204" pitchFamily="34" charset="0"/>
              <a:cs typeface="Arial" panose="020B0604020202020204" pitchFamily="34" charset="0"/>
            </a:endParaRPr>
          </a:p>
        </p:txBody>
      </p:sp>
      <p:sp>
        <p:nvSpPr>
          <p:cNvPr id="15" name="Content Placeholder 2"/>
          <p:cNvSpPr>
            <a:spLocks noGrp="1"/>
          </p:cNvSpPr>
          <p:nvPr>
            <p:ph idx="13"/>
          </p:nvPr>
        </p:nvSpPr>
        <p:spPr>
          <a:xfrm>
            <a:off x="681037" y="1828800"/>
            <a:ext cx="5175753" cy="1909823"/>
          </a:xfrm>
          <a:prstGeom prst="rect">
            <a:avLst/>
          </a:prstGeom>
        </p:spPr>
        <p:txBody>
          <a:bodyPr lIns="0" tIns="0" rIns="0" bIns="0" anchor="t">
            <a:normAutofit/>
          </a:bodyPr>
          <a:lstStyle>
            <a:lvl1pPr marL="0" indent="0" algn="just">
              <a:spcBef>
                <a:spcPts val="0"/>
              </a:spcBef>
              <a:spcAft>
                <a:spcPts val="1200"/>
              </a:spcAft>
              <a:buClr>
                <a:schemeClr val="accent1"/>
              </a:buClr>
              <a:buSzPct val="150000"/>
              <a:buNone/>
              <a:defRPr sz="1400">
                <a:solidFill>
                  <a:schemeClr val="accent2"/>
                </a:solidFill>
                <a:latin typeface="Arial" panose="020B0604020202020204" pitchFamily="34" charset="0"/>
                <a:cs typeface="Arial" panose="020B0604020202020204" pitchFamily="34" charset="0"/>
              </a:defRPr>
            </a:lvl1pPr>
            <a:lvl2pPr marL="808038" indent="-350838">
              <a:buClr>
                <a:schemeClr val="accent1"/>
              </a:buClr>
              <a:buSzPct val="100000"/>
              <a:buFont typeface="Frutiger" panose="00000400000000000000" pitchFamily="2" charset="0"/>
              <a:buChar char="•"/>
              <a:defRPr sz="1600"/>
            </a:lvl2pPr>
          </a:lstStyle>
          <a:p>
            <a:pPr lvl="0"/>
            <a:r>
              <a:rPr lang="en-US" smtClean="0"/>
              <a:t>Click to edit Master text styles</a:t>
            </a:r>
          </a:p>
        </p:txBody>
      </p:sp>
      <p:sp>
        <p:nvSpPr>
          <p:cNvPr id="17" name="Chart Placeholder 16"/>
          <p:cNvSpPr>
            <a:spLocks noGrp="1"/>
          </p:cNvSpPr>
          <p:nvPr>
            <p:ph type="chart" sz="quarter" idx="16"/>
          </p:nvPr>
        </p:nvSpPr>
        <p:spPr>
          <a:xfrm>
            <a:off x="681038" y="3749675"/>
            <a:ext cx="8543925" cy="2286000"/>
          </a:xfrm>
          <a:prstGeom prst="rect">
            <a:avLst/>
          </a:prstGeom>
        </p:spPr>
        <p:txBody>
          <a:bodyPr>
            <a:normAutofit/>
          </a:bodyPr>
          <a:lstStyle>
            <a:lvl1pPr marL="0" indent="0" algn="just">
              <a:buNone/>
              <a:defRPr sz="1800">
                <a:solidFill>
                  <a:schemeClr val="accent2"/>
                </a:solidFill>
                <a:latin typeface="Arial" panose="020B0604020202020204" pitchFamily="34" charset="0"/>
                <a:cs typeface="Arial" panose="020B0604020202020204" pitchFamily="34" charset="0"/>
              </a:defRPr>
            </a:lvl1pPr>
          </a:lstStyle>
          <a:p>
            <a:pPr lvl="0"/>
            <a:r>
              <a:rPr lang="en-US" noProof="0" dirty="0" smtClean="0"/>
              <a:t>Click icon to add chart</a:t>
            </a:r>
            <a:endParaRPr lang="en-GB" noProof="0" dirty="0"/>
          </a:p>
        </p:txBody>
      </p:sp>
      <p:sp>
        <p:nvSpPr>
          <p:cNvPr id="19" name="Title 1"/>
          <p:cNvSpPr>
            <a:spLocks noGrp="1"/>
          </p:cNvSpPr>
          <p:nvPr>
            <p:ph type="title"/>
          </p:nvPr>
        </p:nvSpPr>
        <p:spPr>
          <a:xfrm>
            <a:off x="1649811" y="507508"/>
            <a:ext cx="7634288" cy="257452"/>
          </a:xfrm>
          <a:prstGeom prst="rect">
            <a:avLst/>
          </a:prstGeom>
        </p:spPr>
        <p:txBody>
          <a:bodyPr anchor="ctr">
            <a:noAutofit/>
          </a:bodyPr>
          <a:lstStyle>
            <a:lvl1pPr>
              <a:defRPr sz="1800" cap="none" baseline="0">
                <a:solidFill>
                  <a:schemeClr val="accent2"/>
                </a:solidFill>
                <a:latin typeface="Arial" panose="020B0604020202020204" pitchFamily="34" charset="0"/>
                <a:cs typeface="Arial" panose="020B0604020202020204" pitchFamily="34" charset="0"/>
              </a:defRPr>
            </a:lvl1pPr>
          </a:lstStyle>
          <a:p>
            <a:r>
              <a:rPr lang="en-US" smtClean="0"/>
              <a:t>Click to edit Master title style</a:t>
            </a:r>
            <a:endParaRPr lang="en-US" dirty="0"/>
          </a:p>
        </p:txBody>
      </p:sp>
      <p:sp>
        <p:nvSpPr>
          <p:cNvPr id="12" name="Slide Number Placeholder 5"/>
          <p:cNvSpPr>
            <a:spLocks noGrp="1"/>
          </p:cNvSpPr>
          <p:nvPr>
            <p:ph type="sldNum" sz="quarter" idx="17"/>
          </p:nvPr>
        </p:nvSpPr>
        <p:spPr>
          <a:xfrm>
            <a:off x="681038" y="6540500"/>
            <a:ext cx="500062" cy="260350"/>
          </a:xfrm>
        </p:spPr>
        <p:txBody>
          <a:bodyPr lIns="0" rIns="0"/>
          <a:lstStyle>
            <a:lvl1pPr>
              <a:defRPr smtClean="0"/>
            </a:lvl1pPr>
          </a:lstStyle>
          <a:p>
            <a:pPr>
              <a:defRPr/>
            </a:pPr>
            <a:fld id="{E0980B91-2EBC-4071-A88B-409FBE536F58}" type="slidenum">
              <a:rPr lang="en-GB" altLang="es-ES"/>
              <a:pPr>
                <a:defRPr/>
              </a:pPr>
              <a:t>‹#›</a:t>
            </a:fld>
            <a:endParaRPr lang="en-GB" altLang="es-ES"/>
          </a:p>
        </p:txBody>
      </p:sp>
      <p:sp>
        <p:nvSpPr>
          <p:cNvPr id="13" name="Content Placeholder 2"/>
          <p:cNvSpPr>
            <a:spLocks noGrp="1"/>
          </p:cNvSpPr>
          <p:nvPr>
            <p:ph idx="18"/>
          </p:nvPr>
        </p:nvSpPr>
        <p:spPr>
          <a:xfrm>
            <a:off x="681038" y="6199043"/>
            <a:ext cx="5481637" cy="256261"/>
          </a:xfrm>
          <a:prstGeom prst="rect">
            <a:avLst/>
          </a:prstGeom>
        </p:spPr>
        <p:txBody>
          <a:bodyPr lIns="0" tIns="0" rIns="0" bIns="0" anchor="ctr">
            <a:normAutofit/>
          </a:bodyPr>
          <a:lstStyle>
            <a:lvl1pPr marL="0" indent="0">
              <a:buClr>
                <a:schemeClr val="accent1"/>
              </a:buClr>
              <a:buSzPct val="150000"/>
              <a:buNone/>
              <a:defRPr sz="800">
                <a:solidFill>
                  <a:schemeClr val="accent4"/>
                </a:solidFill>
                <a:latin typeface="Arial" panose="020B0604020202020204" pitchFamily="34" charset="0"/>
                <a:cs typeface="Arial" panose="020B0604020202020204" pitchFamily="34" charset="0"/>
              </a:defRPr>
            </a:lvl1pPr>
            <a:lvl2pPr marL="808038" indent="-350838">
              <a:buClr>
                <a:schemeClr val="accent1"/>
              </a:buClr>
              <a:buSzPct val="100000"/>
              <a:buFont typeface="Frutiger" panose="00000400000000000000" pitchFamily="2" charset="0"/>
              <a:buChar char="•"/>
              <a:defRPr sz="1600"/>
            </a:lvl2pPr>
          </a:lstStyle>
          <a:p>
            <a:pPr lvl="0"/>
            <a:r>
              <a:rPr lang="en-US" smtClean="0"/>
              <a:t>Click to edit Master text styles</a:t>
            </a:r>
          </a:p>
        </p:txBody>
      </p:sp>
      <p:pic>
        <p:nvPicPr>
          <p:cNvPr id="16" name="Picture 1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108124" y="6100763"/>
            <a:ext cx="3356551" cy="592662"/>
          </a:xfrm>
          <a:prstGeom prst="rect">
            <a:avLst/>
          </a:prstGeom>
        </p:spPr>
      </p:pic>
    </p:spTree>
    <p:extLst>
      <p:ext uri="{BB962C8B-B14F-4D97-AF65-F5344CB8AC3E}">
        <p14:creationId xmlns:p14="http://schemas.microsoft.com/office/powerpoint/2010/main" val="54615679"/>
      </p:ext>
    </p:extLst>
  </p:cSld>
  <p:clrMapOvr>
    <a:masterClrMapping/>
  </p:clrMapOvr>
  <p:transition spd="med">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Section Header CHART">
    <p:spTree>
      <p:nvGrpSpPr>
        <p:cNvPr id="1" name=""/>
        <p:cNvGrpSpPr/>
        <p:nvPr/>
      </p:nvGrpSpPr>
      <p:grpSpPr>
        <a:xfrm>
          <a:off x="0" y="0"/>
          <a:ext cx="0" cy="0"/>
          <a:chOff x="0" y="0"/>
          <a:chExt cx="0" cy="0"/>
        </a:xfrm>
      </p:grpSpPr>
      <p:cxnSp>
        <p:nvCxnSpPr>
          <p:cNvPr id="6" name="Straight Connector 8"/>
          <p:cNvCxnSpPr/>
          <p:nvPr/>
        </p:nvCxnSpPr>
        <p:spPr>
          <a:xfrm>
            <a:off x="681038" y="6176963"/>
            <a:ext cx="8543925" cy="0"/>
          </a:xfrm>
          <a:prstGeom prst="line">
            <a:avLst/>
          </a:prstGeom>
          <a:ln>
            <a:solidFill>
              <a:schemeClr val="accent6"/>
            </a:solidFill>
          </a:ln>
          <a:effectLst/>
        </p:spPr>
        <p:style>
          <a:lnRef idx="1">
            <a:schemeClr val="accent1"/>
          </a:lnRef>
          <a:fillRef idx="0">
            <a:schemeClr val="accent1"/>
          </a:fillRef>
          <a:effectRef idx="0">
            <a:schemeClr val="accent1"/>
          </a:effectRef>
          <a:fontRef idx="minor">
            <a:schemeClr val="tx1"/>
          </a:fontRef>
        </p:style>
      </p:cxnSp>
      <p:pic>
        <p:nvPicPr>
          <p:cNvPr id="7" name="Picture 11"/>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590675" cy="1276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Chart Placeholder 16"/>
          <p:cNvSpPr>
            <a:spLocks noGrp="1"/>
          </p:cNvSpPr>
          <p:nvPr>
            <p:ph type="chart" sz="quarter" idx="16"/>
          </p:nvPr>
        </p:nvSpPr>
        <p:spPr>
          <a:xfrm>
            <a:off x="681038" y="1782501"/>
            <a:ext cx="8543925" cy="4253174"/>
          </a:xfrm>
          <a:prstGeom prst="rect">
            <a:avLst/>
          </a:prstGeom>
        </p:spPr>
        <p:txBody>
          <a:bodyPr>
            <a:normAutofit/>
          </a:bodyPr>
          <a:lstStyle>
            <a:lvl1pPr marL="0" indent="0" algn="just">
              <a:buNone/>
              <a:defRPr sz="1800">
                <a:solidFill>
                  <a:schemeClr val="accent2"/>
                </a:solidFill>
                <a:latin typeface="Arial" panose="020B0604020202020204" pitchFamily="34" charset="0"/>
                <a:cs typeface="Arial" panose="020B0604020202020204" pitchFamily="34" charset="0"/>
              </a:defRPr>
            </a:lvl1pPr>
          </a:lstStyle>
          <a:p>
            <a:pPr lvl="0"/>
            <a:r>
              <a:rPr lang="en-US" noProof="0" dirty="0" smtClean="0"/>
              <a:t>Click icon to add chart</a:t>
            </a:r>
            <a:endParaRPr lang="en-GB" noProof="0" dirty="0"/>
          </a:p>
        </p:txBody>
      </p:sp>
      <p:sp>
        <p:nvSpPr>
          <p:cNvPr id="16" name="Title 1"/>
          <p:cNvSpPr>
            <a:spLocks noGrp="1"/>
          </p:cNvSpPr>
          <p:nvPr>
            <p:ph type="title"/>
          </p:nvPr>
        </p:nvSpPr>
        <p:spPr>
          <a:xfrm>
            <a:off x="1635063" y="512420"/>
            <a:ext cx="7634288" cy="257452"/>
          </a:xfrm>
          <a:prstGeom prst="rect">
            <a:avLst/>
          </a:prstGeom>
        </p:spPr>
        <p:txBody>
          <a:bodyPr anchor="ctr">
            <a:noAutofit/>
          </a:bodyPr>
          <a:lstStyle>
            <a:lvl1pPr>
              <a:defRPr sz="1800" cap="none" baseline="0">
                <a:solidFill>
                  <a:schemeClr val="accent2"/>
                </a:solidFill>
                <a:latin typeface="Arial" panose="020B0604020202020204" pitchFamily="34" charset="0"/>
                <a:cs typeface="Arial" panose="020B0604020202020204" pitchFamily="34" charset="0"/>
              </a:defRPr>
            </a:lvl1pPr>
          </a:lstStyle>
          <a:p>
            <a:r>
              <a:rPr lang="en-US" smtClean="0"/>
              <a:t>Click to edit Master title style</a:t>
            </a:r>
            <a:endParaRPr lang="en-US" dirty="0"/>
          </a:p>
        </p:txBody>
      </p:sp>
      <p:sp>
        <p:nvSpPr>
          <p:cNvPr id="9" name="Slide Number Placeholder 5"/>
          <p:cNvSpPr>
            <a:spLocks noGrp="1"/>
          </p:cNvSpPr>
          <p:nvPr>
            <p:ph type="sldNum" sz="quarter" idx="17"/>
          </p:nvPr>
        </p:nvSpPr>
        <p:spPr>
          <a:xfrm>
            <a:off x="681038" y="6540500"/>
            <a:ext cx="500062" cy="260350"/>
          </a:xfrm>
        </p:spPr>
        <p:txBody>
          <a:bodyPr lIns="0" rIns="0"/>
          <a:lstStyle>
            <a:lvl1pPr>
              <a:defRPr smtClean="0"/>
            </a:lvl1pPr>
          </a:lstStyle>
          <a:p>
            <a:pPr>
              <a:defRPr/>
            </a:pPr>
            <a:fld id="{38E0A284-02BB-4079-990F-068125331309}" type="slidenum">
              <a:rPr lang="en-GB" altLang="es-ES"/>
              <a:pPr>
                <a:defRPr/>
              </a:pPr>
              <a:t>‹#›</a:t>
            </a:fld>
            <a:endParaRPr lang="en-GB" altLang="es-ES"/>
          </a:p>
        </p:txBody>
      </p:sp>
      <p:sp>
        <p:nvSpPr>
          <p:cNvPr id="10" name="Content Placeholder 2"/>
          <p:cNvSpPr>
            <a:spLocks noGrp="1"/>
          </p:cNvSpPr>
          <p:nvPr>
            <p:ph idx="18"/>
          </p:nvPr>
        </p:nvSpPr>
        <p:spPr>
          <a:xfrm>
            <a:off x="681038" y="6199043"/>
            <a:ext cx="5481637" cy="256261"/>
          </a:xfrm>
          <a:prstGeom prst="rect">
            <a:avLst/>
          </a:prstGeom>
        </p:spPr>
        <p:txBody>
          <a:bodyPr lIns="0" tIns="0" rIns="0" bIns="0" anchor="ctr">
            <a:normAutofit/>
          </a:bodyPr>
          <a:lstStyle>
            <a:lvl1pPr marL="0" indent="0">
              <a:buClr>
                <a:schemeClr val="accent1"/>
              </a:buClr>
              <a:buSzPct val="150000"/>
              <a:buNone/>
              <a:defRPr sz="800">
                <a:solidFill>
                  <a:schemeClr val="accent4"/>
                </a:solidFill>
                <a:latin typeface="Arial" panose="020B0604020202020204" pitchFamily="34" charset="0"/>
                <a:cs typeface="Arial" panose="020B0604020202020204" pitchFamily="34" charset="0"/>
              </a:defRPr>
            </a:lvl1pPr>
            <a:lvl2pPr marL="808038" indent="-350838">
              <a:buClr>
                <a:schemeClr val="accent1"/>
              </a:buClr>
              <a:buSzPct val="100000"/>
              <a:buFont typeface="Frutiger" panose="00000400000000000000" pitchFamily="2" charset="0"/>
              <a:buChar char="•"/>
              <a:defRPr sz="1600"/>
            </a:lvl2pPr>
          </a:lstStyle>
          <a:p>
            <a:pPr lvl="0"/>
            <a:r>
              <a:rPr lang="en-US" smtClean="0"/>
              <a:t>Click to edit Master text styles</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108124" y="6100763"/>
            <a:ext cx="3356551" cy="592662"/>
          </a:xfrm>
          <a:prstGeom prst="rect">
            <a:avLst/>
          </a:prstGeom>
        </p:spPr>
      </p:pic>
    </p:spTree>
    <p:extLst>
      <p:ext uri="{BB962C8B-B14F-4D97-AF65-F5344CB8AC3E}">
        <p14:creationId xmlns:p14="http://schemas.microsoft.com/office/powerpoint/2010/main" val="4291298199"/>
      </p:ext>
    </p:extLst>
  </p:cSld>
  <p:clrMapOvr>
    <a:masterClrMapping/>
  </p:clrMapOvr>
  <p:transition spd="med">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Section Header TABLE">
    <p:spTree>
      <p:nvGrpSpPr>
        <p:cNvPr id="1" name=""/>
        <p:cNvGrpSpPr/>
        <p:nvPr/>
      </p:nvGrpSpPr>
      <p:grpSpPr>
        <a:xfrm>
          <a:off x="0" y="0"/>
          <a:ext cx="0" cy="0"/>
          <a:chOff x="0" y="0"/>
          <a:chExt cx="0" cy="0"/>
        </a:xfrm>
      </p:grpSpPr>
      <p:cxnSp>
        <p:nvCxnSpPr>
          <p:cNvPr id="6" name="Straight Connector 8"/>
          <p:cNvCxnSpPr/>
          <p:nvPr/>
        </p:nvCxnSpPr>
        <p:spPr>
          <a:xfrm>
            <a:off x="681038" y="6176963"/>
            <a:ext cx="8543925" cy="0"/>
          </a:xfrm>
          <a:prstGeom prst="line">
            <a:avLst/>
          </a:prstGeom>
          <a:ln>
            <a:solidFill>
              <a:schemeClr val="accent6"/>
            </a:solidFill>
          </a:ln>
          <a:effectLst/>
        </p:spPr>
        <p:style>
          <a:lnRef idx="1">
            <a:schemeClr val="accent1"/>
          </a:lnRef>
          <a:fillRef idx="0">
            <a:schemeClr val="accent1"/>
          </a:fillRef>
          <a:effectRef idx="0">
            <a:schemeClr val="accent1"/>
          </a:effectRef>
          <a:fontRef idx="minor">
            <a:schemeClr val="tx1"/>
          </a:fontRef>
        </p:style>
      </p:cxnSp>
      <p:pic>
        <p:nvPicPr>
          <p:cNvPr id="7" name="Picture 11"/>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590675" cy="1276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able Placeholder 2"/>
          <p:cNvSpPr>
            <a:spLocks noGrp="1"/>
          </p:cNvSpPr>
          <p:nvPr>
            <p:ph type="tbl" sz="quarter" idx="17"/>
          </p:nvPr>
        </p:nvSpPr>
        <p:spPr>
          <a:xfrm>
            <a:off x="681038" y="1782763"/>
            <a:ext cx="8543925" cy="4252912"/>
          </a:xfrm>
          <a:prstGeom prst="rect">
            <a:avLst/>
          </a:prstGeom>
        </p:spPr>
        <p:txBody>
          <a:bodyPr/>
          <a:lstStyle>
            <a:lvl1pPr marL="0" indent="0" algn="just">
              <a:buNone/>
              <a:defRPr sz="1800">
                <a:solidFill>
                  <a:schemeClr val="accent2"/>
                </a:solidFill>
                <a:latin typeface="Arial" panose="020B0604020202020204" pitchFamily="34" charset="0"/>
                <a:cs typeface="Arial" panose="020B0604020202020204" pitchFamily="34" charset="0"/>
              </a:defRPr>
            </a:lvl1pPr>
          </a:lstStyle>
          <a:p>
            <a:pPr lvl="0"/>
            <a:r>
              <a:rPr lang="en-US" noProof="0" dirty="0" smtClean="0"/>
              <a:t>Click icon to add table</a:t>
            </a:r>
            <a:endParaRPr lang="en-GB" noProof="0" dirty="0"/>
          </a:p>
        </p:txBody>
      </p:sp>
      <p:sp>
        <p:nvSpPr>
          <p:cNvPr id="18" name="Title 1"/>
          <p:cNvSpPr>
            <a:spLocks noGrp="1"/>
          </p:cNvSpPr>
          <p:nvPr>
            <p:ph type="title"/>
          </p:nvPr>
        </p:nvSpPr>
        <p:spPr>
          <a:xfrm>
            <a:off x="1635063" y="512420"/>
            <a:ext cx="7634288" cy="257452"/>
          </a:xfrm>
          <a:prstGeom prst="rect">
            <a:avLst/>
          </a:prstGeom>
        </p:spPr>
        <p:txBody>
          <a:bodyPr anchor="ctr">
            <a:noAutofit/>
          </a:bodyPr>
          <a:lstStyle>
            <a:lvl1pPr>
              <a:defRPr sz="1800" cap="none" baseline="0">
                <a:solidFill>
                  <a:schemeClr val="accent2"/>
                </a:solidFill>
                <a:latin typeface="Arial" panose="020B0604020202020204" pitchFamily="34" charset="0"/>
                <a:cs typeface="Arial" panose="020B0604020202020204" pitchFamily="34" charset="0"/>
              </a:defRPr>
            </a:lvl1pPr>
          </a:lstStyle>
          <a:p>
            <a:r>
              <a:rPr lang="en-US" smtClean="0"/>
              <a:t>Click to edit Master title style</a:t>
            </a:r>
            <a:endParaRPr lang="en-US" dirty="0"/>
          </a:p>
        </p:txBody>
      </p:sp>
      <p:sp>
        <p:nvSpPr>
          <p:cNvPr id="9" name="Slide Number Placeholder 5"/>
          <p:cNvSpPr>
            <a:spLocks noGrp="1"/>
          </p:cNvSpPr>
          <p:nvPr>
            <p:ph type="sldNum" sz="quarter" idx="18"/>
          </p:nvPr>
        </p:nvSpPr>
        <p:spPr>
          <a:xfrm>
            <a:off x="681038" y="6540500"/>
            <a:ext cx="500062" cy="260350"/>
          </a:xfrm>
        </p:spPr>
        <p:txBody>
          <a:bodyPr lIns="0" rIns="0"/>
          <a:lstStyle>
            <a:lvl1pPr>
              <a:defRPr smtClean="0"/>
            </a:lvl1pPr>
          </a:lstStyle>
          <a:p>
            <a:pPr>
              <a:defRPr/>
            </a:pPr>
            <a:fld id="{86621A75-E92B-49D8-AA56-E3C97AA8023E}" type="slidenum">
              <a:rPr lang="en-GB" altLang="es-ES"/>
              <a:pPr>
                <a:defRPr/>
              </a:pPr>
              <a:t>‹#›</a:t>
            </a:fld>
            <a:endParaRPr lang="en-GB" altLang="es-ES"/>
          </a:p>
        </p:txBody>
      </p:sp>
      <p:sp>
        <p:nvSpPr>
          <p:cNvPr id="10" name="Content Placeholder 2"/>
          <p:cNvSpPr>
            <a:spLocks noGrp="1"/>
          </p:cNvSpPr>
          <p:nvPr>
            <p:ph idx="16"/>
          </p:nvPr>
        </p:nvSpPr>
        <p:spPr>
          <a:xfrm>
            <a:off x="681038" y="6199043"/>
            <a:ext cx="5481637" cy="256261"/>
          </a:xfrm>
          <a:prstGeom prst="rect">
            <a:avLst/>
          </a:prstGeom>
        </p:spPr>
        <p:txBody>
          <a:bodyPr lIns="0" tIns="0" rIns="0" bIns="0" anchor="ctr">
            <a:normAutofit/>
          </a:bodyPr>
          <a:lstStyle>
            <a:lvl1pPr marL="0" indent="0">
              <a:buClr>
                <a:schemeClr val="accent1"/>
              </a:buClr>
              <a:buSzPct val="150000"/>
              <a:buNone/>
              <a:defRPr sz="800">
                <a:solidFill>
                  <a:schemeClr val="accent4"/>
                </a:solidFill>
                <a:latin typeface="Arial" panose="020B0604020202020204" pitchFamily="34" charset="0"/>
                <a:cs typeface="Arial" panose="020B0604020202020204" pitchFamily="34" charset="0"/>
              </a:defRPr>
            </a:lvl1pPr>
            <a:lvl2pPr marL="808038" indent="-350838">
              <a:buClr>
                <a:schemeClr val="accent1"/>
              </a:buClr>
              <a:buSzPct val="100000"/>
              <a:buFont typeface="Frutiger" panose="00000400000000000000" pitchFamily="2" charset="0"/>
              <a:buChar char="•"/>
              <a:defRPr sz="1600"/>
            </a:lvl2pPr>
          </a:lstStyle>
          <a:p>
            <a:pPr lvl="0"/>
            <a:r>
              <a:rPr lang="en-US" smtClean="0"/>
              <a:t>Click to edit Master text styles</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108124" y="6100763"/>
            <a:ext cx="3356551" cy="592662"/>
          </a:xfrm>
          <a:prstGeom prst="rect">
            <a:avLst/>
          </a:prstGeom>
        </p:spPr>
      </p:pic>
    </p:spTree>
    <p:extLst>
      <p:ext uri="{BB962C8B-B14F-4D97-AF65-F5344CB8AC3E}">
        <p14:creationId xmlns:p14="http://schemas.microsoft.com/office/powerpoint/2010/main" val="3611514413"/>
      </p:ext>
    </p:extLst>
  </p:cSld>
  <p:clrMapOvr>
    <a:masterClrMapping/>
  </p:clrMapOvr>
  <p:transition spd="med">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Only MAP RED">
    <p:spTree>
      <p:nvGrpSpPr>
        <p:cNvPr id="1" name=""/>
        <p:cNvGrpSpPr/>
        <p:nvPr/>
      </p:nvGrpSpPr>
      <p:grpSpPr>
        <a:xfrm>
          <a:off x="0" y="0"/>
          <a:ext cx="0" cy="0"/>
          <a:chOff x="0" y="0"/>
          <a:chExt cx="0" cy="0"/>
        </a:xfrm>
      </p:grpSpPr>
      <p:cxnSp>
        <p:nvCxnSpPr>
          <p:cNvPr id="5" name="Straight Connector 6"/>
          <p:cNvCxnSpPr/>
          <p:nvPr/>
        </p:nvCxnSpPr>
        <p:spPr>
          <a:xfrm>
            <a:off x="681038" y="6176963"/>
            <a:ext cx="8543925" cy="0"/>
          </a:xfrm>
          <a:prstGeom prst="line">
            <a:avLst/>
          </a:prstGeom>
          <a:ln>
            <a:solidFill>
              <a:schemeClr val="accent6"/>
            </a:solidFill>
          </a:ln>
          <a:effectLst/>
        </p:spPr>
        <p:style>
          <a:lnRef idx="1">
            <a:schemeClr val="accent1"/>
          </a:lnRef>
          <a:fillRef idx="0">
            <a:schemeClr val="accent1"/>
          </a:fillRef>
          <a:effectRef idx="0">
            <a:schemeClr val="accent1"/>
          </a:effectRef>
          <a:fontRef idx="minor">
            <a:schemeClr val="tx1"/>
          </a:fontRef>
        </p:style>
      </p:cxnSp>
      <p:pic>
        <p:nvPicPr>
          <p:cNvPr id="6" name="Picture 9"/>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590675" cy="1276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12"/>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31825" y="1417638"/>
            <a:ext cx="8593138" cy="4568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itle 1"/>
          <p:cNvSpPr>
            <a:spLocks noGrp="1"/>
          </p:cNvSpPr>
          <p:nvPr>
            <p:ph type="title"/>
          </p:nvPr>
        </p:nvSpPr>
        <p:spPr>
          <a:xfrm>
            <a:off x="1635063" y="512420"/>
            <a:ext cx="7634288" cy="257452"/>
          </a:xfrm>
          <a:prstGeom prst="rect">
            <a:avLst/>
          </a:prstGeom>
        </p:spPr>
        <p:txBody>
          <a:bodyPr anchor="ctr">
            <a:noAutofit/>
          </a:bodyPr>
          <a:lstStyle>
            <a:lvl1pPr>
              <a:defRPr sz="1800" cap="none" baseline="0">
                <a:solidFill>
                  <a:schemeClr val="accent2"/>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
        <p:nvSpPr>
          <p:cNvPr id="10" name="Slide Number Placeholder 5"/>
          <p:cNvSpPr>
            <a:spLocks noGrp="1"/>
          </p:cNvSpPr>
          <p:nvPr>
            <p:ph type="sldNum" sz="quarter" idx="16"/>
          </p:nvPr>
        </p:nvSpPr>
        <p:spPr>
          <a:xfrm>
            <a:off x="681038" y="6540500"/>
            <a:ext cx="500062" cy="260350"/>
          </a:xfrm>
        </p:spPr>
        <p:txBody>
          <a:bodyPr lIns="0" rIns="0"/>
          <a:lstStyle>
            <a:lvl1pPr>
              <a:defRPr smtClean="0"/>
            </a:lvl1pPr>
          </a:lstStyle>
          <a:p>
            <a:pPr>
              <a:defRPr/>
            </a:pPr>
            <a:fld id="{2EC7B916-E38F-432A-A6F9-F44BCDD64D91}" type="slidenum">
              <a:rPr lang="en-GB" altLang="es-ES"/>
              <a:pPr>
                <a:defRPr/>
              </a:pPr>
              <a:t>‹#›</a:t>
            </a:fld>
            <a:endParaRPr lang="en-GB" altLang="es-ES"/>
          </a:p>
        </p:txBody>
      </p:sp>
      <p:sp>
        <p:nvSpPr>
          <p:cNvPr id="13" name="Content Placeholder 2"/>
          <p:cNvSpPr>
            <a:spLocks noGrp="1"/>
          </p:cNvSpPr>
          <p:nvPr>
            <p:ph idx="17"/>
          </p:nvPr>
        </p:nvSpPr>
        <p:spPr>
          <a:xfrm>
            <a:off x="681038" y="6199043"/>
            <a:ext cx="5481637" cy="256261"/>
          </a:xfrm>
          <a:prstGeom prst="rect">
            <a:avLst/>
          </a:prstGeom>
        </p:spPr>
        <p:txBody>
          <a:bodyPr lIns="0" tIns="0" rIns="0" bIns="0" anchor="ctr">
            <a:normAutofit/>
          </a:bodyPr>
          <a:lstStyle>
            <a:lvl1pPr>
              <a:defRPr lang="en-US" sz="800" smtClean="0">
                <a:solidFill>
                  <a:schemeClr val="accent4"/>
                </a:solidFill>
                <a:latin typeface="Arial" panose="020B0604020202020204" pitchFamily="34" charset="0"/>
                <a:cs typeface="Arial" panose="020B0604020202020204" pitchFamily="34" charset="0"/>
              </a:defRPr>
            </a:lvl1pPr>
          </a:lstStyle>
          <a:p>
            <a:pPr marL="0" lvl="0" indent="0">
              <a:buClr>
                <a:schemeClr val="accent1"/>
              </a:buClr>
              <a:buSzPct val="150000"/>
              <a:buNone/>
            </a:pPr>
            <a:r>
              <a:rPr lang="en-US" smtClean="0"/>
              <a:t>Click to edit Master text styles</a:t>
            </a:r>
          </a:p>
        </p:txBody>
      </p:sp>
      <p:pic>
        <p:nvPicPr>
          <p:cNvPr id="14" name="Picture 1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6108124" y="6100763"/>
            <a:ext cx="3356551" cy="592662"/>
          </a:xfrm>
          <a:prstGeom prst="rect">
            <a:avLst/>
          </a:prstGeom>
        </p:spPr>
      </p:pic>
    </p:spTree>
    <p:extLst>
      <p:ext uri="{BB962C8B-B14F-4D97-AF65-F5344CB8AC3E}">
        <p14:creationId xmlns:p14="http://schemas.microsoft.com/office/powerpoint/2010/main" val="2378266114"/>
      </p:ext>
    </p:extLst>
  </p:cSld>
  <p:clrMapOvr>
    <a:masterClrMapping/>
  </p:clrMapOvr>
  <p:transition spd="med">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Title Only MAP GREY">
    <p:spTree>
      <p:nvGrpSpPr>
        <p:cNvPr id="1" name=""/>
        <p:cNvGrpSpPr/>
        <p:nvPr/>
      </p:nvGrpSpPr>
      <p:grpSpPr>
        <a:xfrm>
          <a:off x="0" y="0"/>
          <a:ext cx="0" cy="0"/>
          <a:chOff x="0" y="0"/>
          <a:chExt cx="0" cy="0"/>
        </a:xfrm>
      </p:grpSpPr>
      <p:cxnSp>
        <p:nvCxnSpPr>
          <p:cNvPr id="5" name="Straight Connector 6"/>
          <p:cNvCxnSpPr/>
          <p:nvPr/>
        </p:nvCxnSpPr>
        <p:spPr>
          <a:xfrm>
            <a:off x="681038" y="6176963"/>
            <a:ext cx="8543925" cy="0"/>
          </a:xfrm>
          <a:prstGeom prst="line">
            <a:avLst/>
          </a:prstGeom>
          <a:ln>
            <a:solidFill>
              <a:schemeClr val="accent6"/>
            </a:solidFill>
          </a:ln>
          <a:effectLst/>
        </p:spPr>
        <p:style>
          <a:lnRef idx="1">
            <a:schemeClr val="accent1"/>
          </a:lnRef>
          <a:fillRef idx="0">
            <a:schemeClr val="accent1"/>
          </a:fillRef>
          <a:effectRef idx="0">
            <a:schemeClr val="accent1"/>
          </a:effectRef>
          <a:fontRef idx="minor">
            <a:schemeClr val="tx1"/>
          </a:fontRef>
        </p:style>
      </p:cxnSp>
      <p:pic>
        <p:nvPicPr>
          <p:cNvPr id="6" name="Picture 9"/>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590675" cy="1276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12"/>
          <p:cNvPicPr>
            <a:picLocks noChangeAspect="1"/>
          </p:cNvPicPr>
          <p:nvPr/>
        </p:nvPicPr>
        <p:blipFill>
          <a:blip r:embed="rId3">
            <a:grayscl/>
            <a:extLst>
              <a:ext uri="{28A0092B-C50C-407E-A947-70E740481C1C}">
                <a14:useLocalDpi xmlns:a14="http://schemas.microsoft.com/office/drawing/2010/main" val="0"/>
              </a:ext>
            </a:extLst>
          </a:blip>
          <a:srcRect/>
          <a:stretch>
            <a:fillRect/>
          </a:stretch>
        </p:blipFill>
        <p:spPr bwMode="auto">
          <a:xfrm>
            <a:off x="631825" y="1417638"/>
            <a:ext cx="8593138" cy="4568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itle 1"/>
          <p:cNvSpPr>
            <a:spLocks noGrp="1"/>
          </p:cNvSpPr>
          <p:nvPr>
            <p:ph type="title"/>
          </p:nvPr>
        </p:nvSpPr>
        <p:spPr>
          <a:xfrm>
            <a:off x="1635063" y="512420"/>
            <a:ext cx="7634288" cy="257452"/>
          </a:xfrm>
          <a:prstGeom prst="rect">
            <a:avLst/>
          </a:prstGeom>
        </p:spPr>
        <p:txBody>
          <a:bodyPr anchor="ctr">
            <a:noAutofit/>
          </a:bodyPr>
          <a:lstStyle>
            <a:lvl1pPr>
              <a:defRPr sz="1800" cap="none" baseline="0">
                <a:solidFill>
                  <a:schemeClr val="accent2"/>
                </a:solidFill>
                <a:latin typeface="Arial" panose="020B0604020202020204" pitchFamily="34" charset="0"/>
                <a:cs typeface="Arial" panose="020B0604020202020204" pitchFamily="34" charset="0"/>
              </a:defRPr>
            </a:lvl1pPr>
          </a:lstStyle>
          <a:p>
            <a:r>
              <a:rPr lang="en-US" smtClean="0"/>
              <a:t>Click to edit Master title style</a:t>
            </a:r>
            <a:endParaRPr lang="en-US" dirty="0"/>
          </a:p>
        </p:txBody>
      </p:sp>
      <p:sp>
        <p:nvSpPr>
          <p:cNvPr id="10" name="Slide Number Placeholder 5"/>
          <p:cNvSpPr>
            <a:spLocks noGrp="1"/>
          </p:cNvSpPr>
          <p:nvPr>
            <p:ph type="sldNum" sz="quarter" idx="16"/>
          </p:nvPr>
        </p:nvSpPr>
        <p:spPr>
          <a:xfrm>
            <a:off x="681038" y="6540500"/>
            <a:ext cx="500062" cy="260350"/>
          </a:xfrm>
        </p:spPr>
        <p:txBody>
          <a:bodyPr lIns="0" rIns="0"/>
          <a:lstStyle>
            <a:lvl1pPr>
              <a:defRPr smtClean="0"/>
            </a:lvl1pPr>
          </a:lstStyle>
          <a:p>
            <a:pPr>
              <a:defRPr/>
            </a:pPr>
            <a:fld id="{C9D3953E-8F6C-4E68-AF9F-A6685F64DE96}" type="slidenum">
              <a:rPr lang="en-GB" altLang="es-ES"/>
              <a:pPr>
                <a:defRPr/>
              </a:pPr>
              <a:t>‹#›</a:t>
            </a:fld>
            <a:endParaRPr lang="en-GB" altLang="es-ES"/>
          </a:p>
        </p:txBody>
      </p:sp>
      <p:sp>
        <p:nvSpPr>
          <p:cNvPr id="13" name="Content Placeholder 2"/>
          <p:cNvSpPr>
            <a:spLocks noGrp="1"/>
          </p:cNvSpPr>
          <p:nvPr>
            <p:ph idx="17"/>
          </p:nvPr>
        </p:nvSpPr>
        <p:spPr>
          <a:xfrm>
            <a:off x="681038" y="6199043"/>
            <a:ext cx="5481637" cy="256261"/>
          </a:xfrm>
          <a:prstGeom prst="rect">
            <a:avLst/>
          </a:prstGeom>
        </p:spPr>
        <p:txBody>
          <a:bodyPr lIns="0" tIns="0" rIns="0" bIns="0" anchor="ctr">
            <a:normAutofit/>
          </a:bodyPr>
          <a:lstStyle>
            <a:lvl1pPr>
              <a:defRPr lang="en-US" sz="800" smtClean="0">
                <a:solidFill>
                  <a:schemeClr val="accent4"/>
                </a:solidFill>
                <a:latin typeface="Arial" panose="020B0604020202020204" pitchFamily="34" charset="0"/>
                <a:cs typeface="Arial" panose="020B0604020202020204" pitchFamily="34" charset="0"/>
              </a:defRPr>
            </a:lvl1pPr>
          </a:lstStyle>
          <a:p>
            <a:pPr marL="0" lvl="0" indent="0">
              <a:buClr>
                <a:schemeClr val="accent1"/>
              </a:buClr>
              <a:buSzPct val="150000"/>
              <a:buNone/>
            </a:pPr>
            <a:r>
              <a:rPr lang="en-US" smtClean="0"/>
              <a:t>Click to edit Master text styles</a:t>
            </a:r>
          </a:p>
        </p:txBody>
      </p:sp>
      <p:pic>
        <p:nvPicPr>
          <p:cNvPr id="14" name="Picture 1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6108124" y="6100763"/>
            <a:ext cx="3356551" cy="592662"/>
          </a:xfrm>
          <a:prstGeom prst="rect">
            <a:avLst/>
          </a:prstGeom>
        </p:spPr>
      </p:pic>
    </p:spTree>
    <p:extLst>
      <p:ext uri="{BB962C8B-B14F-4D97-AF65-F5344CB8AC3E}">
        <p14:creationId xmlns:p14="http://schemas.microsoft.com/office/powerpoint/2010/main" val="1798751117"/>
      </p:ext>
    </p:extLst>
  </p:cSld>
  <p:clrMapOvr>
    <a:masterClrMapping/>
  </p:clrMapOvr>
  <p:transition spd="med">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_Title Only MAP BLUE">
    <p:spTree>
      <p:nvGrpSpPr>
        <p:cNvPr id="1" name=""/>
        <p:cNvGrpSpPr/>
        <p:nvPr/>
      </p:nvGrpSpPr>
      <p:grpSpPr>
        <a:xfrm>
          <a:off x="0" y="0"/>
          <a:ext cx="0" cy="0"/>
          <a:chOff x="0" y="0"/>
          <a:chExt cx="0" cy="0"/>
        </a:xfrm>
      </p:grpSpPr>
      <p:cxnSp>
        <p:nvCxnSpPr>
          <p:cNvPr id="5" name="Straight Connector 6"/>
          <p:cNvCxnSpPr/>
          <p:nvPr/>
        </p:nvCxnSpPr>
        <p:spPr>
          <a:xfrm>
            <a:off x="681038" y="6176963"/>
            <a:ext cx="8543925" cy="0"/>
          </a:xfrm>
          <a:prstGeom prst="line">
            <a:avLst/>
          </a:prstGeom>
          <a:ln>
            <a:solidFill>
              <a:schemeClr val="accent6"/>
            </a:solidFill>
          </a:ln>
          <a:effectLst/>
        </p:spPr>
        <p:style>
          <a:lnRef idx="1">
            <a:schemeClr val="accent1"/>
          </a:lnRef>
          <a:fillRef idx="0">
            <a:schemeClr val="accent1"/>
          </a:fillRef>
          <a:effectRef idx="0">
            <a:schemeClr val="accent1"/>
          </a:effectRef>
          <a:fontRef idx="minor">
            <a:schemeClr val="tx1"/>
          </a:fontRef>
        </p:style>
      </p:cxnSp>
      <p:pic>
        <p:nvPicPr>
          <p:cNvPr id="6" name="Picture 9"/>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590675" cy="1276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12"/>
          <p:cNvPicPr>
            <a:picLocks noChangeAspect="1"/>
          </p:cNvPicPr>
          <p:nvPr/>
        </p:nvPicPr>
        <p:blipFill>
          <a:blip r:embed="rId3">
            <a:duotone>
              <a:schemeClr val="accent3">
                <a:shade val="45000"/>
                <a:satMod val="135000"/>
              </a:schemeClr>
              <a:prstClr val="white"/>
            </a:duotone>
          </a:blip>
          <a:stretch>
            <a:fillRect/>
          </a:stretch>
        </p:blipFill>
        <p:spPr>
          <a:xfrm>
            <a:off x="632137" y="1417219"/>
            <a:ext cx="8592826" cy="4568481"/>
          </a:xfrm>
          <a:prstGeom prst="rect">
            <a:avLst/>
          </a:prstGeom>
        </p:spPr>
      </p:pic>
      <p:sp>
        <p:nvSpPr>
          <p:cNvPr id="11" name="Title 1"/>
          <p:cNvSpPr>
            <a:spLocks noGrp="1"/>
          </p:cNvSpPr>
          <p:nvPr>
            <p:ph type="title"/>
          </p:nvPr>
        </p:nvSpPr>
        <p:spPr>
          <a:xfrm>
            <a:off x="1635063" y="512420"/>
            <a:ext cx="7634288" cy="257452"/>
          </a:xfrm>
          <a:prstGeom prst="rect">
            <a:avLst/>
          </a:prstGeom>
        </p:spPr>
        <p:txBody>
          <a:bodyPr anchor="ctr">
            <a:noAutofit/>
          </a:bodyPr>
          <a:lstStyle>
            <a:lvl1pPr>
              <a:defRPr sz="1800" cap="none" baseline="0">
                <a:solidFill>
                  <a:schemeClr val="accent2"/>
                </a:solidFill>
                <a:latin typeface="Arial" panose="020B0604020202020204" pitchFamily="34" charset="0"/>
                <a:cs typeface="Arial" panose="020B0604020202020204" pitchFamily="34" charset="0"/>
              </a:defRPr>
            </a:lvl1pPr>
          </a:lstStyle>
          <a:p>
            <a:r>
              <a:rPr lang="en-US" smtClean="0"/>
              <a:t>Click to edit Master title style</a:t>
            </a:r>
            <a:endParaRPr lang="en-US" dirty="0"/>
          </a:p>
        </p:txBody>
      </p:sp>
      <p:sp>
        <p:nvSpPr>
          <p:cNvPr id="10" name="Slide Number Placeholder 5"/>
          <p:cNvSpPr>
            <a:spLocks noGrp="1"/>
          </p:cNvSpPr>
          <p:nvPr>
            <p:ph type="sldNum" sz="quarter" idx="16"/>
          </p:nvPr>
        </p:nvSpPr>
        <p:spPr>
          <a:xfrm>
            <a:off x="681038" y="6540500"/>
            <a:ext cx="500062" cy="260350"/>
          </a:xfrm>
        </p:spPr>
        <p:txBody>
          <a:bodyPr lIns="0" rIns="0"/>
          <a:lstStyle>
            <a:lvl1pPr>
              <a:defRPr smtClean="0"/>
            </a:lvl1pPr>
          </a:lstStyle>
          <a:p>
            <a:pPr>
              <a:defRPr/>
            </a:pPr>
            <a:fld id="{1744D9C9-A47C-482A-B8FC-DF7E3DC0A190}" type="slidenum">
              <a:rPr lang="en-GB" altLang="es-ES"/>
              <a:pPr>
                <a:defRPr/>
              </a:pPr>
              <a:t>‹#›</a:t>
            </a:fld>
            <a:endParaRPr lang="en-GB" altLang="es-ES"/>
          </a:p>
        </p:txBody>
      </p:sp>
      <p:sp>
        <p:nvSpPr>
          <p:cNvPr id="13" name="Content Placeholder 2"/>
          <p:cNvSpPr>
            <a:spLocks noGrp="1"/>
          </p:cNvSpPr>
          <p:nvPr>
            <p:ph idx="17"/>
          </p:nvPr>
        </p:nvSpPr>
        <p:spPr>
          <a:xfrm>
            <a:off x="681038" y="6199043"/>
            <a:ext cx="5481637" cy="256261"/>
          </a:xfrm>
          <a:prstGeom prst="rect">
            <a:avLst/>
          </a:prstGeom>
        </p:spPr>
        <p:txBody>
          <a:bodyPr lIns="0" tIns="0" rIns="0" bIns="0" anchor="ctr">
            <a:normAutofit/>
          </a:bodyPr>
          <a:lstStyle>
            <a:lvl1pPr>
              <a:defRPr lang="en-US" sz="800" smtClean="0">
                <a:solidFill>
                  <a:schemeClr val="accent4"/>
                </a:solidFill>
                <a:latin typeface="Arial" panose="020B0604020202020204" pitchFamily="34" charset="0"/>
                <a:cs typeface="Arial" panose="020B0604020202020204" pitchFamily="34" charset="0"/>
              </a:defRPr>
            </a:lvl1pPr>
          </a:lstStyle>
          <a:p>
            <a:pPr marL="0" lvl="0" indent="0">
              <a:buClr>
                <a:schemeClr val="accent1"/>
              </a:buClr>
              <a:buSzPct val="150000"/>
              <a:buNone/>
            </a:pPr>
            <a:r>
              <a:rPr lang="en-US" smtClean="0"/>
              <a:t>Click to edit Master text styles</a:t>
            </a:r>
          </a:p>
        </p:txBody>
      </p:sp>
      <p:pic>
        <p:nvPicPr>
          <p:cNvPr id="14" name="Picture 1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6108124" y="6100763"/>
            <a:ext cx="3356551" cy="592662"/>
          </a:xfrm>
          <a:prstGeom prst="rect">
            <a:avLst/>
          </a:prstGeom>
        </p:spPr>
      </p:pic>
    </p:spTree>
    <p:extLst>
      <p:ext uri="{BB962C8B-B14F-4D97-AF65-F5344CB8AC3E}">
        <p14:creationId xmlns:p14="http://schemas.microsoft.com/office/powerpoint/2010/main" val="3747013116"/>
      </p:ext>
    </p:extLst>
  </p:cSld>
  <p:clrMapOvr>
    <a:masterClrMapping/>
  </p:clrMapOvr>
  <p:transition spd="med">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5" name="Straight Connector 5"/>
          <p:cNvCxnSpPr/>
          <p:nvPr/>
        </p:nvCxnSpPr>
        <p:spPr>
          <a:xfrm>
            <a:off x="681038" y="6176963"/>
            <a:ext cx="8543925" cy="0"/>
          </a:xfrm>
          <a:prstGeom prst="line">
            <a:avLst/>
          </a:prstGeom>
          <a:ln>
            <a:solidFill>
              <a:schemeClr val="accent6"/>
            </a:solidFill>
          </a:ln>
          <a:effectLst/>
        </p:spPr>
        <p:style>
          <a:lnRef idx="1">
            <a:schemeClr val="accent1"/>
          </a:lnRef>
          <a:fillRef idx="0">
            <a:schemeClr val="accent1"/>
          </a:fillRef>
          <a:effectRef idx="0">
            <a:schemeClr val="accent1"/>
          </a:effectRef>
          <a:fontRef idx="minor">
            <a:schemeClr val="tx1"/>
          </a:fontRef>
        </p:style>
      </p:cxnSp>
      <p:pic>
        <p:nvPicPr>
          <p:cNvPr id="6" name="Picture 8"/>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590675" cy="1276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1635063" y="512420"/>
            <a:ext cx="7634288" cy="257452"/>
          </a:xfrm>
          <a:prstGeom prst="rect">
            <a:avLst/>
          </a:prstGeom>
        </p:spPr>
        <p:txBody>
          <a:bodyPr anchor="ctr">
            <a:noAutofit/>
          </a:bodyPr>
          <a:lstStyle>
            <a:lvl1pPr>
              <a:defRPr sz="1800" cap="none" baseline="0">
                <a:solidFill>
                  <a:schemeClr val="accent2"/>
                </a:solidFill>
                <a:latin typeface="Arial" panose="020B0604020202020204" pitchFamily="34" charset="0"/>
                <a:cs typeface="Arial" panose="020B0604020202020204" pitchFamily="34" charset="0"/>
              </a:defRPr>
            </a:lvl1pPr>
          </a:lstStyle>
          <a:p>
            <a:r>
              <a:rPr lang="en-US" smtClean="0"/>
              <a:t>Click to edit Master title style</a:t>
            </a:r>
            <a:endParaRPr lang="en-US" dirty="0"/>
          </a:p>
        </p:txBody>
      </p:sp>
      <p:sp>
        <p:nvSpPr>
          <p:cNvPr id="9" name="Slide Number Placeholder 5"/>
          <p:cNvSpPr>
            <a:spLocks noGrp="1"/>
          </p:cNvSpPr>
          <p:nvPr>
            <p:ph type="sldNum" sz="quarter" idx="16"/>
          </p:nvPr>
        </p:nvSpPr>
        <p:spPr>
          <a:xfrm>
            <a:off x="681038" y="6540500"/>
            <a:ext cx="500062" cy="260350"/>
          </a:xfrm>
        </p:spPr>
        <p:txBody>
          <a:bodyPr lIns="0" rIns="0"/>
          <a:lstStyle>
            <a:lvl1pPr>
              <a:defRPr smtClean="0"/>
            </a:lvl1pPr>
          </a:lstStyle>
          <a:p>
            <a:pPr>
              <a:defRPr/>
            </a:pPr>
            <a:fld id="{045BCC0E-CA81-4A61-BA75-ED57FFE4E838}" type="slidenum">
              <a:rPr lang="en-GB" altLang="es-ES"/>
              <a:pPr>
                <a:defRPr/>
              </a:pPr>
              <a:t>‹#›</a:t>
            </a:fld>
            <a:endParaRPr lang="en-GB" altLang="es-ES"/>
          </a:p>
        </p:txBody>
      </p:sp>
      <p:sp>
        <p:nvSpPr>
          <p:cNvPr id="12" name="Content Placeholder 2"/>
          <p:cNvSpPr>
            <a:spLocks noGrp="1"/>
          </p:cNvSpPr>
          <p:nvPr>
            <p:ph idx="17"/>
          </p:nvPr>
        </p:nvSpPr>
        <p:spPr>
          <a:xfrm>
            <a:off x="681038" y="6199043"/>
            <a:ext cx="5481637" cy="256261"/>
          </a:xfrm>
          <a:prstGeom prst="rect">
            <a:avLst/>
          </a:prstGeom>
        </p:spPr>
        <p:txBody>
          <a:bodyPr lIns="0" tIns="0" rIns="0" bIns="0" anchor="ctr">
            <a:normAutofit/>
          </a:bodyPr>
          <a:lstStyle>
            <a:lvl1pPr>
              <a:defRPr lang="en-US" sz="800" smtClean="0">
                <a:solidFill>
                  <a:schemeClr val="accent4"/>
                </a:solidFill>
                <a:latin typeface="Arial" panose="020B0604020202020204" pitchFamily="34" charset="0"/>
                <a:cs typeface="Arial" panose="020B0604020202020204" pitchFamily="34" charset="0"/>
              </a:defRPr>
            </a:lvl1pPr>
          </a:lstStyle>
          <a:p>
            <a:pPr marL="0" lvl="0" indent="0">
              <a:buClr>
                <a:schemeClr val="accent1"/>
              </a:buClr>
              <a:buSzPct val="150000"/>
              <a:buNone/>
            </a:pPr>
            <a:r>
              <a:rPr lang="en-US" smtClean="0"/>
              <a:t>Click to edit Master text styles</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108124" y="6100763"/>
            <a:ext cx="3356551" cy="592662"/>
          </a:xfrm>
          <a:prstGeom prst="rect">
            <a:avLst/>
          </a:prstGeom>
        </p:spPr>
      </p:pic>
    </p:spTree>
    <p:extLst>
      <p:ext uri="{BB962C8B-B14F-4D97-AF65-F5344CB8AC3E}">
        <p14:creationId xmlns:p14="http://schemas.microsoft.com/office/powerpoint/2010/main" val="2171800213"/>
      </p:ext>
    </p:extLst>
  </p:cSld>
  <p:clrMapOvr>
    <a:masterClrMapping/>
  </p:clrMapOvr>
  <p:transition spd="med">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cxnSp>
        <p:nvCxnSpPr>
          <p:cNvPr id="4" name="Straight Connector 5"/>
          <p:cNvCxnSpPr/>
          <p:nvPr/>
        </p:nvCxnSpPr>
        <p:spPr>
          <a:xfrm>
            <a:off x="681038" y="6176963"/>
            <a:ext cx="8543925" cy="0"/>
          </a:xfrm>
          <a:prstGeom prst="line">
            <a:avLst/>
          </a:prstGeom>
          <a:ln>
            <a:solidFill>
              <a:schemeClr val="accent6"/>
            </a:solidFill>
          </a:ln>
          <a:effectLst/>
        </p:spPr>
        <p:style>
          <a:lnRef idx="1">
            <a:schemeClr val="accent1"/>
          </a:lnRef>
          <a:fillRef idx="0">
            <a:schemeClr val="accent1"/>
          </a:fillRef>
          <a:effectRef idx="0">
            <a:schemeClr val="accent1"/>
          </a:effectRef>
          <a:fontRef idx="minor">
            <a:schemeClr val="tx1"/>
          </a:fontRef>
        </p:style>
      </p:cxnSp>
      <p:sp>
        <p:nvSpPr>
          <p:cNvPr id="5" name="Rectangle 2"/>
          <p:cNvSpPr/>
          <p:nvPr userDrawn="1"/>
        </p:nvSpPr>
        <p:spPr>
          <a:xfrm>
            <a:off x="1136650" y="993775"/>
            <a:ext cx="1747838" cy="172243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eaLnBrk="1" fontAlgn="auto" hangingPunct="1">
              <a:spcBef>
                <a:spcPts val="0"/>
              </a:spcBef>
              <a:spcAft>
                <a:spcPts val="0"/>
              </a:spcAft>
              <a:defRPr/>
            </a:pPr>
            <a:r>
              <a:rPr lang="en-GB" dirty="0">
                <a:latin typeface="Arial" panose="020B0604020202020204" pitchFamily="34" charset="0"/>
                <a:cs typeface="Arial" panose="020B0604020202020204" pitchFamily="34" charset="0"/>
              </a:rPr>
              <a:t>R 156</a:t>
            </a:r>
            <a:br>
              <a:rPr lang="en-GB" dirty="0">
                <a:latin typeface="Arial" panose="020B0604020202020204" pitchFamily="34" charset="0"/>
                <a:cs typeface="Arial" panose="020B0604020202020204" pitchFamily="34" charset="0"/>
              </a:rPr>
            </a:br>
            <a:r>
              <a:rPr lang="en-GB" dirty="0">
                <a:latin typeface="Arial" panose="020B0604020202020204" pitchFamily="34" charset="0"/>
                <a:cs typeface="Arial" panose="020B0604020202020204" pitchFamily="34" charset="0"/>
              </a:rPr>
              <a:t>G 25</a:t>
            </a:r>
          </a:p>
          <a:p>
            <a:pPr eaLnBrk="1" fontAlgn="auto" hangingPunct="1">
              <a:spcBef>
                <a:spcPts val="0"/>
              </a:spcBef>
              <a:spcAft>
                <a:spcPts val="0"/>
              </a:spcAft>
              <a:defRPr/>
            </a:pPr>
            <a:r>
              <a:rPr lang="en-GB" dirty="0">
                <a:latin typeface="Arial" panose="020B0604020202020204" pitchFamily="34" charset="0"/>
                <a:cs typeface="Arial" panose="020B0604020202020204" pitchFamily="34" charset="0"/>
              </a:rPr>
              <a:t>B 21</a:t>
            </a:r>
          </a:p>
        </p:txBody>
      </p:sp>
      <p:sp>
        <p:nvSpPr>
          <p:cNvPr id="6" name="Rectangle 11"/>
          <p:cNvSpPr/>
          <p:nvPr userDrawn="1"/>
        </p:nvSpPr>
        <p:spPr>
          <a:xfrm>
            <a:off x="3027363" y="993775"/>
            <a:ext cx="1749425" cy="172243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eaLnBrk="1" fontAlgn="auto" hangingPunct="1">
              <a:spcBef>
                <a:spcPts val="0"/>
              </a:spcBef>
              <a:spcAft>
                <a:spcPts val="0"/>
              </a:spcAft>
              <a:defRPr/>
            </a:pPr>
            <a:r>
              <a:rPr lang="en-GB" dirty="0">
                <a:latin typeface="Arial" panose="020B0604020202020204" pitchFamily="34" charset="0"/>
                <a:cs typeface="Arial" panose="020B0604020202020204" pitchFamily="34" charset="0"/>
              </a:rPr>
              <a:t>R 87</a:t>
            </a:r>
            <a:br>
              <a:rPr lang="en-GB" dirty="0">
                <a:latin typeface="Arial" panose="020B0604020202020204" pitchFamily="34" charset="0"/>
                <a:cs typeface="Arial" panose="020B0604020202020204" pitchFamily="34" charset="0"/>
              </a:rPr>
            </a:br>
            <a:r>
              <a:rPr lang="en-GB" dirty="0">
                <a:latin typeface="Arial" panose="020B0604020202020204" pitchFamily="34" charset="0"/>
                <a:cs typeface="Arial" panose="020B0604020202020204" pitchFamily="34" charset="0"/>
              </a:rPr>
              <a:t>G 87</a:t>
            </a:r>
          </a:p>
          <a:p>
            <a:pPr eaLnBrk="1" fontAlgn="auto" hangingPunct="1">
              <a:spcBef>
                <a:spcPts val="0"/>
              </a:spcBef>
              <a:spcAft>
                <a:spcPts val="0"/>
              </a:spcAft>
              <a:defRPr/>
            </a:pPr>
            <a:r>
              <a:rPr lang="en-GB" dirty="0">
                <a:latin typeface="Arial" panose="020B0604020202020204" pitchFamily="34" charset="0"/>
                <a:cs typeface="Arial" panose="020B0604020202020204" pitchFamily="34" charset="0"/>
              </a:rPr>
              <a:t>B 86</a:t>
            </a:r>
          </a:p>
        </p:txBody>
      </p:sp>
      <p:sp>
        <p:nvSpPr>
          <p:cNvPr id="7" name="Title 1"/>
          <p:cNvSpPr txBox="1">
            <a:spLocks/>
          </p:cNvSpPr>
          <p:nvPr userDrawn="1"/>
        </p:nvSpPr>
        <p:spPr bwMode="auto">
          <a:xfrm>
            <a:off x="1092200" y="3103563"/>
            <a:ext cx="8132763" cy="295275"/>
          </a:xfrm>
          <a:prstGeom prst="rect">
            <a:avLst/>
          </a:prstGeom>
        </p:spPr>
        <p:txBody>
          <a:bodyPr anchor="ctr"/>
          <a:lstStyle>
            <a:lvl1pPr algn="l" defTabSz="914400" rtl="0" eaLnBrk="1" latinLnBrk="0" hangingPunct="1">
              <a:lnSpc>
                <a:spcPct val="90000"/>
              </a:lnSpc>
              <a:spcBef>
                <a:spcPct val="0"/>
              </a:spcBef>
              <a:buNone/>
              <a:defRPr sz="1800" kern="1200" cap="all" baseline="0">
                <a:solidFill>
                  <a:schemeClr val="accent6"/>
                </a:solidFill>
                <a:latin typeface="+mj-lt"/>
                <a:ea typeface="+mj-ea"/>
                <a:cs typeface="+mj-cs"/>
              </a:defRPr>
            </a:lvl1pPr>
          </a:lstStyle>
          <a:p>
            <a:pPr fontAlgn="auto">
              <a:spcAft>
                <a:spcPts val="0"/>
              </a:spcAft>
              <a:defRPr/>
            </a:pPr>
            <a:r>
              <a:rPr lang="en-US" cap="none" dirty="0" smtClean="0">
                <a:solidFill>
                  <a:schemeClr val="accent2"/>
                </a:solidFill>
                <a:latin typeface="Arial" panose="020B0604020202020204" pitchFamily="34" charset="0"/>
                <a:cs typeface="Arial" panose="020B0604020202020204" pitchFamily="34" charset="0"/>
              </a:rPr>
              <a:t>Secondary </a:t>
            </a:r>
            <a:r>
              <a:rPr lang="en-US" cap="none" dirty="0" err="1" smtClean="0">
                <a:solidFill>
                  <a:schemeClr val="accent2"/>
                </a:solidFill>
                <a:latin typeface="Arial" panose="020B0604020202020204" pitchFamily="34" charset="0"/>
                <a:cs typeface="Arial" panose="020B0604020202020204" pitchFamily="34" charset="0"/>
              </a:rPr>
              <a:t>Colours</a:t>
            </a:r>
            <a:endParaRPr lang="en-US" cap="none" dirty="0">
              <a:solidFill>
                <a:schemeClr val="accent2"/>
              </a:solidFill>
              <a:latin typeface="Arial" panose="020B0604020202020204" pitchFamily="34" charset="0"/>
              <a:cs typeface="Arial" panose="020B0604020202020204" pitchFamily="34" charset="0"/>
            </a:endParaRPr>
          </a:p>
        </p:txBody>
      </p:sp>
      <p:sp>
        <p:nvSpPr>
          <p:cNvPr id="9" name="Rectangle 12"/>
          <p:cNvSpPr/>
          <p:nvPr userDrawn="1"/>
        </p:nvSpPr>
        <p:spPr>
          <a:xfrm>
            <a:off x="6842125" y="993775"/>
            <a:ext cx="1747838" cy="1722438"/>
          </a:xfrm>
          <a:prstGeom prst="rect">
            <a:avLst/>
          </a:prstGeom>
          <a:solidFill>
            <a:srgbClr val="1A647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eaLnBrk="1" fontAlgn="auto" hangingPunct="1">
              <a:spcBef>
                <a:spcPts val="0"/>
              </a:spcBef>
              <a:spcAft>
                <a:spcPts val="0"/>
              </a:spcAft>
              <a:defRPr/>
            </a:pPr>
            <a:r>
              <a:rPr lang="pt-BR" dirty="0">
                <a:latin typeface="Arial" panose="020B0604020202020204" pitchFamily="34" charset="0"/>
                <a:cs typeface="Arial" panose="020B0604020202020204" pitchFamily="34" charset="0"/>
              </a:rPr>
              <a:t>R 26</a:t>
            </a:r>
            <a:br>
              <a:rPr lang="pt-BR" dirty="0">
                <a:latin typeface="Arial" panose="020B0604020202020204" pitchFamily="34" charset="0"/>
                <a:cs typeface="Arial" panose="020B0604020202020204" pitchFamily="34" charset="0"/>
              </a:rPr>
            </a:br>
            <a:r>
              <a:rPr lang="pt-BR" dirty="0">
                <a:latin typeface="Arial" panose="020B0604020202020204" pitchFamily="34" charset="0"/>
                <a:cs typeface="Arial" panose="020B0604020202020204" pitchFamily="34" charset="0"/>
              </a:rPr>
              <a:t>G 100</a:t>
            </a:r>
          </a:p>
          <a:p>
            <a:pPr eaLnBrk="1" fontAlgn="auto" hangingPunct="1">
              <a:spcBef>
                <a:spcPts val="0"/>
              </a:spcBef>
              <a:spcAft>
                <a:spcPts val="0"/>
              </a:spcAft>
              <a:defRPr/>
            </a:pPr>
            <a:r>
              <a:rPr lang="pt-BR" dirty="0">
                <a:latin typeface="Arial" panose="020B0604020202020204" pitchFamily="34" charset="0"/>
                <a:cs typeface="Arial" panose="020B0604020202020204" pitchFamily="34" charset="0"/>
              </a:rPr>
              <a:t>B 123</a:t>
            </a:r>
          </a:p>
        </p:txBody>
      </p:sp>
      <p:sp>
        <p:nvSpPr>
          <p:cNvPr id="10" name="Rectangle 13"/>
          <p:cNvSpPr/>
          <p:nvPr userDrawn="1"/>
        </p:nvSpPr>
        <p:spPr>
          <a:xfrm>
            <a:off x="4935538" y="993775"/>
            <a:ext cx="1747837" cy="17224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eaLnBrk="1" fontAlgn="auto" hangingPunct="1">
              <a:spcBef>
                <a:spcPts val="0"/>
              </a:spcBef>
              <a:spcAft>
                <a:spcPts val="0"/>
              </a:spcAft>
              <a:defRPr/>
            </a:pPr>
            <a:r>
              <a:rPr lang="en-GB" dirty="0">
                <a:latin typeface="Arial" panose="020B0604020202020204" pitchFamily="34" charset="0"/>
                <a:cs typeface="Arial" panose="020B0604020202020204" pitchFamily="34" charset="0"/>
              </a:rPr>
              <a:t>R 157</a:t>
            </a:r>
          </a:p>
          <a:p>
            <a:pPr eaLnBrk="1" fontAlgn="auto" hangingPunct="1">
              <a:spcBef>
                <a:spcPts val="0"/>
              </a:spcBef>
              <a:spcAft>
                <a:spcPts val="0"/>
              </a:spcAft>
              <a:defRPr/>
            </a:pPr>
            <a:r>
              <a:rPr lang="en-GB" dirty="0">
                <a:latin typeface="Arial" panose="020B0604020202020204" pitchFamily="34" charset="0"/>
                <a:cs typeface="Arial" panose="020B0604020202020204" pitchFamily="34" charset="0"/>
              </a:rPr>
              <a:t>G 157</a:t>
            </a:r>
          </a:p>
          <a:p>
            <a:pPr eaLnBrk="1" fontAlgn="auto" hangingPunct="1">
              <a:spcBef>
                <a:spcPts val="0"/>
              </a:spcBef>
              <a:spcAft>
                <a:spcPts val="0"/>
              </a:spcAft>
              <a:defRPr/>
            </a:pPr>
            <a:r>
              <a:rPr lang="en-GB" dirty="0">
                <a:latin typeface="Arial" panose="020B0604020202020204" pitchFamily="34" charset="0"/>
                <a:cs typeface="Arial" panose="020B0604020202020204" pitchFamily="34" charset="0"/>
              </a:rPr>
              <a:t>B 156</a:t>
            </a:r>
          </a:p>
        </p:txBody>
      </p:sp>
      <p:sp>
        <p:nvSpPr>
          <p:cNvPr id="11" name="Rectangle 17"/>
          <p:cNvSpPr/>
          <p:nvPr userDrawn="1"/>
        </p:nvSpPr>
        <p:spPr bwMode="auto">
          <a:xfrm>
            <a:off x="1136650" y="3468688"/>
            <a:ext cx="874713" cy="862012"/>
          </a:xfrm>
          <a:prstGeom prst="rect">
            <a:avLst/>
          </a:prstGeom>
          <a:solidFill>
            <a:srgbClr val="FEE39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eaLnBrk="1" fontAlgn="auto" hangingPunct="1">
              <a:spcBef>
                <a:spcPts val="0"/>
              </a:spcBef>
              <a:spcAft>
                <a:spcPts val="0"/>
              </a:spcAft>
              <a:defRPr/>
            </a:pPr>
            <a:r>
              <a:rPr lang="en-GB" dirty="0">
                <a:latin typeface="Arial" panose="020B0604020202020204" pitchFamily="34" charset="0"/>
                <a:cs typeface="Arial" panose="020B0604020202020204" pitchFamily="34" charset="0"/>
              </a:rPr>
              <a:t>R 254</a:t>
            </a:r>
            <a:br>
              <a:rPr lang="en-GB" dirty="0">
                <a:latin typeface="Arial" panose="020B0604020202020204" pitchFamily="34" charset="0"/>
                <a:cs typeface="Arial" panose="020B0604020202020204" pitchFamily="34" charset="0"/>
              </a:rPr>
            </a:br>
            <a:r>
              <a:rPr lang="en-GB" dirty="0">
                <a:latin typeface="Arial" panose="020B0604020202020204" pitchFamily="34" charset="0"/>
                <a:cs typeface="Arial" panose="020B0604020202020204" pitchFamily="34" charset="0"/>
              </a:rPr>
              <a:t>G 227</a:t>
            </a:r>
          </a:p>
          <a:p>
            <a:pPr eaLnBrk="1" fontAlgn="auto" hangingPunct="1">
              <a:spcBef>
                <a:spcPts val="0"/>
              </a:spcBef>
              <a:spcAft>
                <a:spcPts val="0"/>
              </a:spcAft>
              <a:defRPr/>
            </a:pPr>
            <a:r>
              <a:rPr lang="en-GB" dirty="0">
                <a:latin typeface="Arial" panose="020B0604020202020204" pitchFamily="34" charset="0"/>
                <a:cs typeface="Arial" panose="020B0604020202020204" pitchFamily="34" charset="0"/>
              </a:rPr>
              <a:t>B 154</a:t>
            </a:r>
          </a:p>
        </p:txBody>
      </p:sp>
      <p:sp>
        <p:nvSpPr>
          <p:cNvPr id="12" name="Rectangle 17"/>
          <p:cNvSpPr/>
          <p:nvPr userDrawn="1"/>
        </p:nvSpPr>
        <p:spPr bwMode="auto">
          <a:xfrm>
            <a:off x="3208338" y="3468688"/>
            <a:ext cx="874712" cy="862012"/>
          </a:xfrm>
          <a:prstGeom prst="rect">
            <a:avLst/>
          </a:prstGeom>
          <a:solidFill>
            <a:srgbClr val="C6C6C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eaLnBrk="1" fontAlgn="auto" hangingPunct="1">
              <a:spcBef>
                <a:spcPts val="0"/>
              </a:spcBef>
              <a:spcAft>
                <a:spcPts val="0"/>
              </a:spcAft>
              <a:defRPr/>
            </a:pPr>
            <a:r>
              <a:rPr lang="en-GB" dirty="0">
                <a:latin typeface="Arial" panose="020B0604020202020204" pitchFamily="34" charset="0"/>
                <a:cs typeface="Arial" panose="020B0604020202020204" pitchFamily="34" charset="0"/>
              </a:rPr>
              <a:t>R 198</a:t>
            </a:r>
            <a:br>
              <a:rPr lang="en-GB" dirty="0">
                <a:latin typeface="Arial" panose="020B0604020202020204" pitchFamily="34" charset="0"/>
                <a:cs typeface="Arial" panose="020B0604020202020204" pitchFamily="34" charset="0"/>
              </a:rPr>
            </a:br>
            <a:r>
              <a:rPr lang="en-GB" dirty="0">
                <a:latin typeface="Arial" panose="020B0604020202020204" pitchFamily="34" charset="0"/>
                <a:cs typeface="Arial" panose="020B0604020202020204" pitchFamily="34" charset="0"/>
              </a:rPr>
              <a:t>G 198</a:t>
            </a:r>
          </a:p>
          <a:p>
            <a:pPr eaLnBrk="1" fontAlgn="auto" hangingPunct="1">
              <a:spcBef>
                <a:spcPts val="0"/>
              </a:spcBef>
              <a:spcAft>
                <a:spcPts val="0"/>
              </a:spcAft>
              <a:defRPr/>
            </a:pPr>
            <a:r>
              <a:rPr lang="en-GB" dirty="0">
                <a:latin typeface="Arial" panose="020B0604020202020204" pitchFamily="34" charset="0"/>
                <a:cs typeface="Arial" panose="020B0604020202020204" pitchFamily="34" charset="0"/>
              </a:rPr>
              <a:t>B 198</a:t>
            </a:r>
          </a:p>
        </p:txBody>
      </p:sp>
      <p:sp>
        <p:nvSpPr>
          <p:cNvPr id="13" name="Rectangle 17"/>
          <p:cNvSpPr/>
          <p:nvPr userDrawn="1"/>
        </p:nvSpPr>
        <p:spPr bwMode="auto">
          <a:xfrm>
            <a:off x="4244975" y="3468688"/>
            <a:ext cx="874713" cy="862012"/>
          </a:xfrm>
          <a:prstGeom prst="rect">
            <a:avLst/>
          </a:prstGeom>
          <a:solidFill>
            <a:srgbClr val="3D3D3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eaLnBrk="1" fontAlgn="auto" hangingPunct="1">
              <a:spcBef>
                <a:spcPts val="0"/>
              </a:spcBef>
              <a:spcAft>
                <a:spcPts val="0"/>
              </a:spcAft>
              <a:defRPr/>
            </a:pPr>
            <a:r>
              <a:rPr lang="en-GB" dirty="0">
                <a:latin typeface="Arial" panose="020B0604020202020204" pitchFamily="34" charset="0"/>
                <a:cs typeface="Arial" panose="020B0604020202020204" pitchFamily="34" charset="0"/>
              </a:rPr>
              <a:t>R 61</a:t>
            </a:r>
            <a:br>
              <a:rPr lang="en-GB" dirty="0">
                <a:latin typeface="Arial" panose="020B0604020202020204" pitchFamily="34" charset="0"/>
                <a:cs typeface="Arial" panose="020B0604020202020204" pitchFamily="34" charset="0"/>
              </a:rPr>
            </a:br>
            <a:r>
              <a:rPr lang="en-GB" dirty="0">
                <a:latin typeface="Arial" panose="020B0604020202020204" pitchFamily="34" charset="0"/>
                <a:cs typeface="Arial" panose="020B0604020202020204" pitchFamily="34" charset="0"/>
              </a:rPr>
              <a:t>G 61</a:t>
            </a:r>
          </a:p>
          <a:p>
            <a:pPr eaLnBrk="1" fontAlgn="auto" hangingPunct="1">
              <a:spcBef>
                <a:spcPts val="0"/>
              </a:spcBef>
              <a:spcAft>
                <a:spcPts val="0"/>
              </a:spcAft>
              <a:defRPr/>
            </a:pPr>
            <a:r>
              <a:rPr lang="en-GB" dirty="0">
                <a:latin typeface="Arial" panose="020B0604020202020204" pitchFamily="34" charset="0"/>
                <a:cs typeface="Arial" panose="020B0604020202020204" pitchFamily="34" charset="0"/>
              </a:rPr>
              <a:t>B 60</a:t>
            </a:r>
          </a:p>
        </p:txBody>
      </p:sp>
      <p:sp>
        <p:nvSpPr>
          <p:cNvPr id="14" name="Rectangle 17"/>
          <p:cNvSpPr/>
          <p:nvPr userDrawn="1"/>
        </p:nvSpPr>
        <p:spPr bwMode="auto">
          <a:xfrm>
            <a:off x="5281613" y="3468688"/>
            <a:ext cx="873125" cy="862012"/>
          </a:xfrm>
          <a:prstGeom prst="rect">
            <a:avLst/>
          </a:prstGeom>
          <a:solidFill>
            <a:srgbClr val="90B37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eaLnBrk="1" fontAlgn="auto" hangingPunct="1">
              <a:spcBef>
                <a:spcPts val="0"/>
              </a:spcBef>
              <a:spcAft>
                <a:spcPts val="0"/>
              </a:spcAft>
              <a:defRPr/>
            </a:pPr>
            <a:r>
              <a:rPr lang="en-GB" dirty="0">
                <a:latin typeface="Arial" panose="020B0604020202020204" pitchFamily="34" charset="0"/>
                <a:cs typeface="Arial" panose="020B0604020202020204" pitchFamily="34" charset="0"/>
              </a:rPr>
              <a:t>R 144</a:t>
            </a:r>
            <a:br>
              <a:rPr lang="en-GB" dirty="0">
                <a:latin typeface="Arial" panose="020B0604020202020204" pitchFamily="34" charset="0"/>
                <a:cs typeface="Arial" panose="020B0604020202020204" pitchFamily="34" charset="0"/>
              </a:rPr>
            </a:br>
            <a:r>
              <a:rPr lang="en-GB" dirty="0">
                <a:latin typeface="Arial" panose="020B0604020202020204" pitchFamily="34" charset="0"/>
                <a:cs typeface="Arial" panose="020B0604020202020204" pitchFamily="34" charset="0"/>
              </a:rPr>
              <a:t>G 179</a:t>
            </a:r>
          </a:p>
          <a:p>
            <a:pPr eaLnBrk="1" fontAlgn="auto" hangingPunct="1">
              <a:spcBef>
                <a:spcPts val="0"/>
              </a:spcBef>
              <a:spcAft>
                <a:spcPts val="0"/>
              </a:spcAft>
              <a:defRPr/>
            </a:pPr>
            <a:r>
              <a:rPr lang="en-GB" dirty="0">
                <a:latin typeface="Arial" panose="020B0604020202020204" pitchFamily="34" charset="0"/>
                <a:cs typeface="Arial" panose="020B0604020202020204" pitchFamily="34" charset="0"/>
              </a:rPr>
              <a:t>B 112</a:t>
            </a:r>
          </a:p>
        </p:txBody>
      </p:sp>
      <p:sp>
        <p:nvSpPr>
          <p:cNvPr id="15" name="Rectangle 17"/>
          <p:cNvSpPr/>
          <p:nvPr userDrawn="1"/>
        </p:nvSpPr>
        <p:spPr bwMode="auto">
          <a:xfrm>
            <a:off x="6318250" y="3468688"/>
            <a:ext cx="873125" cy="862012"/>
          </a:xfrm>
          <a:prstGeom prst="rect">
            <a:avLst/>
          </a:prstGeom>
          <a:solidFill>
            <a:srgbClr val="4C835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eaLnBrk="1" fontAlgn="auto" hangingPunct="1">
              <a:spcBef>
                <a:spcPts val="0"/>
              </a:spcBef>
              <a:spcAft>
                <a:spcPts val="0"/>
              </a:spcAft>
              <a:defRPr/>
            </a:pPr>
            <a:r>
              <a:rPr lang="en-GB" dirty="0">
                <a:latin typeface="Arial" panose="020B0604020202020204" pitchFamily="34" charset="0"/>
                <a:cs typeface="Arial" panose="020B0604020202020204" pitchFamily="34" charset="0"/>
              </a:rPr>
              <a:t>R 76</a:t>
            </a:r>
            <a:br>
              <a:rPr lang="en-GB" dirty="0">
                <a:latin typeface="Arial" panose="020B0604020202020204" pitchFamily="34" charset="0"/>
                <a:cs typeface="Arial" panose="020B0604020202020204" pitchFamily="34" charset="0"/>
              </a:rPr>
            </a:br>
            <a:r>
              <a:rPr lang="en-GB" dirty="0">
                <a:latin typeface="Arial" panose="020B0604020202020204" pitchFamily="34" charset="0"/>
                <a:cs typeface="Arial" panose="020B0604020202020204" pitchFamily="34" charset="0"/>
              </a:rPr>
              <a:t>G 131</a:t>
            </a:r>
          </a:p>
          <a:p>
            <a:pPr eaLnBrk="1" fontAlgn="auto" hangingPunct="1">
              <a:spcBef>
                <a:spcPts val="0"/>
              </a:spcBef>
              <a:spcAft>
                <a:spcPts val="0"/>
              </a:spcAft>
              <a:defRPr/>
            </a:pPr>
            <a:r>
              <a:rPr lang="en-GB" dirty="0">
                <a:latin typeface="Arial" panose="020B0604020202020204" pitchFamily="34" charset="0"/>
                <a:cs typeface="Arial" panose="020B0604020202020204" pitchFamily="34" charset="0"/>
              </a:rPr>
              <a:t>B 84</a:t>
            </a:r>
          </a:p>
        </p:txBody>
      </p:sp>
      <p:sp>
        <p:nvSpPr>
          <p:cNvPr id="16" name="Rectangle 17"/>
          <p:cNvSpPr/>
          <p:nvPr userDrawn="1"/>
        </p:nvSpPr>
        <p:spPr bwMode="auto">
          <a:xfrm>
            <a:off x="7353300" y="3468688"/>
            <a:ext cx="874713" cy="862012"/>
          </a:xfrm>
          <a:prstGeom prst="rect">
            <a:avLst/>
          </a:prstGeom>
          <a:solidFill>
            <a:srgbClr val="7BB9C7"/>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eaLnBrk="1" fontAlgn="auto" hangingPunct="1">
              <a:spcBef>
                <a:spcPts val="0"/>
              </a:spcBef>
              <a:spcAft>
                <a:spcPts val="0"/>
              </a:spcAft>
              <a:defRPr/>
            </a:pPr>
            <a:r>
              <a:rPr lang="en-GB" dirty="0">
                <a:latin typeface="Arial" panose="020B0604020202020204" pitchFamily="34" charset="0"/>
                <a:cs typeface="Arial" panose="020B0604020202020204" pitchFamily="34" charset="0"/>
              </a:rPr>
              <a:t>R 123</a:t>
            </a:r>
            <a:br>
              <a:rPr lang="en-GB" dirty="0">
                <a:latin typeface="Arial" panose="020B0604020202020204" pitchFamily="34" charset="0"/>
                <a:cs typeface="Arial" panose="020B0604020202020204" pitchFamily="34" charset="0"/>
              </a:rPr>
            </a:br>
            <a:r>
              <a:rPr lang="en-GB" dirty="0">
                <a:latin typeface="Arial" panose="020B0604020202020204" pitchFamily="34" charset="0"/>
                <a:cs typeface="Arial" panose="020B0604020202020204" pitchFamily="34" charset="0"/>
              </a:rPr>
              <a:t>G 185</a:t>
            </a:r>
          </a:p>
          <a:p>
            <a:pPr eaLnBrk="1" fontAlgn="auto" hangingPunct="1">
              <a:spcBef>
                <a:spcPts val="0"/>
              </a:spcBef>
              <a:spcAft>
                <a:spcPts val="0"/>
              </a:spcAft>
              <a:defRPr/>
            </a:pPr>
            <a:r>
              <a:rPr lang="en-GB" dirty="0">
                <a:latin typeface="Arial" panose="020B0604020202020204" pitchFamily="34" charset="0"/>
                <a:cs typeface="Arial" panose="020B0604020202020204" pitchFamily="34" charset="0"/>
              </a:rPr>
              <a:t>B 199</a:t>
            </a:r>
          </a:p>
        </p:txBody>
      </p:sp>
      <p:sp>
        <p:nvSpPr>
          <p:cNvPr id="17" name="Rectangle 16"/>
          <p:cNvSpPr/>
          <p:nvPr userDrawn="1"/>
        </p:nvSpPr>
        <p:spPr bwMode="auto">
          <a:xfrm>
            <a:off x="8389938" y="3468688"/>
            <a:ext cx="873125" cy="862012"/>
          </a:xfrm>
          <a:prstGeom prst="rect">
            <a:avLst/>
          </a:prstGeom>
          <a:solidFill>
            <a:srgbClr val="0080A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eaLnBrk="1" fontAlgn="auto" hangingPunct="1">
              <a:spcBef>
                <a:spcPts val="0"/>
              </a:spcBef>
              <a:spcAft>
                <a:spcPts val="0"/>
              </a:spcAft>
              <a:defRPr/>
            </a:pPr>
            <a:r>
              <a:rPr lang="en-GB" dirty="0">
                <a:latin typeface="Arial" panose="020B0604020202020204" pitchFamily="34" charset="0"/>
                <a:cs typeface="Arial" panose="020B0604020202020204" pitchFamily="34" charset="0"/>
              </a:rPr>
              <a:t>R 0</a:t>
            </a:r>
            <a:br>
              <a:rPr lang="en-GB" dirty="0">
                <a:latin typeface="Arial" panose="020B0604020202020204" pitchFamily="34" charset="0"/>
                <a:cs typeface="Arial" panose="020B0604020202020204" pitchFamily="34" charset="0"/>
              </a:rPr>
            </a:br>
            <a:r>
              <a:rPr lang="en-GB" dirty="0">
                <a:latin typeface="Arial" panose="020B0604020202020204" pitchFamily="34" charset="0"/>
                <a:cs typeface="Arial" panose="020B0604020202020204" pitchFamily="34" charset="0"/>
              </a:rPr>
              <a:t>G 128</a:t>
            </a:r>
          </a:p>
          <a:p>
            <a:pPr eaLnBrk="1" fontAlgn="auto" hangingPunct="1">
              <a:spcBef>
                <a:spcPts val="0"/>
              </a:spcBef>
              <a:spcAft>
                <a:spcPts val="0"/>
              </a:spcAft>
              <a:defRPr/>
            </a:pPr>
            <a:r>
              <a:rPr lang="en-GB" dirty="0">
                <a:latin typeface="Arial" panose="020B0604020202020204" pitchFamily="34" charset="0"/>
                <a:cs typeface="Arial" panose="020B0604020202020204" pitchFamily="34" charset="0"/>
              </a:rPr>
              <a:t>B 170</a:t>
            </a:r>
          </a:p>
        </p:txBody>
      </p:sp>
      <p:sp>
        <p:nvSpPr>
          <p:cNvPr id="18" name="Title 1"/>
          <p:cNvSpPr txBox="1">
            <a:spLocks/>
          </p:cNvSpPr>
          <p:nvPr userDrawn="1"/>
        </p:nvSpPr>
        <p:spPr bwMode="auto">
          <a:xfrm>
            <a:off x="1092200" y="4370388"/>
            <a:ext cx="8132763" cy="295275"/>
          </a:xfrm>
          <a:prstGeom prst="rect">
            <a:avLst/>
          </a:prstGeom>
        </p:spPr>
        <p:txBody>
          <a:bodyPr anchor="ctr"/>
          <a:lstStyle>
            <a:lvl1pPr algn="l" defTabSz="914400" rtl="0" eaLnBrk="1" latinLnBrk="0" hangingPunct="1">
              <a:lnSpc>
                <a:spcPct val="90000"/>
              </a:lnSpc>
              <a:spcBef>
                <a:spcPct val="0"/>
              </a:spcBef>
              <a:buNone/>
              <a:defRPr sz="1800" kern="1200" cap="all" baseline="0">
                <a:solidFill>
                  <a:schemeClr val="accent6"/>
                </a:solidFill>
                <a:latin typeface="+mj-lt"/>
                <a:ea typeface="+mj-ea"/>
                <a:cs typeface="+mj-cs"/>
              </a:defRPr>
            </a:lvl1pPr>
          </a:lstStyle>
          <a:p>
            <a:pPr fontAlgn="auto">
              <a:spcAft>
                <a:spcPts val="0"/>
              </a:spcAft>
              <a:defRPr/>
            </a:pPr>
            <a:r>
              <a:rPr lang="en-US" cap="none" dirty="0" smtClean="0">
                <a:solidFill>
                  <a:schemeClr val="accent2"/>
                </a:solidFill>
                <a:latin typeface="Arial" panose="020B0604020202020204" pitchFamily="34" charset="0"/>
                <a:cs typeface="Arial" panose="020B0604020202020204" pitchFamily="34" charset="0"/>
              </a:rPr>
              <a:t>Bank Secondary </a:t>
            </a:r>
            <a:r>
              <a:rPr lang="en-US" cap="none" dirty="0" err="1" smtClean="0">
                <a:solidFill>
                  <a:schemeClr val="accent2"/>
                </a:solidFill>
                <a:latin typeface="Arial" panose="020B0604020202020204" pitchFamily="34" charset="0"/>
                <a:cs typeface="Arial" panose="020B0604020202020204" pitchFamily="34" charset="0"/>
              </a:rPr>
              <a:t>Colours</a:t>
            </a:r>
            <a:endParaRPr lang="en-US" cap="none" dirty="0">
              <a:solidFill>
                <a:schemeClr val="accent2"/>
              </a:solidFill>
              <a:latin typeface="Arial" panose="020B0604020202020204" pitchFamily="34" charset="0"/>
              <a:cs typeface="Arial" panose="020B0604020202020204" pitchFamily="34" charset="0"/>
            </a:endParaRPr>
          </a:p>
        </p:txBody>
      </p:sp>
      <p:sp>
        <p:nvSpPr>
          <p:cNvPr id="19" name="Rectangle 18"/>
          <p:cNvSpPr/>
          <p:nvPr userDrawn="1"/>
        </p:nvSpPr>
        <p:spPr bwMode="auto">
          <a:xfrm>
            <a:off x="1136650" y="4735513"/>
            <a:ext cx="873125" cy="862012"/>
          </a:xfrm>
          <a:prstGeom prst="rect">
            <a:avLst/>
          </a:prstGeom>
          <a:solidFill>
            <a:srgbClr val="1BB3B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eaLnBrk="1" fontAlgn="auto" hangingPunct="1">
              <a:spcBef>
                <a:spcPts val="0"/>
              </a:spcBef>
              <a:spcAft>
                <a:spcPts val="0"/>
              </a:spcAft>
              <a:defRPr/>
            </a:pPr>
            <a:r>
              <a:rPr lang="en-GB" dirty="0">
                <a:latin typeface="Arial" panose="020B0604020202020204" pitchFamily="34" charset="0"/>
                <a:cs typeface="Arial" panose="020B0604020202020204" pitchFamily="34" charset="0"/>
              </a:rPr>
              <a:t>R 27</a:t>
            </a:r>
            <a:br>
              <a:rPr lang="en-GB" dirty="0">
                <a:latin typeface="Arial" panose="020B0604020202020204" pitchFamily="34" charset="0"/>
                <a:cs typeface="Arial" panose="020B0604020202020204" pitchFamily="34" charset="0"/>
              </a:rPr>
            </a:br>
            <a:r>
              <a:rPr lang="en-GB" dirty="0">
                <a:latin typeface="Arial" panose="020B0604020202020204" pitchFamily="34" charset="0"/>
                <a:cs typeface="Arial" panose="020B0604020202020204" pitchFamily="34" charset="0"/>
              </a:rPr>
              <a:t>G 179</a:t>
            </a:r>
          </a:p>
          <a:p>
            <a:pPr eaLnBrk="1" fontAlgn="auto" hangingPunct="1">
              <a:spcBef>
                <a:spcPts val="0"/>
              </a:spcBef>
              <a:spcAft>
                <a:spcPts val="0"/>
              </a:spcAft>
              <a:defRPr/>
            </a:pPr>
            <a:r>
              <a:rPr lang="en-GB" dirty="0">
                <a:latin typeface="Arial" panose="020B0604020202020204" pitchFamily="34" charset="0"/>
                <a:cs typeface="Arial" panose="020B0604020202020204" pitchFamily="34" charset="0"/>
              </a:rPr>
              <a:t>B 188</a:t>
            </a:r>
          </a:p>
        </p:txBody>
      </p:sp>
      <p:sp>
        <p:nvSpPr>
          <p:cNvPr id="20" name="Rectangle 17"/>
          <p:cNvSpPr/>
          <p:nvPr userDrawn="1"/>
        </p:nvSpPr>
        <p:spPr bwMode="auto">
          <a:xfrm>
            <a:off x="2076450" y="4735513"/>
            <a:ext cx="874713" cy="862012"/>
          </a:xfrm>
          <a:prstGeom prst="rect">
            <a:avLst/>
          </a:prstGeom>
          <a:solidFill>
            <a:srgbClr val="E59D27"/>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eaLnBrk="1" fontAlgn="auto" hangingPunct="1">
              <a:spcBef>
                <a:spcPts val="0"/>
              </a:spcBef>
              <a:spcAft>
                <a:spcPts val="0"/>
              </a:spcAft>
              <a:defRPr/>
            </a:pPr>
            <a:r>
              <a:rPr lang="en-GB" dirty="0">
                <a:latin typeface="Arial" panose="020B0604020202020204" pitchFamily="34" charset="0"/>
                <a:cs typeface="Arial" panose="020B0604020202020204" pitchFamily="34" charset="0"/>
              </a:rPr>
              <a:t>R 229</a:t>
            </a:r>
            <a:br>
              <a:rPr lang="en-GB" dirty="0">
                <a:latin typeface="Arial" panose="020B0604020202020204" pitchFamily="34" charset="0"/>
                <a:cs typeface="Arial" panose="020B0604020202020204" pitchFamily="34" charset="0"/>
              </a:rPr>
            </a:br>
            <a:r>
              <a:rPr lang="en-GB" dirty="0">
                <a:latin typeface="Arial" panose="020B0604020202020204" pitchFamily="34" charset="0"/>
                <a:cs typeface="Arial" panose="020B0604020202020204" pitchFamily="34" charset="0"/>
              </a:rPr>
              <a:t>G 157</a:t>
            </a:r>
          </a:p>
          <a:p>
            <a:pPr eaLnBrk="1" fontAlgn="auto" hangingPunct="1">
              <a:spcBef>
                <a:spcPts val="0"/>
              </a:spcBef>
              <a:spcAft>
                <a:spcPts val="0"/>
              </a:spcAft>
              <a:defRPr/>
            </a:pPr>
            <a:r>
              <a:rPr lang="en-GB" dirty="0">
                <a:latin typeface="Arial" panose="020B0604020202020204" pitchFamily="34" charset="0"/>
                <a:cs typeface="Arial" panose="020B0604020202020204" pitchFamily="34" charset="0"/>
              </a:rPr>
              <a:t>B 39</a:t>
            </a:r>
          </a:p>
        </p:txBody>
      </p:sp>
      <p:sp>
        <p:nvSpPr>
          <p:cNvPr id="21" name="Rectangle 17"/>
          <p:cNvSpPr/>
          <p:nvPr userDrawn="1"/>
        </p:nvSpPr>
        <p:spPr bwMode="auto">
          <a:xfrm>
            <a:off x="3016250" y="4735513"/>
            <a:ext cx="874713" cy="862012"/>
          </a:xfrm>
          <a:prstGeom prst="rect">
            <a:avLst/>
          </a:prstGeom>
          <a:solidFill>
            <a:srgbClr val="9E3667"/>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eaLnBrk="1" fontAlgn="auto" hangingPunct="1">
              <a:spcBef>
                <a:spcPts val="0"/>
              </a:spcBef>
              <a:spcAft>
                <a:spcPts val="0"/>
              </a:spcAft>
              <a:defRPr/>
            </a:pPr>
            <a:r>
              <a:rPr lang="en-GB" dirty="0">
                <a:latin typeface="Arial" panose="020B0604020202020204" pitchFamily="34" charset="0"/>
                <a:cs typeface="Arial" panose="020B0604020202020204" pitchFamily="34" charset="0"/>
              </a:rPr>
              <a:t>R 158</a:t>
            </a:r>
            <a:br>
              <a:rPr lang="en-GB" dirty="0">
                <a:latin typeface="Arial" panose="020B0604020202020204" pitchFamily="34" charset="0"/>
                <a:cs typeface="Arial" panose="020B0604020202020204" pitchFamily="34" charset="0"/>
              </a:rPr>
            </a:br>
            <a:r>
              <a:rPr lang="en-GB" dirty="0">
                <a:latin typeface="Arial" panose="020B0604020202020204" pitchFamily="34" charset="0"/>
                <a:cs typeface="Arial" panose="020B0604020202020204" pitchFamily="34" charset="0"/>
              </a:rPr>
              <a:t>G 54</a:t>
            </a:r>
          </a:p>
          <a:p>
            <a:pPr eaLnBrk="1" fontAlgn="auto" hangingPunct="1">
              <a:spcBef>
                <a:spcPts val="0"/>
              </a:spcBef>
              <a:spcAft>
                <a:spcPts val="0"/>
              </a:spcAft>
              <a:defRPr/>
            </a:pPr>
            <a:r>
              <a:rPr lang="en-GB" dirty="0">
                <a:latin typeface="Arial" panose="020B0604020202020204" pitchFamily="34" charset="0"/>
                <a:cs typeface="Arial" panose="020B0604020202020204" pitchFamily="34" charset="0"/>
              </a:rPr>
              <a:t>B 103</a:t>
            </a:r>
          </a:p>
        </p:txBody>
      </p:sp>
      <p:sp>
        <p:nvSpPr>
          <p:cNvPr id="22" name="Rectangle 17"/>
          <p:cNvSpPr/>
          <p:nvPr userDrawn="1"/>
        </p:nvSpPr>
        <p:spPr bwMode="auto">
          <a:xfrm>
            <a:off x="3956050" y="4735513"/>
            <a:ext cx="874713" cy="862012"/>
          </a:xfrm>
          <a:prstGeom prst="rect">
            <a:avLst/>
          </a:prstGeom>
          <a:solidFill>
            <a:srgbClr val="ABC11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eaLnBrk="1" fontAlgn="auto" hangingPunct="1">
              <a:spcBef>
                <a:spcPts val="0"/>
              </a:spcBef>
              <a:spcAft>
                <a:spcPts val="0"/>
              </a:spcAft>
              <a:defRPr/>
            </a:pPr>
            <a:r>
              <a:rPr lang="en-GB" dirty="0">
                <a:latin typeface="Arial" panose="020B0604020202020204" pitchFamily="34" charset="0"/>
                <a:cs typeface="Arial" panose="020B0604020202020204" pitchFamily="34" charset="0"/>
              </a:rPr>
              <a:t>R 171</a:t>
            </a:r>
            <a:br>
              <a:rPr lang="en-GB" dirty="0">
                <a:latin typeface="Arial" panose="020B0604020202020204" pitchFamily="34" charset="0"/>
                <a:cs typeface="Arial" panose="020B0604020202020204" pitchFamily="34" charset="0"/>
              </a:rPr>
            </a:br>
            <a:r>
              <a:rPr lang="en-GB" dirty="0">
                <a:latin typeface="Arial" panose="020B0604020202020204" pitchFamily="34" charset="0"/>
                <a:cs typeface="Arial" panose="020B0604020202020204" pitchFamily="34" charset="0"/>
              </a:rPr>
              <a:t>G 193</a:t>
            </a:r>
          </a:p>
          <a:p>
            <a:pPr eaLnBrk="1" fontAlgn="auto" hangingPunct="1">
              <a:spcBef>
                <a:spcPts val="0"/>
              </a:spcBef>
              <a:spcAft>
                <a:spcPts val="0"/>
              </a:spcAft>
              <a:defRPr/>
            </a:pPr>
            <a:r>
              <a:rPr lang="en-GB" dirty="0">
                <a:latin typeface="Arial" panose="020B0604020202020204" pitchFamily="34" charset="0"/>
                <a:cs typeface="Arial" panose="020B0604020202020204" pitchFamily="34" charset="0"/>
              </a:rPr>
              <a:t>B 17</a:t>
            </a:r>
          </a:p>
        </p:txBody>
      </p:sp>
      <p:sp>
        <p:nvSpPr>
          <p:cNvPr id="23" name="Rectangle 17"/>
          <p:cNvSpPr/>
          <p:nvPr userDrawn="1"/>
        </p:nvSpPr>
        <p:spPr bwMode="auto">
          <a:xfrm>
            <a:off x="2173288" y="3468688"/>
            <a:ext cx="873125" cy="862012"/>
          </a:xfrm>
          <a:prstGeom prst="rect">
            <a:avLst/>
          </a:prstGeom>
          <a:solidFill>
            <a:srgbClr val="FDD04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eaLnBrk="1" fontAlgn="auto" hangingPunct="1">
              <a:spcBef>
                <a:spcPts val="0"/>
              </a:spcBef>
              <a:spcAft>
                <a:spcPts val="0"/>
              </a:spcAft>
              <a:defRPr/>
            </a:pPr>
            <a:r>
              <a:rPr lang="en-GB" dirty="0">
                <a:latin typeface="Arial" panose="020B0604020202020204" pitchFamily="34" charset="0"/>
                <a:cs typeface="Arial" panose="020B0604020202020204" pitchFamily="34" charset="0"/>
              </a:rPr>
              <a:t>R 253</a:t>
            </a:r>
            <a:br>
              <a:rPr lang="en-GB" dirty="0">
                <a:latin typeface="Arial" panose="020B0604020202020204" pitchFamily="34" charset="0"/>
                <a:cs typeface="Arial" panose="020B0604020202020204" pitchFamily="34" charset="0"/>
              </a:rPr>
            </a:br>
            <a:r>
              <a:rPr lang="en-GB" dirty="0">
                <a:latin typeface="Arial" panose="020B0604020202020204" pitchFamily="34" charset="0"/>
                <a:cs typeface="Arial" panose="020B0604020202020204" pitchFamily="34" charset="0"/>
              </a:rPr>
              <a:t>G 208</a:t>
            </a:r>
          </a:p>
          <a:p>
            <a:pPr eaLnBrk="1" fontAlgn="auto" hangingPunct="1">
              <a:spcBef>
                <a:spcPts val="0"/>
              </a:spcBef>
              <a:spcAft>
                <a:spcPts val="0"/>
              </a:spcAft>
              <a:defRPr/>
            </a:pPr>
            <a:r>
              <a:rPr lang="en-GB" dirty="0">
                <a:latin typeface="Arial" panose="020B0604020202020204" pitchFamily="34" charset="0"/>
                <a:cs typeface="Arial" panose="020B0604020202020204" pitchFamily="34" charset="0"/>
              </a:rPr>
              <a:t>B 74</a:t>
            </a:r>
          </a:p>
        </p:txBody>
      </p:sp>
      <p:sp>
        <p:nvSpPr>
          <p:cNvPr id="25" name="Title 1"/>
          <p:cNvSpPr>
            <a:spLocks noGrp="1"/>
          </p:cNvSpPr>
          <p:nvPr>
            <p:ph type="title"/>
          </p:nvPr>
        </p:nvSpPr>
        <p:spPr>
          <a:xfrm>
            <a:off x="1136343" y="512420"/>
            <a:ext cx="8133008" cy="295448"/>
          </a:xfrm>
          <a:prstGeom prst="rect">
            <a:avLst/>
          </a:prstGeom>
        </p:spPr>
        <p:txBody>
          <a:bodyPr anchor="ctr">
            <a:noAutofit/>
          </a:bodyPr>
          <a:lstStyle>
            <a:lvl1pPr>
              <a:defRPr lang="en-US" sz="1800" kern="1200" cap="none" baseline="0" dirty="0">
                <a:solidFill>
                  <a:schemeClr val="accent2"/>
                </a:solidFill>
                <a:latin typeface="Arial" panose="020B0604020202020204" pitchFamily="34" charset="0"/>
                <a:ea typeface="+mj-ea"/>
                <a:cs typeface="Arial" panose="020B0604020202020204" pitchFamily="34" charset="0"/>
              </a:defRPr>
            </a:lvl1pPr>
          </a:lstStyle>
          <a:p>
            <a:r>
              <a:rPr lang="en-US" smtClean="0"/>
              <a:t>Click to edit Master title style</a:t>
            </a:r>
            <a:endParaRPr lang="en-US" dirty="0"/>
          </a:p>
        </p:txBody>
      </p:sp>
      <p:sp>
        <p:nvSpPr>
          <p:cNvPr id="26" name="Slide Number Placeholder 5"/>
          <p:cNvSpPr>
            <a:spLocks noGrp="1"/>
          </p:cNvSpPr>
          <p:nvPr>
            <p:ph type="sldNum" sz="quarter" idx="16"/>
          </p:nvPr>
        </p:nvSpPr>
        <p:spPr>
          <a:xfrm>
            <a:off x="681038" y="6540500"/>
            <a:ext cx="500062" cy="260350"/>
          </a:xfrm>
        </p:spPr>
        <p:txBody>
          <a:bodyPr lIns="0" rIns="0"/>
          <a:lstStyle>
            <a:lvl1pPr>
              <a:defRPr smtClean="0"/>
            </a:lvl1pPr>
          </a:lstStyle>
          <a:p>
            <a:pPr>
              <a:defRPr/>
            </a:pPr>
            <a:fld id="{DB0A7A5C-6857-42AF-A05D-716B433D4EFD}" type="slidenum">
              <a:rPr lang="en-GB" altLang="es-ES"/>
              <a:pPr>
                <a:defRPr/>
              </a:pPr>
              <a:t>‹#›</a:t>
            </a:fld>
            <a:endParaRPr lang="en-GB" altLang="es-ES"/>
          </a:p>
        </p:txBody>
      </p:sp>
      <p:sp>
        <p:nvSpPr>
          <p:cNvPr id="27" name="Content Placeholder 2"/>
          <p:cNvSpPr>
            <a:spLocks noGrp="1"/>
          </p:cNvSpPr>
          <p:nvPr>
            <p:ph idx="17"/>
          </p:nvPr>
        </p:nvSpPr>
        <p:spPr>
          <a:xfrm>
            <a:off x="681038" y="6199043"/>
            <a:ext cx="5481637" cy="256261"/>
          </a:xfrm>
          <a:prstGeom prst="rect">
            <a:avLst/>
          </a:prstGeom>
        </p:spPr>
        <p:txBody>
          <a:bodyPr lIns="0" tIns="0" rIns="0" bIns="0" anchor="ctr">
            <a:normAutofit/>
          </a:bodyPr>
          <a:lstStyle>
            <a:lvl1pPr>
              <a:defRPr lang="en-US" sz="800" smtClean="0">
                <a:solidFill>
                  <a:schemeClr val="accent4"/>
                </a:solidFill>
                <a:latin typeface="Arial" panose="020B0604020202020204" pitchFamily="34" charset="0"/>
                <a:cs typeface="Arial" panose="020B0604020202020204" pitchFamily="34" charset="0"/>
              </a:defRPr>
            </a:lvl1pPr>
          </a:lstStyle>
          <a:p>
            <a:pPr marL="0" lvl="0" indent="0">
              <a:buClr>
                <a:schemeClr val="accent1"/>
              </a:buClr>
              <a:buSzPct val="150000"/>
              <a:buNone/>
            </a:pPr>
            <a:r>
              <a:rPr lang="en-US" smtClean="0"/>
              <a:t>Click to edit Master text styles</a:t>
            </a:r>
          </a:p>
        </p:txBody>
      </p:sp>
      <p:pic>
        <p:nvPicPr>
          <p:cNvPr id="28" name="Picture 2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108124" y="6100763"/>
            <a:ext cx="3356551" cy="592662"/>
          </a:xfrm>
          <a:prstGeom prst="rect">
            <a:avLst/>
          </a:prstGeom>
        </p:spPr>
      </p:pic>
    </p:spTree>
    <p:extLst>
      <p:ext uri="{BB962C8B-B14F-4D97-AF65-F5344CB8AC3E}">
        <p14:creationId xmlns:p14="http://schemas.microsoft.com/office/powerpoint/2010/main" val="847600815"/>
      </p:ext>
    </p:extLst>
  </p:cSld>
  <p:clrMapOvr>
    <a:masterClrMapping/>
  </p:clrMapOvr>
  <p:transition spd="med">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_BACK COVER">
    <p:spTree>
      <p:nvGrpSpPr>
        <p:cNvPr id="1" name=""/>
        <p:cNvGrpSpPr/>
        <p:nvPr/>
      </p:nvGrpSpPr>
      <p:grpSpPr>
        <a:xfrm>
          <a:off x="0" y="0"/>
          <a:ext cx="0" cy="0"/>
          <a:chOff x="0" y="0"/>
          <a:chExt cx="0" cy="0"/>
        </a:xfrm>
      </p:grpSpPr>
      <p:pic>
        <p:nvPicPr>
          <p:cNvPr id="4" name="Picture 6"/>
          <p:cNvPicPr>
            <a:picLocks noChangeAspect="1"/>
          </p:cNvPicPr>
          <p:nvPr/>
        </p:nvPicPr>
        <p:blipFill>
          <a:blip r:embed="rId2" cstate="print"/>
          <a:srcRect t="-2" b="31058"/>
          <a:stretch>
            <a:fillRect/>
          </a:stretch>
        </p:blipFill>
        <p:spPr bwMode="auto">
          <a:xfrm>
            <a:off x="0" y="0"/>
            <a:ext cx="9906000" cy="6858000"/>
          </a:xfrm>
          <a:prstGeom prst="rect">
            <a:avLst/>
          </a:prstGeom>
          <a:noFill/>
          <a:ln w="9525">
            <a:noFill/>
            <a:miter lim="800000"/>
            <a:headEnd/>
            <a:tailEnd/>
          </a:ln>
        </p:spPr>
      </p:pic>
      <p:sp>
        <p:nvSpPr>
          <p:cNvPr id="3" name="Subtitle 2"/>
          <p:cNvSpPr>
            <a:spLocks noGrp="1"/>
          </p:cNvSpPr>
          <p:nvPr>
            <p:ph type="subTitle" idx="1"/>
          </p:nvPr>
        </p:nvSpPr>
        <p:spPr>
          <a:xfrm>
            <a:off x="1069621" y="2896185"/>
            <a:ext cx="2651774" cy="527499"/>
          </a:xfrm>
          <a:prstGeom prst="rect">
            <a:avLst/>
          </a:prstGeom>
        </p:spPr>
        <p:txBody>
          <a:bodyPr anchor="ctr">
            <a:normAutofit/>
          </a:bodyPr>
          <a:lstStyle>
            <a:lvl1pPr marL="0" indent="0" algn="ctr">
              <a:buNone/>
              <a:defRPr sz="2400" cap="all" baseline="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5" name="Text Placeholder 4"/>
          <p:cNvSpPr>
            <a:spLocks noGrp="1"/>
          </p:cNvSpPr>
          <p:nvPr>
            <p:ph type="body" sz="quarter" idx="11"/>
          </p:nvPr>
        </p:nvSpPr>
        <p:spPr>
          <a:xfrm>
            <a:off x="1069621" y="6065120"/>
            <a:ext cx="8420100" cy="474662"/>
          </a:xfrm>
          <a:prstGeom prst="rect">
            <a:avLst/>
          </a:prstGeom>
        </p:spPr>
        <p:txBody>
          <a:bodyPr anchor="ctr"/>
          <a:lstStyle>
            <a:lvl1pPr marL="0" indent="0" algn="r">
              <a:buNone/>
              <a:defRPr sz="1400">
                <a:solidFill>
                  <a:schemeClr val="tx2"/>
                </a:solidFill>
              </a:defRPr>
            </a:lvl1pPr>
          </a:lstStyle>
          <a:p>
            <a:pPr lvl="0"/>
            <a:r>
              <a:rPr lang="en-US" smtClean="0"/>
              <a:t>Click to edit Master text styles</a:t>
            </a:r>
          </a:p>
        </p:txBody>
      </p:sp>
    </p:spTree>
    <p:extLst>
      <p:ext uri="{BB962C8B-B14F-4D97-AF65-F5344CB8AC3E}">
        <p14:creationId xmlns:p14="http://schemas.microsoft.com/office/powerpoint/2010/main" val="4068264483"/>
      </p:ext>
    </p:extLst>
  </p:cSld>
  <p:clrMapOvr>
    <a:masterClrMapping/>
  </p:clrMapOvr>
  <p:transition spd="med">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6_Title and Content">
    <p:spTree>
      <p:nvGrpSpPr>
        <p:cNvPr id="1" name=""/>
        <p:cNvGrpSpPr/>
        <p:nvPr/>
      </p:nvGrpSpPr>
      <p:grpSpPr>
        <a:xfrm>
          <a:off x="0" y="0"/>
          <a:ext cx="0" cy="0"/>
          <a:chOff x="0" y="0"/>
          <a:chExt cx="0" cy="0"/>
        </a:xfrm>
      </p:grpSpPr>
      <p:pic>
        <p:nvPicPr>
          <p:cNvPr id="7" name="Picture 2"/>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590675" cy="1276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8" name="Straight Connector 8"/>
          <p:cNvCxnSpPr/>
          <p:nvPr/>
        </p:nvCxnSpPr>
        <p:spPr>
          <a:xfrm>
            <a:off x="681038" y="6176963"/>
            <a:ext cx="8543925" cy="0"/>
          </a:xfrm>
          <a:prstGeom prst="line">
            <a:avLst/>
          </a:prstGeom>
          <a:ln>
            <a:solidFill>
              <a:schemeClr val="accent6"/>
            </a:solidFill>
          </a:ln>
          <a:effectLst/>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1635063" y="512420"/>
            <a:ext cx="7634288" cy="257452"/>
          </a:xfrm>
          <a:prstGeom prst="rect">
            <a:avLst/>
          </a:prstGeom>
        </p:spPr>
        <p:txBody>
          <a:bodyPr anchor="ctr">
            <a:noAutofit/>
          </a:bodyPr>
          <a:lstStyle>
            <a:lvl1pPr>
              <a:defRPr sz="1800" cap="none" baseline="0">
                <a:solidFill>
                  <a:schemeClr val="accent2"/>
                </a:solidFill>
                <a:latin typeface="Arial" panose="020B0604020202020204" pitchFamily="34" charset="0"/>
                <a:cs typeface="Arial" panose="020B0604020202020204" pitchFamily="34" charset="0"/>
              </a:defRPr>
            </a:lvl1pPr>
          </a:lstStyle>
          <a:p>
            <a:r>
              <a:rPr lang="en-US" smtClean="0"/>
              <a:t>Click to edit Master title style</a:t>
            </a:r>
            <a:endParaRPr lang="en-US" dirty="0"/>
          </a:p>
        </p:txBody>
      </p:sp>
      <p:sp>
        <p:nvSpPr>
          <p:cNvPr id="3" name="Content Placeholder 2"/>
          <p:cNvSpPr>
            <a:spLocks noGrp="1"/>
          </p:cNvSpPr>
          <p:nvPr>
            <p:ph idx="1"/>
          </p:nvPr>
        </p:nvSpPr>
        <p:spPr>
          <a:xfrm>
            <a:off x="681038" y="2725445"/>
            <a:ext cx="5033962" cy="3192228"/>
          </a:xfrm>
          <a:prstGeom prst="rect">
            <a:avLst/>
          </a:prstGeom>
        </p:spPr>
        <p:txBody>
          <a:bodyPr lIns="0" tIns="0" rIns="0" bIns="0">
            <a:normAutofit/>
          </a:bodyPr>
          <a:lstStyle>
            <a:lvl1pPr marL="177800" indent="-177800" algn="just">
              <a:spcBef>
                <a:spcPts val="0"/>
              </a:spcBef>
              <a:spcAft>
                <a:spcPts val="600"/>
              </a:spcAft>
              <a:buClr>
                <a:schemeClr val="accent1"/>
              </a:buClr>
              <a:buSzPct val="150000"/>
              <a:defRPr sz="1200">
                <a:solidFill>
                  <a:schemeClr val="accent2"/>
                </a:solidFill>
                <a:latin typeface="Arial" panose="020B0604020202020204" pitchFamily="34" charset="0"/>
                <a:cs typeface="Arial" panose="020B0604020202020204" pitchFamily="34" charset="0"/>
              </a:defRPr>
            </a:lvl1pPr>
            <a:lvl2pPr marL="630238" indent="-173038" algn="just">
              <a:spcBef>
                <a:spcPts val="0"/>
              </a:spcBef>
              <a:spcAft>
                <a:spcPts val="600"/>
              </a:spcAft>
              <a:buClr>
                <a:schemeClr val="accent6"/>
              </a:buClr>
              <a:buSzPct val="100000"/>
              <a:buFont typeface="Frutiger" panose="00000400000000000000" pitchFamily="2" charset="0"/>
              <a:buChar char="•"/>
              <a:defRPr sz="1200">
                <a:solidFill>
                  <a:schemeClr val="accent2"/>
                </a:solidFill>
                <a:latin typeface="Arial" panose="020B0604020202020204" pitchFamily="34" charset="0"/>
                <a:cs typeface="Arial" panose="020B0604020202020204" pitchFamily="34" charset="0"/>
              </a:defRPr>
            </a:lvl2pPr>
          </a:lstStyle>
          <a:p>
            <a:pPr lvl="0"/>
            <a:r>
              <a:rPr lang="en-US" dirty="0" smtClean="0"/>
              <a:t>Click to edit Master text styles</a:t>
            </a:r>
          </a:p>
          <a:p>
            <a:pPr lvl="1"/>
            <a:r>
              <a:rPr lang="en-US" dirty="0" smtClean="0"/>
              <a:t>Second level</a:t>
            </a:r>
          </a:p>
        </p:txBody>
      </p:sp>
      <p:sp>
        <p:nvSpPr>
          <p:cNvPr id="11" name="Content Placeholder 2"/>
          <p:cNvSpPr>
            <a:spLocks noGrp="1"/>
          </p:cNvSpPr>
          <p:nvPr>
            <p:ph idx="13"/>
          </p:nvPr>
        </p:nvSpPr>
        <p:spPr>
          <a:xfrm>
            <a:off x="681037" y="1313354"/>
            <a:ext cx="8543925" cy="1028509"/>
          </a:xfrm>
          <a:prstGeom prst="rect">
            <a:avLst/>
          </a:prstGeom>
        </p:spPr>
        <p:txBody>
          <a:bodyPr lIns="0" tIns="0" rIns="0" bIns="0">
            <a:normAutofit/>
          </a:bodyPr>
          <a:lstStyle>
            <a:lvl1pPr marL="0" indent="0" algn="just">
              <a:lnSpc>
                <a:spcPct val="100000"/>
              </a:lnSpc>
              <a:spcBef>
                <a:spcPts val="0"/>
              </a:spcBef>
              <a:buClr>
                <a:schemeClr val="accent1"/>
              </a:buClr>
              <a:buSzPct val="150000"/>
              <a:buNone/>
              <a:defRPr sz="1400">
                <a:solidFill>
                  <a:schemeClr val="accent2"/>
                </a:solidFill>
                <a:latin typeface="Arial" panose="020B0604020202020204" pitchFamily="34" charset="0"/>
                <a:cs typeface="Arial" panose="020B0604020202020204" pitchFamily="34" charset="0"/>
              </a:defRPr>
            </a:lvl1pPr>
            <a:lvl2pPr marL="808038" indent="-350838">
              <a:buClr>
                <a:schemeClr val="accent1"/>
              </a:buClr>
              <a:buSzPct val="100000"/>
              <a:buFont typeface="Frutiger" panose="00000400000000000000" pitchFamily="2" charset="0"/>
              <a:buChar char="•"/>
              <a:defRPr sz="1600"/>
            </a:lvl2pPr>
          </a:lstStyle>
          <a:p>
            <a:pPr lvl="0"/>
            <a:r>
              <a:rPr lang="en-US" smtClean="0"/>
              <a:t>Click to edit Master text styles</a:t>
            </a:r>
          </a:p>
        </p:txBody>
      </p:sp>
      <p:sp>
        <p:nvSpPr>
          <p:cNvPr id="14" name="Content Placeholder 2"/>
          <p:cNvSpPr>
            <a:spLocks noGrp="1"/>
          </p:cNvSpPr>
          <p:nvPr>
            <p:ph idx="16"/>
          </p:nvPr>
        </p:nvSpPr>
        <p:spPr>
          <a:xfrm>
            <a:off x="681038" y="6199043"/>
            <a:ext cx="5481637" cy="256261"/>
          </a:xfrm>
          <a:prstGeom prst="rect">
            <a:avLst/>
          </a:prstGeom>
        </p:spPr>
        <p:txBody>
          <a:bodyPr lIns="0" tIns="0" rIns="0" bIns="0" anchor="ctr">
            <a:normAutofit/>
          </a:bodyPr>
          <a:lstStyle>
            <a:lvl1pPr marL="0" indent="0">
              <a:buClr>
                <a:schemeClr val="accent1"/>
              </a:buClr>
              <a:buSzPct val="150000"/>
              <a:buNone/>
              <a:defRPr sz="800">
                <a:solidFill>
                  <a:schemeClr val="accent4"/>
                </a:solidFill>
                <a:latin typeface="Arial" panose="020B0604020202020204" pitchFamily="34" charset="0"/>
                <a:cs typeface="Arial" panose="020B0604020202020204" pitchFamily="34" charset="0"/>
              </a:defRPr>
            </a:lvl1pPr>
            <a:lvl2pPr marL="808038" indent="-350838">
              <a:buClr>
                <a:schemeClr val="accent1"/>
              </a:buClr>
              <a:buSzPct val="100000"/>
              <a:buFont typeface="Frutiger" panose="00000400000000000000" pitchFamily="2" charset="0"/>
              <a:buChar char="•"/>
              <a:defRPr sz="1600"/>
            </a:lvl2pPr>
          </a:lstStyle>
          <a:p>
            <a:pPr lvl="0"/>
            <a:r>
              <a:rPr lang="en-US" smtClean="0"/>
              <a:t>Click to edit Master text styles</a:t>
            </a:r>
          </a:p>
        </p:txBody>
      </p:sp>
      <p:sp>
        <p:nvSpPr>
          <p:cNvPr id="10" name="Slide Number Placeholder 5"/>
          <p:cNvSpPr>
            <a:spLocks noGrp="1"/>
          </p:cNvSpPr>
          <p:nvPr>
            <p:ph type="sldNum" sz="quarter" idx="17"/>
          </p:nvPr>
        </p:nvSpPr>
        <p:spPr>
          <a:xfrm>
            <a:off x="681038" y="6540500"/>
            <a:ext cx="500062" cy="260350"/>
          </a:xfrm>
        </p:spPr>
        <p:txBody>
          <a:bodyPr lIns="0" rIns="0"/>
          <a:lstStyle>
            <a:lvl1pPr>
              <a:defRPr smtClean="0"/>
            </a:lvl1pPr>
          </a:lstStyle>
          <a:p>
            <a:pPr>
              <a:defRPr/>
            </a:pPr>
            <a:fld id="{53AF24CB-6E92-4749-ACC3-553FF8B81434}" type="slidenum">
              <a:rPr lang="en-GB" altLang="es-ES"/>
              <a:pPr>
                <a:defRPr/>
              </a:pPr>
              <a:t>‹#›</a:t>
            </a:fld>
            <a:endParaRPr lang="en-GB" altLang="es-ES"/>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108124" y="6100763"/>
            <a:ext cx="3356551" cy="592662"/>
          </a:xfrm>
          <a:prstGeom prst="rect">
            <a:avLst/>
          </a:prstGeom>
        </p:spPr>
      </p:pic>
    </p:spTree>
    <p:extLst>
      <p:ext uri="{BB962C8B-B14F-4D97-AF65-F5344CB8AC3E}">
        <p14:creationId xmlns:p14="http://schemas.microsoft.com/office/powerpoint/2010/main" val="3615110093"/>
      </p:ext>
    </p:extLst>
  </p:cSld>
  <p:clrMapOvr>
    <a:masterClrMapping/>
  </p:clrMapOvr>
  <p:transition spd="med">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DEX">
    <p:spTree>
      <p:nvGrpSpPr>
        <p:cNvPr id="1" name=""/>
        <p:cNvGrpSpPr/>
        <p:nvPr/>
      </p:nvGrpSpPr>
      <p:grpSpPr>
        <a:xfrm>
          <a:off x="0" y="0"/>
          <a:ext cx="0" cy="0"/>
          <a:chOff x="0" y="0"/>
          <a:chExt cx="0" cy="0"/>
        </a:xfrm>
      </p:grpSpPr>
      <p:pic>
        <p:nvPicPr>
          <p:cNvPr id="4" name="Picture 2"/>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906000" cy="7429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Content Placeholder 2"/>
          <p:cNvSpPr>
            <a:spLocks noGrp="1"/>
          </p:cNvSpPr>
          <p:nvPr>
            <p:ph idx="10"/>
          </p:nvPr>
        </p:nvSpPr>
        <p:spPr>
          <a:xfrm>
            <a:off x="2272682" y="2317072"/>
            <a:ext cx="5626363" cy="3888418"/>
          </a:xfrm>
          <a:prstGeom prst="rect">
            <a:avLst/>
          </a:prstGeom>
        </p:spPr>
        <p:txBody>
          <a:bodyPr lIns="0" tIns="0" rIns="0" bIns="0" anchor="t">
            <a:normAutofit/>
          </a:bodyPr>
          <a:lstStyle>
            <a:lvl1pPr marL="266700" indent="-266700">
              <a:spcBef>
                <a:spcPts val="0"/>
              </a:spcBef>
              <a:spcAft>
                <a:spcPts val="2600"/>
              </a:spcAft>
              <a:buClr>
                <a:schemeClr val="accent2"/>
              </a:buClr>
              <a:buSzPct val="100000"/>
              <a:buFont typeface="+mj-lt"/>
              <a:buAutoNum type="arabicPeriod"/>
              <a:defRPr sz="1800" cap="none" baseline="0">
                <a:solidFill>
                  <a:schemeClr val="accent2"/>
                </a:solidFill>
                <a:latin typeface="Arial" panose="020B0604020202020204" pitchFamily="34" charset="0"/>
                <a:cs typeface="Arial" panose="020B0604020202020204" pitchFamily="34" charset="0"/>
              </a:defRPr>
            </a:lvl1pPr>
            <a:lvl2pPr marL="685800" indent="-228600">
              <a:spcBef>
                <a:spcPts val="0"/>
              </a:spcBef>
              <a:spcAft>
                <a:spcPts val="600"/>
              </a:spcAft>
              <a:buClr>
                <a:schemeClr val="accent6"/>
              </a:buClr>
              <a:buSzPct val="100000"/>
              <a:buFont typeface="+mj-lt"/>
              <a:buAutoNum type="arabicPeriod"/>
              <a:defRPr sz="1200"/>
            </a:lvl2pPr>
          </a:lstStyle>
          <a:p>
            <a:pPr lvl="0"/>
            <a:r>
              <a:rPr lang="en-US" dirty="0" smtClean="0"/>
              <a:t>Click to edit Master text styles</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549449" y="6006120"/>
            <a:ext cx="3356551" cy="592662"/>
          </a:xfrm>
          <a:prstGeom prst="rect">
            <a:avLst/>
          </a:prstGeom>
        </p:spPr>
      </p:pic>
    </p:spTree>
    <p:extLst>
      <p:ext uri="{BB962C8B-B14F-4D97-AF65-F5344CB8AC3E}">
        <p14:creationId xmlns:p14="http://schemas.microsoft.com/office/powerpoint/2010/main" val="586234974"/>
      </p:ext>
    </p:extLst>
  </p:cSld>
  <p:clrMapOvr>
    <a:masterClrMapping/>
  </p:clrMapOvr>
  <p:transition spd="med">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4_Title and Content">
    <p:spTree>
      <p:nvGrpSpPr>
        <p:cNvPr id="1" name=""/>
        <p:cNvGrpSpPr/>
        <p:nvPr/>
      </p:nvGrpSpPr>
      <p:grpSpPr>
        <a:xfrm>
          <a:off x="0" y="0"/>
          <a:ext cx="0" cy="0"/>
          <a:chOff x="0" y="0"/>
          <a:chExt cx="0" cy="0"/>
        </a:xfrm>
      </p:grpSpPr>
      <p:pic>
        <p:nvPicPr>
          <p:cNvPr id="7" name="Picture 2"/>
          <p:cNvPicPr>
            <a:picLocks noChangeAspect="1"/>
          </p:cNvPicPr>
          <p:nvPr/>
        </p:nvPicPr>
        <p:blipFill>
          <a:blip r:embed="rId2"/>
          <a:srcRect/>
          <a:stretch>
            <a:fillRect/>
          </a:stretch>
        </p:blipFill>
        <p:spPr bwMode="auto">
          <a:xfrm>
            <a:off x="0" y="0"/>
            <a:ext cx="1590675" cy="1276350"/>
          </a:xfrm>
          <a:prstGeom prst="rect">
            <a:avLst/>
          </a:prstGeom>
          <a:noFill/>
          <a:ln w="9525">
            <a:noFill/>
            <a:miter lim="800000"/>
            <a:headEnd/>
            <a:tailEnd/>
          </a:ln>
        </p:spPr>
      </p:pic>
      <p:cxnSp>
        <p:nvCxnSpPr>
          <p:cNvPr id="8" name="Straight Connector 8"/>
          <p:cNvCxnSpPr/>
          <p:nvPr/>
        </p:nvCxnSpPr>
        <p:spPr>
          <a:xfrm>
            <a:off x="681038" y="6176963"/>
            <a:ext cx="8543925" cy="0"/>
          </a:xfrm>
          <a:prstGeom prst="line">
            <a:avLst/>
          </a:prstGeom>
          <a:ln>
            <a:solidFill>
              <a:schemeClr val="accent6"/>
            </a:solidFill>
          </a:ln>
          <a:effectLst/>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1635063" y="512420"/>
            <a:ext cx="7634288" cy="257452"/>
          </a:xfrm>
          <a:prstGeom prst="rect">
            <a:avLst/>
          </a:prstGeom>
        </p:spPr>
        <p:txBody>
          <a:bodyPr anchor="ctr">
            <a:noAutofit/>
          </a:bodyPr>
          <a:lstStyle>
            <a:lvl1pPr>
              <a:defRPr sz="1800" cap="none" baseline="0">
                <a:solidFill>
                  <a:schemeClr val="accent6"/>
                </a:solidFill>
              </a:defRPr>
            </a:lvl1pPr>
          </a:lstStyle>
          <a:p>
            <a:r>
              <a:rPr lang="en-US" smtClean="0"/>
              <a:t>Click to edit Master title style</a:t>
            </a:r>
            <a:endParaRPr lang="en-US" dirty="0"/>
          </a:p>
        </p:txBody>
      </p:sp>
      <p:sp>
        <p:nvSpPr>
          <p:cNvPr id="3" name="Content Placeholder 2"/>
          <p:cNvSpPr>
            <a:spLocks noGrp="1"/>
          </p:cNvSpPr>
          <p:nvPr>
            <p:ph idx="1"/>
          </p:nvPr>
        </p:nvSpPr>
        <p:spPr>
          <a:xfrm>
            <a:off x="681038" y="2725445"/>
            <a:ext cx="5033962" cy="3192228"/>
          </a:xfrm>
          <a:prstGeom prst="rect">
            <a:avLst/>
          </a:prstGeom>
        </p:spPr>
        <p:txBody>
          <a:bodyPr lIns="0" tIns="0" rIns="0" bIns="0">
            <a:normAutofit/>
          </a:bodyPr>
          <a:lstStyle>
            <a:lvl1pPr marL="177800" indent="-177800">
              <a:spcBef>
                <a:spcPts val="0"/>
              </a:spcBef>
              <a:spcAft>
                <a:spcPts val="600"/>
              </a:spcAft>
              <a:buClr>
                <a:schemeClr val="accent1"/>
              </a:buClr>
              <a:buSzPct val="150000"/>
              <a:defRPr sz="1200">
                <a:solidFill>
                  <a:schemeClr val="tx2"/>
                </a:solidFill>
              </a:defRPr>
            </a:lvl1pPr>
            <a:lvl2pPr marL="630238" indent="-173038">
              <a:spcBef>
                <a:spcPts val="0"/>
              </a:spcBef>
              <a:spcAft>
                <a:spcPts val="600"/>
              </a:spcAft>
              <a:buClr>
                <a:schemeClr val="accent6"/>
              </a:buClr>
              <a:buSzPct val="100000"/>
              <a:buFont typeface="Frutiger" panose="00000400000000000000" pitchFamily="2" charset="0"/>
              <a:buChar char="•"/>
              <a:defRPr sz="1200">
                <a:solidFill>
                  <a:schemeClr val="tx2"/>
                </a:solidFill>
              </a:defRPr>
            </a:lvl2pPr>
          </a:lstStyle>
          <a:p>
            <a:pPr lvl="0"/>
            <a:r>
              <a:rPr lang="en-US" smtClean="0"/>
              <a:t>Click to edit Master text styles</a:t>
            </a:r>
          </a:p>
          <a:p>
            <a:pPr lvl="1"/>
            <a:r>
              <a:rPr lang="en-US" smtClean="0"/>
              <a:t>Second level</a:t>
            </a:r>
          </a:p>
        </p:txBody>
      </p:sp>
      <p:sp>
        <p:nvSpPr>
          <p:cNvPr id="11" name="Content Placeholder 2"/>
          <p:cNvSpPr>
            <a:spLocks noGrp="1"/>
          </p:cNvSpPr>
          <p:nvPr>
            <p:ph idx="13"/>
          </p:nvPr>
        </p:nvSpPr>
        <p:spPr>
          <a:xfrm>
            <a:off x="681037" y="1313354"/>
            <a:ext cx="8543925" cy="1028509"/>
          </a:xfrm>
          <a:prstGeom prst="rect">
            <a:avLst/>
          </a:prstGeom>
        </p:spPr>
        <p:txBody>
          <a:bodyPr lIns="0" tIns="0" rIns="0" bIns="0">
            <a:normAutofit/>
          </a:bodyPr>
          <a:lstStyle>
            <a:lvl1pPr marL="0" indent="0">
              <a:lnSpc>
                <a:spcPct val="100000"/>
              </a:lnSpc>
              <a:spcBef>
                <a:spcPts val="0"/>
              </a:spcBef>
              <a:buClr>
                <a:schemeClr val="accent1"/>
              </a:buClr>
              <a:buSzPct val="150000"/>
              <a:buNone/>
              <a:defRPr sz="1400">
                <a:solidFill>
                  <a:schemeClr val="accent6"/>
                </a:solidFill>
              </a:defRPr>
            </a:lvl1pPr>
            <a:lvl2pPr marL="808038" indent="-350838">
              <a:buClr>
                <a:schemeClr val="accent1"/>
              </a:buClr>
              <a:buSzPct val="100000"/>
              <a:buFont typeface="Frutiger" panose="00000400000000000000" pitchFamily="2" charset="0"/>
              <a:buChar char="•"/>
              <a:defRPr sz="1600"/>
            </a:lvl2pPr>
          </a:lstStyle>
          <a:p>
            <a:pPr lvl="0"/>
            <a:r>
              <a:rPr lang="en-US" smtClean="0"/>
              <a:t>Click to edit Master text styles</a:t>
            </a:r>
          </a:p>
        </p:txBody>
      </p:sp>
      <p:sp>
        <p:nvSpPr>
          <p:cNvPr id="12" name="Content Placeholder 7"/>
          <p:cNvSpPr>
            <a:spLocks noGrp="1"/>
          </p:cNvSpPr>
          <p:nvPr>
            <p:ph sz="quarter" idx="14"/>
          </p:nvPr>
        </p:nvSpPr>
        <p:spPr>
          <a:xfrm>
            <a:off x="236538" y="368300"/>
            <a:ext cx="855662" cy="776288"/>
          </a:xfrm>
          <a:prstGeom prst="rect">
            <a:avLst/>
          </a:prstGeom>
        </p:spPr>
        <p:txBody>
          <a:bodyPr anchor="ctr">
            <a:normAutofit/>
          </a:bodyPr>
          <a:lstStyle>
            <a:lvl1pPr marL="0" indent="0" algn="ctr">
              <a:buNone/>
              <a:defRPr sz="4800">
                <a:solidFill>
                  <a:schemeClr val="bg1"/>
                </a:solidFill>
                <a:latin typeface="+mj-lt"/>
              </a:defRPr>
            </a:lvl1pPr>
          </a:lstStyle>
          <a:p>
            <a:pPr lvl="0"/>
            <a:r>
              <a:rPr lang="en-US" smtClean="0"/>
              <a:t>Click to edit Master text styles</a:t>
            </a:r>
          </a:p>
        </p:txBody>
      </p:sp>
      <p:sp>
        <p:nvSpPr>
          <p:cNvPr id="14" name="Content Placeholder 2"/>
          <p:cNvSpPr>
            <a:spLocks noGrp="1"/>
          </p:cNvSpPr>
          <p:nvPr>
            <p:ph idx="16"/>
          </p:nvPr>
        </p:nvSpPr>
        <p:spPr>
          <a:xfrm>
            <a:off x="681038" y="6179993"/>
            <a:ext cx="8543925" cy="219541"/>
          </a:xfrm>
          <a:prstGeom prst="rect">
            <a:avLst/>
          </a:prstGeom>
        </p:spPr>
        <p:txBody>
          <a:bodyPr lIns="0" tIns="0" rIns="0" bIns="0" anchor="ctr">
            <a:normAutofit/>
          </a:bodyPr>
          <a:lstStyle>
            <a:lvl1pPr marL="0" indent="0">
              <a:buClr>
                <a:schemeClr val="accent1"/>
              </a:buClr>
              <a:buSzPct val="150000"/>
              <a:buNone/>
              <a:defRPr sz="800">
                <a:solidFill>
                  <a:schemeClr val="accent6"/>
                </a:solidFill>
              </a:defRPr>
            </a:lvl1pPr>
            <a:lvl2pPr marL="808038" indent="-350838">
              <a:buClr>
                <a:schemeClr val="accent1"/>
              </a:buClr>
              <a:buSzPct val="100000"/>
              <a:buFont typeface="Frutiger" panose="00000400000000000000" pitchFamily="2" charset="0"/>
              <a:buChar char="•"/>
              <a:defRPr sz="1600"/>
            </a:lvl2pPr>
          </a:lstStyle>
          <a:p>
            <a:pPr lvl="0"/>
            <a:r>
              <a:rPr lang="en-US" smtClean="0"/>
              <a:t>Click to edit Master text styles</a:t>
            </a:r>
          </a:p>
        </p:txBody>
      </p:sp>
      <p:sp>
        <p:nvSpPr>
          <p:cNvPr id="10" name="Slide Number Placeholder 5"/>
          <p:cNvSpPr>
            <a:spLocks noGrp="1"/>
          </p:cNvSpPr>
          <p:nvPr>
            <p:ph type="sldNum" sz="quarter" idx="17"/>
          </p:nvPr>
        </p:nvSpPr>
        <p:spPr>
          <a:xfrm>
            <a:off x="681038" y="6540500"/>
            <a:ext cx="500062" cy="260350"/>
          </a:xfrm>
        </p:spPr>
        <p:txBody>
          <a:bodyPr lIns="0" rIns="0"/>
          <a:lstStyle>
            <a:lvl1pPr>
              <a:defRPr/>
            </a:lvl1pPr>
          </a:lstStyle>
          <a:p>
            <a:pPr>
              <a:defRPr/>
            </a:pPr>
            <a:fld id="{8E1E93EA-7DA6-4850-981E-391162121691}" type="slidenum">
              <a:rPr lang="en-GB">
                <a:solidFill>
                  <a:prstClr val="black">
                    <a:tint val="75000"/>
                  </a:prstClr>
                </a:solidFill>
              </a:rPr>
              <a:pPr>
                <a:defRPr/>
              </a:pPr>
              <a:t>‹#›</a:t>
            </a:fld>
            <a:endParaRPr lang="en-GB">
              <a:solidFill>
                <a:prstClr val="black">
                  <a:tint val="75000"/>
                </a:prstClr>
              </a:solidFill>
            </a:endParaRPr>
          </a:p>
        </p:txBody>
      </p:sp>
      <p:pic>
        <p:nvPicPr>
          <p:cNvPr id="4" name="Imagem 3"/>
          <p:cNvPicPr>
            <a:picLocks noChangeAspect="1"/>
          </p:cNvPicPr>
          <p:nvPr userDrawn="1"/>
        </p:nvPicPr>
        <p:blipFill>
          <a:blip r:embed="rId3"/>
          <a:stretch>
            <a:fillRect/>
          </a:stretch>
        </p:blipFill>
        <p:spPr>
          <a:xfrm>
            <a:off x="6518103" y="6195146"/>
            <a:ext cx="2706859" cy="475529"/>
          </a:xfrm>
          <a:prstGeom prst="rect">
            <a:avLst/>
          </a:prstGeom>
        </p:spPr>
      </p:pic>
    </p:spTree>
    <p:extLst>
      <p:ext uri="{BB962C8B-B14F-4D97-AF65-F5344CB8AC3E}">
        <p14:creationId xmlns:p14="http://schemas.microsoft.com/office/powerpoint/2010/main" val="2932908163"/>
      </p:ext>
    </p:extLst>
  </p:cSld>
  <p:clrMapOvr>
    <a:masterClrMapping/>
  </p:clrMapOvr>
  <p:transition spd="med">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IVIDER SLIDE 1">
    <p:spTree>
      <p:nvGrpSpPr>
        <p:cNvPr id="1" name=""/>
        <p:cNvGrpSpPr/>
        <p:nvPr/>
      </p:nvGrpSpPr>
      <p:grpSpPr>
        <a:xfrm>
          <a:off x="0" y="0"/>
          <a:ext cx="0" cy="0"/>
          <a:chOff x="0" y="0"/>
          <a:chExt cx="0" cy="0"/>
        </a:xfrm>
      </p:grpSpPr>
      <p:pic>
        <p:nvPicPr>
          <p:cNvPr id="3" name="Picture 3"/>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906000" cy="7429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Content Placeholder 2"/>
          <p:cNvSpPr>
            <a:spLocks noGrp="1"/>
          </p:cNvSpPr>
          <p:nvPr>
            <p:ph idx="10"/>
          </p:nvPr>
        </p:nvSpPr>
        <p:spPr>
          <a:xfrm>
            <a:off x="2272682" y="2317073"/>
            <a:ext cx="5626363" cy="2263806"/>
          </a:xfrm>
          <a:prstGeom prst="rect">
            <a:avLst/>
          </a:prstGeom>
        </p:spPr>
        <p:txBody>
          <a:bodyPr lIns="0" tIns="0" rIns="0" bIns="0" anchor="ctr">
            <a:normAutofit/>
          </a:bodyPr>
          <a:lstStyle>
            <a:lvl1pPr marL="0" indent="0">
              <a:spcBef>
                <a:spcPts val="0"/>
              </a:spcBef>
              <a:spcAft>
                <a:spcPts val="600"/>
              </a:spcAft>
              <a:buClr>
                <a:schemeClr val="accent6"/>
              </a:buClr>
              <a:buSzPct val="100000"/>
              <a:buFont typeface="+mj-lt"/>
              <a:buNone/>
              <a:defRPr sz="2400" cap="none" baseline="0">
                <a:solidFill>
                  <a:schemeClr val="accent2"/>
                </a:solidFill>
                <a:latin typeface="Arial" panose="020B0604020202020204" pitchFamily="34" charset="0"/>
                <a:cs typeface="Arial" panose="020B0604020202020204" pitchFamily="34" charset="0"/>
              </a:defRPr>
            </a:lvl1pPr>
            <a:lvl2pPr marL="685800" indent="-228600">
              <a:spcBef>
                <a:spcPts val="0"/>
              </a:spcBef>
              <a:spcAft>
                <a:spcPts val="600"/>
              </a:spcAft>
              <a:buClr>
                <a:schemeClr val="accent6"/>
              </a:buClr>
              <a:buSzPct val="100000"/>
              <a:buFont typeface="+mj-lt"/>
              <a:buAutoNum type="arabicPeriod"/>
              <a:defRPr sz="1200"/>
            </a:lvl2pPr>
          </a:lstStyle>
          <a:p>
            <a:pPr lvl="0"/>
            <a:r>
              <a:rPr lang="en-US" dirty="0" smtClean="0"/>
              <a:t>Click to edit Master text styles</a:t>
            </a:r>
          </a:p>
        </p:txBody>
      </p:sp>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549449" y="6006120"/>
            <a:ext cx="3356551" cy="592662"/>
          </a:xfrm>
          <a:prstGeom prst="rect">
            <a:avLst/>
          </a:prstGeom>
        </p:spPr>
      </p:pic>
    </p:spTree>
    <p:extLst>
      <p:ext uri="{BB962C8B-B14F-4D97-AF65-F5344CB8AC3E}">
        <p14:creationId xmlns:p14="http://schemas.microsoft.com/office/powerpoint/2010/main" val="508768582"/>
      </p:ext>
    </p:extLst>
  </p:cSld>
  <p:clrMapOvr>
    <a:masterClrMapping/>
  </p:clrMapOvr>
  <p:transition spd="med">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DIVIDER SLID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063174" y="2815244"/>
            <a:ext cx="5741701" cy="1013805"/>
          </a:xfrm>
          <a:prstGeom prst="rect">
            <a:avLst/>
          </a:prstGeom>
        </p:spPr>
      </p:pic>
    </p:spTree>
    <p:extLst>
      <p:ext uri="{BB962C8B-B14F-4D97-AF65-F5344CB8AC3E}">
        <p14:creationId xmlns:p14="http://schemas.microsoft.com/office/powerpoint/2010/main" val="3640507025"/>
      </p:ext>
    </p:extLst>
  </p:cSld>
  <p:clrMapOvr>
    <a:masterClrMapping/>
  </p:clrMapOvr>
  <p:transition spd="med">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IVIDER SLIDE 2">
    <p:spTree>
      <p:nvGrpSpPr>
        <p:cNvPr id="1" name=""/>
        <p:cNvGrpSpPr/>
        <p:nvPr/>
      </p:nvGrpSpPr>
      <p:grpSpPr>
        <a:xfrm>
          <a:off x="0" y="0"/>
          <a:ext cx="0" cy="0"/>
          <a:chOff x="0" y="0"/>
          <a:chExt cx="0" cy="0"/>
        </a:xfrm>
      </p:grpSpPr>
      <p:pic>
        <p:nvPicPr>
          <p:cNvPr id="3" name="Picture 4"/>
          <p:cNvPicPr>
            <a:picLocks noChangeAspect="1"/>
          </p:cNvPicPr>
          <p:nvPr/>
        </p:nvPicPr>
        <p:blipFill>
          <a:blip r:embed="rId2">
            <a:extLst>
              <a:ext uri="{28A0092B-C50C-407E-A947-70E740481C1C}">
                <a14:useLocalDpi xmlns:a14="http://schemas.microsoft.com/office/drawing/2010/main" val="0"/>
              </a:ext>
            </a:extLst>
          </a:blip>
          <a:srcRect t="-2" b="31058"/>
          <a:stretch>
            <a:fillRect/>
          </a:stretch>
        </p:blipFill>
        <p:spPr bwMode="auto">
          <a:xfrm>
            <a:off x="0" y="-3175"/>
            <a:ext cx="9906000" cy="686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Content Placeholder 2"/>
          <p:cNvSpPr>
            <a:spLocks noGrp="1"/>
          </p:cNvSpPr>
          <p:nvPr>
            <p:ph idx="10"/>
          </p:nvPr>
        </p:nvSpPr>
        <p:spPr>
          <a:xfrm>
            <a:off x="4298623" y="3893269"/>
            <a:ext cx="5489270" cy="1414021"/>
          </a:xfrm>
          <a:prstGeom prst="rect">
            <a:avLst/>
          </a:prstGeom>
        </p:spPr>
        <p:txBody>
          <a:bodyPr lIns="0" tIns="0" rIns="0" bIns="0" anchor="t">
            <a:normAutofit/>
          </a:bodyPr>
          <a:lstStyle>
            <a:lvl1pPr marL="0" indent="0">
              <a:spcBef>
                <a:spcPts val="0"/>
              </a:spcBef>
              <a:spcAft>
                <a:spcPts val="600"/>
              </a:spcAft>
              <a:buClr>
                <a:schemeClr val="accent6"/>
              </a:buClr>
              <a:buSzPct val="100000"/>
              <a:buFont typeface="+mj-lt"/>
              <a:buNone/>
              <a:defRPr sz="2400" cap="none" baseline="0">
                <a:solidFill>
                  <a:schemeClr val="accent2"/>
                </a:solidFill>
                <a:latin typeface="Arial" panose="020B0604020202020204" pitchFamily="34" charset="0"/>
                <a:cs typeface="Arial" panose="020B0604020202020204" pitchFamily="34" charset="0"/>
              </a:defRPr>
            </a:lvl1pPr>
            <a:lvl2pPr marL="685800" indent="-228600">
              <a:spcBef>
                <a:spcPts val="0"/>
              </a:spcBef>
              <a:spcAft>
                <a:spcPts val="600"/>
              </a:spcAft>
              <a:buClr>
                <a:schemeClr val="accent6"/>
              </a:buClr>
              <a:buSzPct val="100000"/>
              <a:buFont typeface="+mj-lt"/>
              <a:buAutoNum type="arabicPeriod"/>
              <a:defRPr sz="1200"/>
            </a:lvl2pPr>
          </a:lstStyle>
          <a:p>
            <a:pPr lvl="0"/>
            <a:r>
              <a:rPr lang="en-US" dirty="0" smtClean="0"/>
              <a:t>Click to edit Master text styles</a:t>
            </a:r>
          </a:p>
        </p:txBody>
      </p:sp>
    </p:spTree>
    <p:extLst>
      <p:ext uri="{BB962C8B-B14F-4D97-AF65-F5344CB8AC3E}">
        <p14:creationId xmlns:p14="http://schemas.microsoft.com/office/powerpoint/2010/main" val="4289610578"/>
      </p:ext>
    </p:extLst>
  </p:cSld>
  <p:clrMapOvr>
    <a:masterClrMapping/>
  </p:clrMapOvr>
  <p:transition spd="med">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seño personalizado">
    <p:spTree>
      <p:nvGrpSpPr>
        <p:cNvPr id="1" name=""/>
        <p:cNvGrpSpPr/>
        <p:nvPr/>
      </p:nvGrpSpPr>
      <p:grpSpPr>
        <a:xfrm>
          <a:off x="0" y="0"/>
          <a:ext cx="0" cy="0"/>
          <a:chOff x="0" y="0"/>
          <a:chExt cx="0" cy="0"/>
        </a:xfrm>
      </p:grpSpPr>
      <p:pic>
        <p:nvPicPr>
          <p:cNvPr id="10" name="Picture 1" descr="diamond.png"/>
          <p:cNvPicPr>
            <a:picLocks noChangeAspect="1"/>
          </p:cNvPicPr>
          <p:nvPr/>
        </p:nvPicPr>
        <p:blipFill>
          <a:blip r:embed="rId2">
            <a:extLst>
              <a:ext uri="{28A0092B-C50C-407E-A947-70E740481C1C}">
                <a14:useLocalDpi xmlns:a14="http://schemas.microsoft.com/office/drawing/2010/main" val="0"/>
              </a:ext>
            </a:extLst>
          </a:blip>
          <a:srcRect t="9868" b="64"/>
          <a:stretch>
            <a:fillRect/>
          </a:stretch>
        </p:blipFill>
        <p:spPr bwMode="auto">
          <a:xfrm>
            <a:off x="-15875" y="-26988"/>
            <a:ext cx="4178300" cy="327977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6" name="Text Placeholder 10"/>
          <p:cNvSpPr>
            <a:spLocks noGrp="1"/>
          </p:cNvSpPr>
          <p:nvPr>
            <p:ph type="body" sz="quarter" idx="10"/>
          </p:nvPr>
        </p:nvSpPr>
        <p:spPr>
          <a:xfrm>
            <a:off x="1069975" y="4776628"/>
            <a:ext cx="5668963" cy="331460"/>
          </a:xfrm>
          <a:prstGeom prst="rect">
            <a:avLst/>
          </a:prstGeom>
        </p:spPr>
        <p:txBody>
          <a:bodyPr lIns="0" rIns="0" anchor="ctr"/>
          <a:lstStyle>
            <a:lvl1pPr marL="0" indent="0">
              <a:buNone/>
              <a:defRPr sz="1600" cap="none" baseline="0">
                <a:solidFill>
                  <a:schemeClr val="accent2"/>
                </a:solidFill>
                <a:latin typeface="Arial" panose="020B0604020202020204" pitchFamily="34" charset="0"/>
                <a:cs typeface="Arial" panose="020B0604020202020204" pitchFamily="34" charset="0"/>
              </a:defRPr>
            </a:lvl1pPr>
          </a:lstStyle>
          <a:p>
            <a:pPr lvl="0"/>
            <a:r>
              <a:rPr lang="en-US" smtClean="0"/>
              <a:t>Click to edit Master text styles</a:t>
            </a:r>
          </a:p>
        </p:txBody>
      </p:sp>
      <p:sp>
        <p:nvSpPr>
          <p:cNvPr id="7" name="Title 1"/>
          <p:cNvSpPr>
            <a:spLocks noGrp="1"/>
          </p:cNvSpPr>
          <p:nvPr>
            <p:ph type="ctrTitle"/>
          </p:nvPr>
        </p:nvSpPr>
        <p:spPr>
          <a:xfrm>
            <a:off x="1069621" y="3934479"/>
            <a:ext cx="5668530" cy="686860"/>
          </a:xfrm>
          <a:prstGeom prst="rect">
            <a:avLst/>
          </a:prstGeom>
        </p:spPr>
        <p:txBody>
          <a:bodyPr lIns="0" tIns="0" rIns="0" bIns="0" anchor="t">
            <a:normAutofit/>
          </a:bodyPr>
          <a:lstStyle>
            <a:lvl1pPr algn="l">
              <a:defRPr sz="2400" cap="none" baseline="0">
                <a:solidFill>
                  <a:schemeClr val="accent2"/>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
        <p:nvSpPr>
          <p:cNvPr id="8" name="Subtitle 2"/>
          <p:cNvSpPr>
            <a:spLocks noGrp="1"/>
          </p:cNvSpPr>
          <p:nvPr>
            <p:ph type="subTitle" idx="1"/>
          </p:nvPr>
        </p:nvSpPr>
        <p:spPr>
          <a:xfrm>
            <a:off x="915421" y="1717947"/>
            <a:ext cx="1757778" cy="360057"/>
          </a:xfrm>
          <a:prstGeom prst="rect">
            <a:avLst/>
          </a:prstGeom>
        </p:spPr>
        <p:txBody>
          <a:bodyPr anchor="ctr">
            <a:normAutofit/>
          </a:bodyPr>
          <a:lstStyle>
            <a:lvl1pPr marL="0" indent="0" algn="ctr">
              <a:buNone/>
              <a:defRPr sz="1400" cap="all" baseline="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9" name="Text Placeholder 4"/>
          <p:cNvSpPr>
            <a:spLocks noGrp="1"/>
          </p:cNvSpPr>
          <p:nvPr>
            <p:ph type="body" sz="quarter" idx="11"/>
          </p:nvPr>
        </p:nvSpPr>
        <p:spPr>
          <a:xfrm>
            <a:off x="1069621" y="6065120"/>
            <a:ext cx="8420100" cy="474662"/>
          </a:xfrm>
          <a:prstGeom prst="rect">
            <a:avLst/>
          </a:prstGeom>
        </p:spPr>
        <p:txBody>
          <a:bodyPr anchor="ctr"/>
          <a:lstStyle>
            <a:lvl1pPr marL="0" indent="0" algn="r">
              <a:buNone/>
              <a:defRPr sz="1400">
                <a:solidFill>
                  <a:schemeClr val="accent2"/>
                </a:solidFill>
                <a:latin typeface="Arial" panose="020B0604020202020204" pitchFamily="34" charset="0"/>
                <a:cs typeface="Arial" panose="020B0604020202020204" pitchFamily="34" charset="0"/>
              </a:defRPr>
            </a:lvl1pPr>
          </a:lstStyle>
          <a:p>
            <a:pPr lvl="0"/>
            <a:r>
              <a:rPr lang="en-US" smtClean="0"/>
              <a:t>Click to edit Master text styles</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549449" y="121016"/>
            <a:ext cx="3356551" cy="592662"/>
          </a:xfrm>
          <a:prstGeom prst="rect">
            <a:avLst/>
          </a:prstGeom>
        </p:spPr>
      </p:pic>
    </p:spTree>
    <p:extLst>
      <p:ext uri="{BB962C8B-B14F-4D97-AF65-F5344CB8AC3E}">
        <p14:creationId xmlns:p14="http://schemas.microsoft.com/office/powerpoint/2010/main" val="773803751"/>
      </p:ext>
    </p:extLst>
  </p:cSld>
  <p:clrMapOvr>
    <a:masterClrMapping/>
  </p:clrMapOvr>
  <p:transition spd="med">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pic>
        <p:nvPicPr>
          <p:cNvPr id="7" name="Picture 2"/>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590675" cy="1276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8" name="Straight Connector 8"/>
          <p:cNvCxnSpPr/>
          <p:nvPr/>
        </p:nvCxnSpPr>
        <p:spPr>
          <a:xfrm>
            <a:off x="681038" y="6176963"/>
            <a:ext cx="8543925" cy="0"/>
          </a:xfrm>
          <a:prstGeom prst="line">
            <a:avLst/>
          </a:prstGeom>
          <a:ln>
            <a:solidFill>
              <a:schemeClr val="accent6"/>
            </a:solidFill>
          </a:ln>
          <a:effectLst/>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1635063" y="512420"/>
            <a:ext cx="7634288" cy="257452"/>
          </a:xfrm>
          <a:prstGeom prst="rect">
            <a:avLst/>
          </a:prstGeom>
        </p:spPr>
        <p:txBody>
          <a:bodyPr anchor="ctr">
            <a:noAutofit/>
          </a:bodyPr>
          <a:lstStyle>
            <a:lvl1pPr>
              <a:defRPr sz="1800" cap="none" baseline="0">
                <a:solidFill>
                  <a:schemeClr val="accent2"/>
                </a:solidFill>
                <a:latin typeface="Arial" panose="020B0604020202020204" pitchFamily="34" charset="0"/>
                <a:cs typeface="Arial" panose="020B0604020202020204" pitchFamily="34" charset="0"/>
              </a:defRPr>
            </a:lvl1pPr>
          </a:lstStyle>
          <a:p>
            <a:r>
              <a:rPr lang="en-US" smtClean="0"/>
              <a:t>Click to edit Master title style</a:t>
            </a:r>
            <a:endParaRPr lang="en-US" dirty="0"/>
          </a:p>
        </p:txBody>
      </p:sp>
      <p:sp>
        <p:nvSpPr>
          <p:cNvPr id="3" name="Content Placeholder 2"/>
          <p:cNvSpPr>
            <a:spLocks noGrp="1"/>
          </p:cNvSpPr>
          <p:nvPr>
            <p:ph idx="1"/>
          </p:nvPr>
        </p:nvSpPr>
        <p:spPr>
          <a:xfrm>
            <a:off x="681038" y="2725445"/>
            <a:ext cx="5033962" cy="3192228"/>
          </a:xfrm>
          <a:prstGeom prst="rect">
            <a:avLst/>
          </a:prstGeom>
        </p:spPr>
        <p:txBody>
          <a:bodyPr lIns="0" tIns="0" rIns="0" bIns="0">
            <a:normAutofit/>
          </a:bodyPr>
          <a:lstStyle>
            <a:lvl1pPr marL="177800" indent="-177800" algn="just">
              <a:spcBef>
                <a:spcPts val="0"/>
              </a:spcBef>
              <a:spcAft>
                <a:spcPts val="600"/>
              </a:spcAft>
              <a:buClr>
                <a:schemeClr val="accent1"/>
              </a:buClr>
              <a:buSzPct val="150000"/>
              <a:defRPr sz="1200">
                <a:solidFill>
                  <a:schemeClr val="accent2"/>
                </a:solidFill>
                <a:latin typeface="Arial" panose="020B0604020202020204" pitchFamily="34" charset="0"/>
                <a:cs typeface="Arial" panose="020B0604020202020204" pitchFamily="34" charset="0"/>
              </a:defRPr>
            </a:lvl1pPr>
            <a:lvl2pPr marL="630238" indent="-173038" algn="just">
              <a:spcBef>
                <a:spcPts val="0"/>
              </a:spcBef>
              <a:spcAft>
                <a:spcPts val="600"/>
              </a:spcAft>
              <a:buClr>
                <a:schemeClr val="accent6"/>
              </a:buClr>
              <a:buSzPct val="100000"/>
              <a:buFont typeface="Frutiger" panose="00000400000000000000" pitchFamily="2" charset="0"/>
              <a:buChar char="•"/>
              <a:defRPr sz="1200">
                <a:solidFill>
                  <a:schemeClr val="accent2"/>
                </a:solidFill>
                <a:latin typeface="Arial" panose="020B0604020202020204" pitchFamily="34" charset="0"/>
                <a:cs typeface="Arial" panose="020B0604020202020204" pitchFamily="34" charset="0"/>
              </a:defRPr>
            </a:lvl2pPr>
          </a:lstStyle>
          <a:p>
            <a:pPr lvl="0"/>
            <a:r>
              <a:rPr lang="en-US" dirty="0" smtClean="0"/>
              <a:t>Click to edit Master text styles</a:t>
            </a:r>
          </a:p>
          <a:p>
            <a:pPr lvl="1"/>
            <a:r>
              <a:rPr lang="en-US" dirty="0" smtClean="0"/>
              <a:t>Second level</a:t>
            </a:r>
          </a:p>
        </p:txBody>
      </p:sp>
      <p:sp>
        <p:nvSpPr>
          <p:cNvPr id="11" name="Content Placeholder 2"/>
          <p:cNvSpPr>
            <a:spLocks noGrp="1"/>
          </p:cNvSpPr>
          <p:nvPr>
            <p:ph idx="13"/>
          </p:nvPr>
        </p:nvSpPr>
        <p:spPr>
          <a:xfrm>
            <a:off x="681037" y="1313354"/>
            <a:ext cx="8543925" cy="1028509"/>
          </a:xfrm>
          <a:prstGeom prst="rect">
            <a:avLst/>
          </a:prstGeom>
        </p:spPr>
        <p:txBody>
          <a:bodyPr lIns="0" tIns="0" rIns="0" bIns="0">
            <a:normAutofit/>
          </a:bodyPr>
          <a:lstStyle>
            <a:lvl1pPr marL="0" indent="0" algn="just">
              <a:lnSpc>
                <a:spcPct val="100000"/>
              </a:lnSpc>
              <a:spcBef>
                <a:spcPts val="0"/>
              </a:spcBef>
              <a:buClr>
                <a:schemeClr val="accent1"/>
              </a:buClr>
              <a:buSzPct val="150000"/>
              <a:buNone/>
              <a:defRPr sz="1400">
                <a:solidFill>
                  <a:schemeClr val="accent2"/>
                </a:solidFill>
                <a:latin typeface="Arial" panose="020B0604020202020204" pitchFamily="34" charset="0"/>
                <a:cs typeface="Arial" panose="020B0604020202020204" pitchFamily="34" charset="0"/>
              </a:defRPr>
            </a:lvl1pPr>
            <a:lvl2pPr marL="808038" indent="-350838">
              <a:buClr>
                <a:schemeClr val="accent1"/>
              </a:buClr>
              <a:buSzPct val="100000"/>
              <a:buFont typeface="Frutiger" panose="00000400000000000000" pitchFamily="2" charset="0"/>
              <a:buChar char="•"/>
              <a:defRPr sz="1600"/>
            </a:lvl2pPr>
          </a:lstStyle>
          <a:p>
            <a:pPr lvl="0"/>
            <a:r>
              <a:rPr lang="en-US" smtClean="0"/>
              <a:t>Click to edit Master text styles</a:t>
            </a:r>
          </a:p>
        </p:txBody>
      </p:sp>
      <p:sp>
        <p:nvSpPr>
          <p:cNvPr id="14" name="Content Placeholder 2"/>
          <p:cNvSpPr>
            <a:spLocks noGrp="1"/>
          </p:cNvSpPr>
          <p:nvPr>
            <p:ph idx="16"/>
          </p:nvPr>
        </p:nvSpPr>
        <p:spPr>
          <a:xfrm>
            <a:off x="681038" y="6199043"/>
            <a:ext cx="5481637" cy="256261"/>
          </a:xfrm>
          <a:prstGeom prst="rect">
            <a:avLst/>
          </a:prstGeom>
        </p:spPr>
        <p:txBody>
          <a:bodyPr lIns="0" tIns="0" rIns="0" bIns="0" anchor="ctr">
            <a:normAutofit/>
          </a:bodyPr>
          <a:lstStyle>
            <a:lvl1pPr marL="0" indent="0">
              <a:buClr>
                <a:schemeClr val="accent1"/>
              </a:buClr>
              <a:buSzPct val="150000"/>
              <a:buNone/>
              <a:defRPr sz="800">
                <a:solidFill>
                  <a:schemeClr val="accent4"/>
                </a:solidFill>
                <a:latin typeface="Arial" panose="020B0604020202020204" pitchFamily="34" charset="0"/>
                <a:cs typeface="Arial" panose="020B0604020202020204" pitchFamily="34" charset="0"/>
              </a:defRPr>
            </a:lvl1pPr>
            <a:lvl2pPr marL="808038" indent="-350838">
              <a:buClr>
                <a:schemeClr val="accent1"/>
              </a:buClr>
              <a:buSzPct val="100000"/>
              <a:buFont typeface="Frutiger" panose="00000400000000000000" pitchFamily="2" charset="0"/>
              <a:buChar char="•"/>
              <a:defRPr sz="1600"/>
            </a:lvl2pPr>
          </a:lstStyle>
          <a:p>
            <a:pPr lvl="0"/>
            <a:r>
              <a:rPr lang="en-US" smtClean="0"/>
              <a:t>Click to edit Master text styles</a:t>
            </a:r>
          </a:p>
        </p:txBody>
      </p:sp>
      <p:sp>
        <p:nvSpPr>
          <p:cNvPr id="10" name="Slide Number Placeholder 5"/>
          <p:cNvSpPr>
            <a:spLocks noGrp="1"/>
          </p:cNvSpPr>
          <p:nvPr>
            <p:ph type="sldNum" sz="quarter" idx="17"/>
          </p:nvPr>
        </p:nvSpPr>
        <p:spPr>
          <a:xfrm>
            <a:off x="681038" y="6540500"/>
            <a:ext cx="500062" cy="260350"/>
          </a:xfrm>
        </p:spPr>
        <p:txBody>
          <a:bodyPr lIns="0" rIns="0"/>
          <a:lstStyle>
            <a:lvl1pPr>
              <a:defRPr smtClean="0"/>
            </a:lvl1pPr>
          </a:lstStyle>
          <a:p>
            <a:pPr>
              <a:defRPr/>
            </a:pPr>
            <a:fld id="{53AF24CB-6E92-4749-ACC3-553FF8B81434}" type="slidenum">
              <a:rPr lang="en-GB" altLang="es-ES"/>
              <a:pPr>
                <a:defRPr/>
              </a:pPr>
              <a:t>‹#›</a:t>
            </a:fld>
            <a:endParaRPr lang="en-GB" altLang="es-ES"/>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108124" y="6100763"/>
            <a:ext cx="3356551" cy="592662"/>
          </a:xfrm>
          <a:prstGeom prst="rect">
            <a:avLst/>
          </a:prstGeom>
        </p:spPr>
      </p:pic>
    </p:spTree>
    <p:extLst>
      <p:ext uri="{BB962C8B-B14F-4D97-AF65-F5344CB8AC3E}">
        <p14:creationId xmlns:p14="http://schemas.microsoft.com/office/powerpoint/2010/main" val="533261021"/>
      </p:ext>
    </p:extLst>
  </p:cSld>
  <p:clrMapOvr>
    <a:masterClrMapping/>
  </p:clrMapOvr>
  <p:transition spd="med">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1_Title and Content 2 BLUE">
    <p:spTree>
      <p:nvGrpSpPr>
        <p:cNvPr id="1" name=""/>
        <p:cNvGrpSpPr/>
        <p:nvPr/>
      </p:nvGrpSpPr>
      <p:grpSpPr>
        <a:xfrm>
          <a:off x="0" y="0"/>
          <a:ext cx="0" cy="0"/>
          <a:chOff x="0" y="0"/>
          <a:chExt cx="0" cy="0"/>
        </a:xfrm>
      </p:grpSpPr>
      <p:pic>
        <p:nvPicPr>
          <p:cNvPr id="7" name="Picture 2"/>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590675" cy="1276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8" name="Straight Connector 8"/>
          <p:cNvCxnSpPr/>
          <p:nvPr/>
        </p:nvCxnSpPr>
        <p:spPr>
          <a:xfrm>
            <a:off x="681038" y="6176963"/>
            <a:ext cx="8543925" cy="0"/>
          </a:xfrm>
          <a:prstGeom prst="line">
            <a:avLst/>
          </a:prstGeom>
          <a:ln>
            <a:solidFill>
              <a:schemeClr val="accent6"/>
            </a:solidFill>
          </a:ln>
          <a:effectLst/>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1635063" y="512420"/>
            <a:ext cx="7634288" cy="257452"/>
          </a:xfrm>
          <a:prstGeom prst="rect">
            <a:avLst/>
          </a:prstGeom>
        </p:spPr>
        <p:txBody>
          <a:bodyPr anchor="ctr">
            <a:noAutofit/>
          </a:bodyPr>
          <a:lstStyle>
            <a:lvl1pPr>
              <a:defRPr sz="1800" cap="none" baseline="0">
                <a:solidFill>
                  <a:schemeClr val="accent2"/>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
        <p:nvSpPr>
          <p:cNvPr id="3" name="Content Placeholder 2"/>
          <p:cNvSpPr>
            <a:spLocks noGrp="1"/>
          </p:cNvSpPr>
          <p:nvPr>
            <p:ph idx="1"/>
          </p:nvPr>
        </p:nvSpPr>
        <p:spPr>
          <a:xfrm>
            <a:off x="681038" y="2725445"/>
            <a:ext cx="5033962" cy="3192228"/>
          </a:xfrm>
          <a:prstGeom prst="rect">
            <a:avLst/>
          </a:prstGeom>
        </p:spPr>
        <p:txBody>
          <a:bodyPr lIns="0" tIns="0" rIns="0" bIns="0">
            <a:normAutofit/>
          </a:bodyPr>
          <a:lstStyle>
            <a:lvl1pPr marL="177800" indent="-177800" algn="just">
              <a:spcBef>
                <a:spcPts val="0"/>
              </a:spcBef>
              <a:spcAft>
                <a:spcPts val="600"/>
              </a:spcAft>
              <a:buClr>
                <a:schemeClr val="accent3"/>
              </a:buClr>
              <a:buSzPct val="150000"/>
              <a:defRPr sz="1200">
                <a:solidFill>
                  <a:schemeClr val="accent4"/>
                </a:solidFill>
                <a:latin typeface="Arial" panose="020B0604020202020204" pitchFamily="34" charset="0"/>
                <a:cs typeface="Arial" panose="020B0604020202020204" pitchFamily="34" charset="0"/>
              </a:defRPr>
            </a:lvl1pPr>
            <a:lvl2pPr marL="630238" indent="-173038" algn="just">
              <a:spcBef>
                <a:spcPts val="0"/>
              </a:spcBef>
              <a:spcAft>
                <a:spcPts val="600"/>
              </a:spcAft>
              <a:buClr>
                <a:schemeClr val="accent3"/>
              </a:buClr>
              <a:buSzPct val="100000"/>
              <a:buFont typeface="Frutiger" panose="00000400000000000000" pitchFamily="2" charset="0"/>
              <a:buChar char="•"/>
              <a:defRPr sz="1200">
                <a:solidFill>
                  <a:schemeClr val="tx2"/>
                </a:solidFill>
                <a:latin typeface="Arial" panose="020B0604020202020204" pitchFamily="34" charset="0"/>
                <a:cs typeface="Arial" panose="020B0604020202020204" pitchFamily="34" charset="0"/>
              </a:defRPr>
            </a:lvl2pPr>
          </a:lstStyle>
          <a:p>
            <a:pPr lvl="0"/>
            <a:r>
              <a:rPr lang="en-US" dirty="0" smtClean="0"/>
              <a:t>Click to edit Master text styles</a:t>
            </a:r>
          </a:p>
          <a:p>
            <a:pPr lvl="1"/>
            <a:r>
              <a:rPr lang="en-US" dirty="0" smtClean="0"/>
              <a:t>Second level</a:t>
            </a:r>
          </a:p>
        </p:txBody>
      </p:sp>
      <p:sp>
        <p:nvSpPr>
          <p:cNvPr id="11" name="Content Placeholder 2"/>
          <p:cNvSpPr>
            <a:spLocks noGrp="1"/>
          </p:cNvSpPr>
          <p:nvPr>
            <p:ph idx="13"/>
          </p:nvPr>
        </p:nvSpPr>
        <p:spPr>
          <a:xfrm>
            <a:off x="681037" y="1313354"/>
            <a:ext cx="8543925" cy="1028509"/>
          </a:xfrm>
          <a:prstGeom prst="rect">
            <a:avLst/>
          </a:prstGeom>
        </p:spPr>
        <p:txBody>
          <a:bodyPr lIns="0" tIns="0" rIns="0" bIns="0">
            <a:normAutofit/>
          </a:bodyPr>
          <a:lstStyle>
            <a:lvl1pPr marL="0" indent="0" algn="just">
              <a:lnSpc>
                <a:spcPct val="100000"/>
              </a:lnSpc>
              <a:spcBef>
                <a:spcPts val="0"/>
              </a:spcBef>
              <a:buClr>
                <a:schemeClr val="accent1"/>
              </a:buClr>
              <a:buSzPct val="150000"/>
              <a:buNone/>
              <a:defRPr sz="1400">
                <a:solidFill>
                  <a:schemeClr val="accent4"/>
                </a:solidFill>
                <a:latin typeface="Arial" panose="020B0604020202020204" pitchFamily="34" charset="0"/>
                <a:cs typeface="Arial" panose="020B0604020202020204" pitchFamily="34" charset="0"/>
              </a:defRPr>
            </a:lvl1pPr>
            <a:lvl2pPr marL="808038" indent="-350838">
              <a:buClr>
                <a:schemeClr val="accent1"/>
              </a:buClr>
              <a:buSzPct val="100000"/>
              <a:buFont typeface="Frutiger" panose="00000400000000000000" pitchFamily="2" charset="0"/>
              <a:buChar char="•"/>
              <a:defRPr sz="1600"/>
            </a:lvl2pPr>
          </a:lstStyle>
          <a:p>
            <a:pPr lvl="0"/>
            <a:r>
              <a:rPr lang="en-US" smtClean="0"/>
              <a:t>Click to edit Master text styles</a:t>
            </a:r>
          </a:p>
        </p:txBody>
      </p:sp>
      <p:sp>
        <p:nvSpPr>
          <p:cNvPr id="10" name="Slide Number Placeholder 5"/>
          <p:cNvSpPr>
            <a:spLocks noGrp="1"/>
          </p:cNvSpPr>
          <p:nvPr>
            <p:ph type="sldNum" sz="quarter" idx="17"/>
          </p:nvPr>
        </p:nvSpPr>
        <p:spPr>
          <a:xfrm>
            <a:off x="681038" y="6540500"/>
            <a:ext cx="500062" cy="260350"/>
          </a:xfrm>
        </p:spPr>
        <p:txBody>
          <a:bodyPr lIns="0" rIns="0"/>
          <a:lstStyle>
            <a:lvl1pPr>
              <a:defRPr smtClean="0"/>
            </a:lvl1pPr>
          </a:lstStyle>
          <a:p>
            <a:pPr>
              <a:defRPr/>
            </a:pPr>
            <a:fld id="{240DAD82-6247-4F80-B0CB-9FD627B7E06D}" type="slidenum">
              <a:rPr lang="en-GB" altLang="es-ES"/>
              <a:pPr>
                <a:defRPr/>
              </a:pPr>
              <a:t>‹#›</a:t>
            </a:fld>
            <a:endParaRPr lang="en-GB" altLang="es-ES"/>
          </a:p>
        </p:txBody>
      </p:sp>
      <p:sp>
        <p:nvSpPr>
          <p:cNvPr id="13" name="Content Placeholder 2"/>
          <p:cNvSpPr>
            <a:spLocks noGrp="1"/>
          </p:cNvSpPr>
          <p:nvPr>
            <p:ph idx="16"/>
          </p:nvPr>
        </p:nvSpPr>
        <p:spPr>
          <a:xfrm>
            <a:off x="681038" y="6199043"/>
            <a:ext cx="5481637" cy="256261"/>
          </a:xfrm>
          <a:prstGeom prst="rect">
            <a:avLst/>
          </a:prstGeom>
        </p:spPr>
        <p:txBody>
          <a:bodyPr lIns="0" tIns="0" rIns="0" bIns="0" anchor="ctr">
            <a:normAutofit/>
          </a:bodyPr>
          <a:lstStyle>
            <a:lvl1pPr marL="0" indent="0">
              <a:buClr>
                <a:schemeClr val="accent1"/>
              </a:buClr>
              <a:buSzPct val="150000"/>
              <a:buNone/>
              <a:defRPr sz="800">
                <a:solidFill>
                  <a:schemeClr val="accent4"/>
                </a:solidFill>
                <a:latin typeface="Arial" panose="020B0604020202020204" pitchFamily="34" charset="0"/>
                <a:cs typeface="Arial" panose="020B0604020202020204" pitchFamily="34" charset="0"/>
              </a:defRPr>
            </a:lvl1pPr>
            <a:lvl2pPr marL="808038" indent="-350838">
              <a:buClr>
                <a:schemeClr val="accent1"/>
              </a:buClr>
              <a:buSzPct val="100000"/>
              <a:buFont typeface="Frutiger" panose="00000400000000000000" pitchFamily="2" charset="0"/>
              <a:buChar char="•"/>
              <a:defRPr sz="1600"/>
            </a:lvl2pPr>
          </a:lstStyle>
          <a:p>
            <a:pPr lvl="0"/>
            <a:r>
              <a:rPr lang="en-US" smtClean="0"/>
              <a:t>Click to edit Master text styles</a:t>
            </a:r>
          </a:p>
        </p:txBody>
      </p:sp>
      <p:pic>
        <p:nvPicPr>
          <p:cNvPr id="15" name="Picture 1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108124" y="6100763"/>
            <a:ext cx="3356551" cy="592662"/>
          </a:xfrm>
          <a:prstGeom prst="rect">
            <a:avLst/>
          </a:prstGeom>
        </p:spPr>
      </p:pic>
    </p:spTree>
    <p:extLst>
      <p:ext uri="{BB962C8B-B14F-4D97-AF65-F5344CB8AC3E}">
        <p14:creationId xmlns:p14="http://schemas.microsoft.com/office/powerpoint/2010/main" val="3512763056"/>
      </p:ext>
    </p:extLst>
  </p:cSld>
  <p:clrMapOvr>
    <a:masterClrMapping/>
  </p:clrMapOvr>
  <p:transition spd="med">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681038" y="6435725"/>
            <a:ext cx="500062" cy="365125"/>
          </a:xfrm>
          <a:prstGeom prst="rect">
            <a:avLst/>
          </a:prstGeom>
        </p:spPr>
        <p:txBody>
          <a:bodyPr vert="horz" wrap="square" lIns="91440" tIns="45720" rIns="91440" bIns="45720" numCol="1" anchor="ctr" anchorCtr="0" compatLnSpc="1">
            <a:prstTxWarp prst="textNoShape">
              <a:avLst/>
            </a:prstTxWarp>
          </a:bodyPr>
          <a:lstStyle>
            <a:lvl1pPr eaLnBrk="1" hangingPunct="1">
              <a:defRPr sz="800" smtClean="0">
                <a:solidFill>
                  <a:srgbClr val="1A647B"/>
                </a:solidFill>
                <a:latin typeface="Arial" panose="020B0604020202020204" pitchFamily="34" charset="0"/>
              </a:defRPr>
            </a:lvl1pPr>
          </a:lstStyle>
          <a:p>
            <a:pPr>
              <a:defRPr/>
            </a:pPr>
            <a:fld id="{D0CE3353-5B96-4DB4-B197-46B30D633A81}" type="slidenum">
              <a:rPr lang="en-GB" altLang="es-ES"/>
              <a:pPr>
                <a:defRPr/>
              </a:pPr>
              <a:t>‹#›</a:t>
            </a:fld>
            <a:endParaRPr lang="en-GB" altLang="es-ES"/>
          </a:p>
        </p:txBody>
      </p:sp>
    </p:spTree>
  </p:cSld>
  <p:clrMap bg1="lt1" tx1="dk1" bg2="lt2" tx2="dk2" accent1="accent1" accent2="accent2" accent3="accent3" accent4="accent4" accent5="accent5" accent6="accent6" hlink="hlink" folHlink="folHlink"/>
  <p:sldLayoutIdLst>
    <p:sldLayoutId id="2147483937" r:id="rId1"/>
    <p:sldLayoutId id="2147483938" r:id="rId2"/>
    <p:sldLayoutId id="2147483939" r:id="rId3"/>
    <p:sldLayoutId id="2147483940" r:id="rId4"/>
    <p:sldLayoutId id="2147483941" r:id="rId5"/>
    <p:sldLayoutId id="2147483942" r:id="rId6"/>
    <p:sldLayoutId id="2147483943" r:id="rId7"/>
    <p:sldLayoutId id="2147483944" r:id="rId8"/>
    <p:sldLayoutId id="2147483945" r:id="rId9"/>
    <p:sldLayoutId id="2147483946" r:id="rId10"/>
    <p:sldLayoutId id="2147483947" r:id="rId11"/>
    <p:sldLayoutId id="2147483948" r:id="rId12"/>
    <p:sldLayoutId id="2147483949" r:id="rId13"/>
    <p:sldLayoutId id="2147483950" r:id="rId14"/>
    <p:sldLayoutId id="2147483951" r:id="rId15"/>
    <p:sldLayoutId id="2147483952" r:id="rId16"/>
    <p:sldLayoutId id="2147483953" r:id="rId17"/>
    <p:sldLayoutId id="2147483954" r:id="rId18"/>
    <p:sldLayoutId id="2147483955" r:id="rId19"/>
    <p:sldLayoutId id="2147483956" r:id="rId20"/>
    <p:sldLayoutId id="2147483957" r:id="rId21"/>
    <p:sldLayoutId id="2147483958" r:id="rId22"/>
    <p:sldLayoutId id="2147483959" r:id="rId23"/>
    <p:sldLayoutId id="2147483960" r:id="rId24"/>
    <p:sldLayoutId id="2147483961" r:id="rId25"/>
    <p:sldLayoutId id="2147483962" r:id="rId26"/>
    <p:sldLayoutId id="2147483963" r:id="rId27"/>
    <p:sldLayoutId id="2147483964" r:id="rId28"/>
    <p:sldLayoutId id="2147483972" r:id="rId29"/>
    <p:sldLayoutId id="2147483976" r:id="rId30"/>
  </p:sldLayoutIdLst>
  <p:transition spd="med">
    <p:fade/>
  </p:transition>
  <p:timing>
    <p:tnLst>
      <p:par>
        <p:cTn id="1" dur="indefinite" restart="never" nodeType="tmRoot"/>
      </p:par>
    </p:tnLst>
  </p:timing>
  <p:hf hdr="0" ftr="0" dt="0"/>
  <p:txStyles>
    <p:title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Frutiger 45 Light" charset="0"/>
        </a:defRPr>
      </a:lvl2pPr>
      <a:lvl3pPr algn="l" rtl="0" eaLnBrk="0" fontAlgn="base" hangingPunct="0">
        <a:lnSpc>
          <a:spcPct val="90000"/>
        </a:lnSpc>
        <a:spcBef>
          <a:spcPct val="0"/>
        </a:spcBef>
        <a:spcAft>
          <a:spcPct val="0"/>
        </a:spcAft>
        <a:defRPr sz="4400">
          <a:solidFill>
            <a:schemeClr val="tx1"/>
          </a:solidFill>
          <a:latin typeface="Frutiger 45 Light" charset="0"/>
        </a:defRPr>
      </a:lvl3pPr>
      <a:lvl4pPr algn="l" rtl="0" eaLnBrk="0" fontAlgn="base" hangingPunct="0">
        <a:lnSpc>
          <a:spcPct val="90000"/>
        </a:lnSpc>
        <a:spcBef>
          <a:spcPct val="0"/>
        </a:spcBef>
        <a:spcAft>
          <a:spcPct val="0"/>
        </a:spcAft>
        <a:defRPr sz="4400">
          <a:solidFill>
            <a:schemeClr val="tx1"/>
          </a:solidFill>
          <a:latin typeface="Frutiger 45 Light" charset="0"/>
        </a:defRPr>
      </a:lvl4pPr>
      <a:lvl5pPr algn="l" rtl="0" eaLnBrk="0" fontAlgn="base" hangingPunct="0">
        <a:lnSpc>
          <a:spcPct val="90000"/>
        </a:lnSpc>
        <a:spcBef>
          <a:spcPct val="0"/>
        </a:spcBef>
        <a:spcAft>
          <a:spcPct val="0"/>
        </a:spcAft>
        <a:defRPr sz="4400">
          <a:solidFill>
            <a:schemeClr val="tx1"/>
          </a:solidFill>
          <a:latin typeface="Frutiger 45 Light" charset="0"/>
        </a:defRPr>
      </a:lvl5pPr>
      <a:lvl6pPr marL="457200" algn="l" rtl="0" eaLnBrk="1" fontAlgn="base" hangingPunct="1">
        <a:lnSpc>
          <a:spcPct val="90000"/>
        </a:lnSpc>
        <a:spcBef>
          <a:spcPct val="0"/>
        </a:spcBef>
        <a:spcAft>
          <a:spcPct val="0"/>
        </a:spcAft>
        <a:defRPr sz="4400">
          <a:solidFill>
            <a:schemeClr val="tx1"/>
          </a:solidFill>
          <a:latin typeface="Frutiger 45 Light" charset="0"/>
        </a:defRPr>
      </a:lvl6pPr>
      <a:lvl7pPr marL="914400" algn="l" rtl="0" eaLnBrk="1" fontAlgn="base" hangingPunct="1">
        <a:lnSpc>
          <a:spcPct val="90000"/>
        </a:lnSpc>
        <a:spcBef>
          <a:spcPct val="0"/>
        </a:spcBef>
        <a:spcAft>
          <a:spcPct val="0"/>
        </a:spcAft>
        <a:defRPr sz="4400">
          <a:solidFill>
            <a:schemeClr val="tx1"/>
          </a:solidFill>
          <a:latin typeface="Frutiger 45 Light" charset="0"/>
        </a:defRPr>
      </a:lvl7pPr>
      <a:lvl8pPr marL="1371600" algn="l" rtl="0" eaLnBrk="1" fontAlgn="base" hangingPunct="1">
        <a:lnSpc>
          <a:spcPct val="90000"/>
        </a:lnSpc>
        <a:spcBef>
          <a:spcPct val="0"/>
        </a:spcBef>
        <a:spcAft>
          <a:spcPct val="0"/>
        </a:spcAft>
        <a:defRPr sz="4400">
          <a:solidFill>
            <a:schemeClr val="tx1"/>
          </a:solidFill>
          <a:latin typeface="Frutiger 45 Light" charset="0"/>
        </a:defRPr>
      </a:lvl8pPr>
      <a:lvl9pPr marL="1828800" algn="l" rtl="0" eaLnBrk="1" fontAlgn="base" hangingPunct="1">
        <a:lnSpc>
          <a:spcPct val="90000"/>
        </a:lnSpc>
        <a:spcBef>
          <a:spcPct val="0"/>
        </a:spcBef>
        <a:spcAft>
          <a:spcPct val="0"/>
        </a:spcAft>
        <a:defRPr sz="4400">
          <a:solidFill>
            <a:schemeClr val="tx1"/>
          </a:solidFill>
          <a:latin typeface="Frutiger 45 Light" charset="0"/>
        </a:defRPr>
      </a:lvl9pPr>
    </p:titleStyle>
    <p:bodyStyle>
      <a:lvl1pPr marL="228600" indent="-228600" algn="l" rtl="0" eaLnBrk="0" fontAlgn="base" hangingPunct="0">
        <a:lnSpc>
          <a:spcPct val="90000"/>
        </a:lnSpc>
        <a:spcBef>
          <a:spcPts val="1000"/>
        </a:spcBef>
        <a:spcAft>
          <a:spcPct val="0"/>
        </a:spcAft>
        <a:buFont typeface="Arial" panose="020B0604020202020204" pitchFamily="34" charset="0"/>
        <a:buChar char="•"/>
        <a:defRPr sz="2800" kern="1200">
          <a:solidFill>
            <a:schemeClr val="tx1"/>
          </a:solidFill>
          <a:latin typeface="+mn-lt"/>
          <a:ea typeface="+mn-ea"/>
          <a:cs typeface="+mn-cs"/>
        </a:defRPr>
      </a:lvl1pPr>
      <a:lvl2pPr marL="685800" indent="-228600" algn="l" rtl="0" eaLnBrk="0" fontAlgn="base" hangingPunct="0">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3000" indent="-228600" algn="l"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2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slideLayout" Target="../slideLayouts/slideLayout1.xml"/><Relationship Id="rId7" Type="http://schemas.openxmlformats.org/officeDocument/2006/relationships/image" Target="../media/image15.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3.emf"/><Relationship Id="rId5" Type="http://schemas.openxmlformats.org/officeDocument/2006/relationships/oleObject" Target="../embeddings/oleObject1.bin"/><Relationship Id="rId4" Type="http://schemas.openxmlformats.org/officeDocument/2006/relationships/image" Target="../media/image14.png"/></Relationships>
</file>

<file path=ppt/slides/_rels/slide10.xml.rels><?xml version="1.0" encoding="UTF-8" standalone="yes"?>
<Relationships xmlns="http://schemas.openxmlformats.org/package/2006/relationships"><Relationship Id="rId8" Type="http://schemas.openxmlformats.org/officeDocument/2006/relationships/diagramLayout" Target="../diagrams/layout2.xml"/><Relationship Id="rId13" Type="http://schemas.openxmlformats.org/officeDocument/2006/relationships/image" Target="../media/image26.png"/><Relationship Id="rId18" Type="http://schemas.openxmlformats.org/officeDocument/2006/relationships/image" Target="../media/image31.png"/><Relationship Id="rId3" Type="http://schemas.openxmlformats.org/officeDocument/2006/relationships/diagramLayout" Target="../diagrams/layout1.xml"/><Relationship Id="rId21" Type="http://schemas.openxmlformats.org/officeDocument/2006/relationships/image" Target="../media/image34.png"/><Relationship Id="rId7" Type="http://schemas.openxmlformats.org/officeDocument/2006/relationships/diagramData" Target="../diagrams/data2.xml"/><Relationship Id="rId12" Type="http://schemas.openxmlformats.org/officeDocument/2006/relationships/image" Target="../media/image25.png"/><Relationship Id="rId17" Type="http://schemas.openxmlformats.org/officeDocument/2006/relationships/image" Target="../media/image30.png"/><Relationship Id="rId2" Type="http://schemas.openxmlformats.org/officeDocument/2006/relationships/diagramData" Target="../diagrams/data1.xml"/><Relationship Id="rId16" Type="http://schemas.openxmlformats.org/officeDocument/2006/relationships/image" Target="../media/image29.png"/><Relationship Id="rId20" Type="http://schemas.openxmlformats.org/officeDocument/2006/relationships/image" Target="../media/image33.png"/><Relationship Id="rId1" Type="http://schemas.openxmlformats.org/officeDocument/2006/relationships/slideLayout" Target="../slideLayouts/slideLayout8.xml"/><Relationship Id="rId6" Type="http://schemas.microsoft.com/office/2007/relationships/diagramDrawing" Target="../diagrams/drawing1.xml"/><Relationship Id="rId11" Type="http://schemas.microsoft.com/office/2007/relationships/diagramDrawing" Target="../diagrams/drawing2.xml"/><Relationship Id="rId5" Type="http://schemas.openxmlformats.org/officeDocument/2006/relationships/diagramColors" Target="../diagrams/colors1.xml"/><Relationship Id="rId15" Type="http://schemas.openxmlformats.org/officeDocument/2006/relationships/image" Target="../media/image28.png"/><Relationship Id="rId10" Type="http://schemas.openxmlformats.org/officeDocument/2006/relationships/diagramColors" Target="../diagrams/colors2.xml"/><Relationship Id="rId19" Type="http://schemas.openxmlformats.org/officeDocument/2006/relationships/image" Target="../media/image32.png"/><Relationship Id="rId4" Type="http://schemas.openxmlformats.org/officeDocument/2006/relationships/diagramQuickStyle" Target="../diagrams/quickStyle1.xml"/><Relationship Id="rId9" Type="http://schemas.openxmlformats.org/officeDocument/2006/relationships/diagramQuickStyle" Target="../diagrams/quickStyle2.xml"/><Relationship Id="rId14" Type="http://schemas.openxmlformats.org/officeDocument/2006/relationships/image" Target="../media/image27.png"/></Relationships>
</file>

<file path=ppt/slides/_rels/slide11.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chart" Target="../charts/chart4.xml"/><Relationship Id="rId1" Type="http://schemas.openxmlformats.org/officeDocument/2006/relationships/slideLayout" Target="../slideLayouts/slideLayout8.xml"/><Relationship Id="rId5" Type="http://schemas.openxmlformats.org/officeDocument/2006/relationships/image" Target="../media/image36.png"/><Relationship Id="rId4" Type="http://schemas.openxmlformats.org/officeDocument/2006/relationships/image" Target="../media/image35.png"/></Relationships>
</file>

<file path=ppt/slides/_rels/slide12.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8.xml"/><Relationship Id="rId5" Type="http://schemas.openxmlformats.org/officeDocument/2006/relationships/image" Target="../media/image41.png"/><Relationship Id="rId4" Type="http://schemas.openxmlformats.org/officeDocument/2006/relationships/image" Target="../media/image40.png"/></Relationships>
</file>

<file path=ppt/slides/_rels/slide14.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chart" Target="../charts/chart6.xml"/><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image" Target="../media/image45.png"/><Relationship Id="rId7" Type="http://schemas.openxmlformats.org/officeDocument/2006/relationships/image" Target="../media/image49.png"/><Relationship Id="rId2" Type="http://schemas.openxmlformats.org/officeDocument/2006/relationships/image" Target="../media/image44.png"/><Relationship Id="rId1" Type="http://schemas.openxmlformats.org/officeDocument/2006/relationships/slideLayout" Target="../slideLayouts/slideLayout29.xml"/><Relationship Id="rId6" Type="http://schemas.openxmlformats.org/officeDocument/2006/relationships/image" Target="../media/image48.png"/><Relationship Id="rId5" Type="http://schemas.openxmlformats.org/officeDocument/2006/relationships/image" Target="../media/image47.png"/><Relationship Id="rId10" Type="http://schemas.openxmlformats.org/officeDocument/2006/relationships/image" Target="../media/image52.png"/><Relationship Id="rId4" Type="http://schemas.openxmlformats.org/officeDocument/2006/relationships/image" Target="../media/image46.png"/><Relationship Id="rId9" Type="http://schemas.openxmlformats.org/officeDocument/2006/relationships/image" Target="../media/image51.png"/></Relationships>
</file>

<file path=ppt/slides/_rels/slide18.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30.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jpeg"/><Relationship Id="rId1" Type="http://schemas.openxmlformats.org/officeDocument/2006/relationships/slideLayout" Target="../slideLayouts/slideLayout28.xml"/><Relationship Id="rId5" Type="http://schemas.openxmlformats.org/officeDocument/2006/relationships/image" Target="../media/image12.png"/><Relationship Id="rId4" Type="http://schemas.openxmlformats.org/officeDocument/2006/relationships/image" Target="../media/image55.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xml"/><Relationship Id="rId1" Type="http://schemas.openxmlformats.org/officeDocument/2006/relationships/slideLayout" Target="../slideLayouts/slideLayout8.xml"/><Relationship Id="rId5" Type="http://schemas.openxmlformats.org/officeDocument/2006/relationships/chart" Target="../charts/chart2.xml"/><Relationship Id="rId4" Type="http://schemas.openxmlformats.org/officeDocument/2006/relationships/image" Target="../media/image17.png"/></Relationships>
</file>

<file path=ppt/slides/_rels/slide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8.xml"/><Relationship Id="rId5" Type="http://schemas.openxmlformats.org/officeDocument/2006/relationships/image" Target="../media/image24.png"/><Relationship Id="rId4" Type="http://schemas.openxmlformats.org/officeDocument/2006/relationships/image" Target="../media/image2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4">
            <a:extLst>
              <a:ext uri="{28A0092B-C50C-407E-A947-70E740481C1C}">
                <a14:useLocalDpi xmlns:a14="http://schemas.microsoft.com/office/drawing/2010/main" val="0"/>
              </a:ext>
            </a:extLst>
          </a:blip>
          <a:srcRect r="3878"/>
          <a:stretch/>
        </p:blipFill>
        <p:spPr>
          <a:xfrm>
            <a:off x="-9525" y="-7329"/>
            <a:ext cx="9915526" cy="6879088"/>
          </a:xfrm>
          <a:prstGeom prst="rect">
            <a:avLst/>
          </a:prstGeom>
        </p:spPr>
      </p:pic>
      <p:graphicFrame>
        <p:nvGraphicFramePr>
          <p:cNvPr id="7" name="Object 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05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Title 2"/>
          <p:cNvSpPr>
            <a:spLocks noGrp="1"/>
          </p:cNvSpPr>
          <p:nvPr>
            <p:ph type="ctrTitle"/>
          </p:nvPr>
        </p:nvSpPr>
        <p:spPr>
          <a:xfrm>
            <a:off x="337655" y="2721250"/>
            <a:ext cx="9302733" cy="686860"/>
          </a:xfrm>
        </p:spPr>
        <p:txBody>
          <a:bodyPr>
            <a:noAutofit/>
          </a:bodyPr>
          <a:lstStyle/>
          <a:p>
            <a:r>
              <a:rPr lang="en-US" sz="3600" b="1" dirty="0" err="1" smtClean="0">
                <a:solidFill>
                  <a:schemeClr val="bg1"/>
                </a:solidFill>
                <a:latin typeface="Arial" panose="020B0604020202020204" pitchFamily="34" charset="0"/>
                <a:cs typeface="Arial" panose="020B0604020202020204" pitchFamily="34" charset="0"/>
              </a:rPr>
              <a:t>Por</a:t>
            </a:r>
            <a:r>
              <a:rPr lang="en-US" sz="3600" b="1" dirty="0" smtClean="0">
                <a:solidFill>
                  <a:schemeClr val="bg1"/>
                </a:solidFill>
                <a:latin typeface="Arial" panose="020B0604020202020204" pitchFamily="34" charset="0"/>
                <a:cs typeface="Arial" panose="020B0604020202020204" pitchFamily="34" charset="0"/>
              </a:rPr>
              <a:t> que </a:t>
            </a:r>
            <a:r>
              <a:rPr lang="en-US" sz="3600" b="1" dirty="0" err="1" smtClean="0">
                <a:solidFill>
                  <a:schemeClr val="bg1"/>
                </a:solidFill>
                <a:latin typeface="Arial" panose="020B0604020202020204" pitchFamily="34" charset="0"/>
                <a:cs typeface="Arial" panose="020B0604020202020204" pitchFamily="34" charset="0"/>
              </a:rPr>
              <a:t>investir</a:t>
            </a:r>
            <a:r>
              <a:rPr lang="en-US" sz="3600" b="1" dirty="0" smtClean="0">
                <a:solidFill>
                  <a:schemeClr val="bg1"/>
                </a:solidFill>
                <a:latin typeface="Arial" panose="020B0604020202020204" pitchFamily="34" charset="0"/>
                <a:cs typeface="Arial" panose="020B0604020202020204" pitchFamily="34" charset="0"/>
              </a:rPr>
              <a:t> </a:t>
            </a:r>
            <a:r>
              <a:rPr lang="en-US" sz="3600" b="1" dirty="0" err="1" smtClean="0">
                <a:solidFill>
                  <a:schemeClr val="bg1"/>
                </a:solidFill>
                <a:latin typeface="Arial" panose="020B0604020202020204" pitchFamily="34" charset="0"/>
                <a:cs typeface="Arial" panose="020B0604020202020204" pitchFamily="34" charset="0"/>
              </a:rPr>
              <a:t>em</a:t>
            </a:r>
            <a:r>
              <a:rPr lang="en-US" sz="3600" b="1" dirty="0" smtClean="0">
                <a:solidFill>
                  <a:schemeClr val="bg1"/>
                </a:solidFill>
                <a:latin typeface="Arial" panose="020B0604020202020204" pitchFamily="34" charset="0"/>
                <a:cs typeface="Arial" panose="020B0604020202020204" pitchFamily="34" charset="0"/>
              </a:rPr>
              <a:t> </a:t>
            </a:r>
            <a:r>
              <a:rPr lang="en-US" sz="3600" b="1" dirty="0" err="1" smtClean="0">
                <a:solidFill>
                  <a:schemeClr val="bg1"/>
                </a:solidFill>
                <a:latin typeface="Arial" panose="020B0604020202020204" pitchFamily="34" charset="0"/>
                <a:cs typeface="Arial" panose="020B0604020202020204" pitchFamily="34" charset="0"/>
              </a:rPr>
              <a:t>ações</a:t>
            </a:r>
            <a:r>
              <a:rPr lang="en-US" sz="3600" b="1" dirty="0" smtClean="0">
                <a:solidFill>
                  <a:schemeClr val="bg1"/>
                </a:solidFill>
                <a:latin typeface="Arial" panose="020B0604020202020204" pitchFamily="34" charset="0"/>
                <a:cs typeface="Arial" panose="020B0604020202020204" pitchFamily="34" charset="0"/>
              </a:rPr>
              <a:t> agora?</a:t>
            </a:r>
            <a:br>
              <a:rPr lang="en-US" sz="3600" b="1" dirty="0" smtClean="0">
                <a:solidFill>
                  <a:schemeClr val="bg1"/>
                </a:solidFill>
                <a:latin typeface="Arial" panose="020B0604020202020204" pitchFamily="34" charset="0"/>
                <a:cs typeface="Arial" panose="020B0604020202020204" pitchFamily="34" charset="0"/>
              </a:rPr>
            </a:br>
            <a:r>
              <a:rPr lang="en-US" sz="3600" b="1" dirty="0" smtClean="0">
                <a:solidFill>
                  <a:schemeClr val="bg1"/>
                </a:solidFill>
                <a:latin typeface="Arial" panose="020B0604020202020204" pitchFamily="34" charset="0"/>
                <a:cs typeface="Arial" panose="020B0604020202020204" pitchFamily="34" charset="0"/>
              </a:rPr>
              <a:t/>
            </a:r>
            <a:br>
              <a:rPr lang="en-US" sz="3600" b="1" dirty="0" smtClean="0">
                <a:solidFill>
                  <a:schemeClr val="bg1"/>
                </a:solidFill>
                <a:latin typeface="Arial" panose="020B0604020202020204" pitchFamily="34" charset="0"/>
                <a:cs typeface="Arial" panose="020B0604020202020204" pitchFamily="34" charset="0"/>
              </a:rPr>
            </a:br>
            <a:r>
              <a:rPr lang="en-US" sz="1800" b="1" dirty="0" smtClean="0">
                <a:solidFill>
                  <a:schemeClr val="bg1"/>
                </a:solidFill>
              </a:rPr>
              <a:t>Lucas Stella – </a:t>
            </a:r>
            <a:r>
              <a:rPr lang="en-US" sz="1800" b="1" dirty="0" err="1" smtClean="0">
                <a:solidFill>
                  <a:schemeClr val="bg1"/>
                </a:solidFill>
              </a:rPr>
              <a:t>Analista</a:t>
            </a:r>
            <a:r>
              <a:rPr lang="en-US" sz="1800" b="1" dirty="0" smtClean="0">
                <a:solidFill>
                  <a:schemeClr val="bg1"/>
                </a:solidFill>
              </a:rPr>
              <a:t> de </a:t>
            </a:r>
            <a:r>
              <a:rPr lang="en-US" sz="1800" b="1" dirty="0" err="1" smtClean="0">
                <a:solidFill>
                  <a:schemeClr val="bg1"/>
                </a:solidFill>
              </a:rPr>
              <a:t>Ações</a:t>
            </a:r>
            <a:r>
              <a:rPr lang="en-US" sz="1800" b="1" dirty="0" smtClean="0">
                <a:solidFill>
                  <a:schemeClr val="bg1"/>
                </a:solidFill>
              </a:rPr>
              <a:t> – Fundo </a:t>
            </a:r>
            <a:r>
              <a:rPr lang="en-US" sz="1800" b="1" dirty="0" err="1" smtClean="0">
                <a:solidFill>
                  <a:schemeClr val="bg1"/>
                </a:solidFill>
              </a:rPr>
              <a:t>Seleção</a:t>
            </a:r>
            <a:r>
              <a:rPr lang="en-US" sz="1800" b="1" dirty="0" smtClean="0">
                <a:solidFill>
                  <a:schemeClr val="bg1"/>
                </a:solidFill>
              </a:rPr>
              <a:t/>
            </a:r>
            <a:br>
              <a:rPr lang="en-US" sz="1800" b="1" dirty="0" smtClean="0">
                <a:solidFill>
                  <a:schemeClr val="bg1"/>
                </a:solidFill>
              </a:rPr>
            </a:br>
            <a:r>
              <a:rPr lang="en-US" sz="3600" b="1" dirty="0">
                <a:solidFill>
                  <a:schemeClr val="bg1"/>
                </a:solidFill>
              </a:rPr>
              <a:t/>
            </a:r>
            <a:br>
              <a:rPr lang="en-US" sz="3600" b="1" dirty="0">
                <a:solidFill>
                  <a:schemeClr val="bg1"/>
                </a:solidFill>
              </a:rPr>
            </a:br>
            <a:r>
              <a:rPr lang="en-US" sz="3600" b="1" dirty="0">
                <a:solidFill>
                  <a:schemeClr val="bg1"/>
                </a:solidFill>
              </a:rPr>
              <a:t/>
            </a:r>
            <a:br>
              <a:rPr lang="en-US" sz="3600" b="1" dirty="0">
                <a:solidFill>
                  <a:schemeClr val="bg1"/>
                </a:solidFill>
              </a:rPr>
            </a:br>
            <a:r>
              <a:rPr lang="en-US" sz="3600" b="1" dirty="0" smtClean="0">
                <a:solidFill>
                  <a:schemeClr val="bg1"/>
                </a:solidFill>
              </a:rPr>
              <a:t/>
            </a:r>
            <a:br>
              <a:rPr lang="en-US" sz="3600" b="1" dirty="0" smtClean="0">
                <a:solidFill>
                  <a:schemeClr val="bg1"/>
                </a:solidFill>
              </a:rPr>
            </a:br>
            <a:r>
              <a:rPr lang="en-US" sz="3600" b="1" dirty="0" smtClean="0">
                <a:solidFill>
                  <a:schemeClr val="bg1"/>
                </a:solidFill>
              </a:rPr>
              <a:t/>
            </a:r>
            <a:br>
              <a:rPr lang="en-US" sz="3600" b="1" dirty="0" smtClean="0">
                <a:solidFill>
                  <a:schemeClr val="bg1"/>
                </a:solidFill>
              </a:rPr>
            </a:br>
            <a:r>
              <a:rPr lang="en-US" sz="3600" b="1" dirty="0">
                <a:solidFill>
                  <a:schemeClr val="bg1"/>
                </a:solidFill>
              </a:rPr>
              <a:t/>
            </a:r>
            <a:br>
              <a:rPr lang="en-US" sz="3600" b="1" dirty="0">
                <a:solidFill>
                  <a:schemeClr val="bg1"/>
                </a:solidFill>
              </a:rPr>
            </a:br>
            <a:r>
              <a:rPr lang="en-US" sz="1800" b="1" dirty="0" err="1" smtClean="0">
                <a:solidFill>
                  <a:schemeClr val="bg1"/>
                </a:solidFill>
              </a:rPr>
              <a:t>Junho</a:t>
            </a:r>
            <a:r>
              <a:rPr lang="en-US" sz="1800" b="1" dirty="0" smtClean="0">
                <a:solidFill>
                  <a:schemeClr val="bg1"/>
                </a:solidFill>
              </a:rPr>
              <a:t> 2019 </a:t>
            </a:r>
            <a:r>
              <a:rPr lang="en-US" sz="4000" b="1" dirty="0">
                <a:solidFill>
                  <a:schemeClr val="bg1"/>
                </a:solidFill>
              </a:rPr>
              <a:t/>
            </a:r>
            <a:br>
              <a:rPr lang="en-US" sz="4000" b="1" dirty="0">
                <a:solidFill>
                  <a:schemeClr val="bg1"/>
                </a:solidFill>
              </a:rPr>
            </a:br>
            <a:r>
              <a:rPr lang="en-US" sz="1000" b="1" dirty="0" smtClean="0">
                <a:solidFill>
                  <a:schemeClr val="bg1"/>
                </a:solidFill>
              </a:rPr>
              <a:t/>
            </a:r>
            <a:br>
              <a:rPr lang="en-US" sz="1000" b="1" dirty="0" smtClean="0">
                <a:solidFill>
                  <a:schemeClr val="bg1"/>
                </a:solidFill>
              </a:rPr>
            </a:br>
            <a:r>
              <a:rPr lang="en-US" sz="300" b="1" dirty="0" smtClean="0">
                <a:solidFill>
                  <a:schemeClr val="bg1"/>
                </a:solidFill>
              </a:rPr>
              <a:t/>
            </a:r>
            <a:br>
              <a:rPr lang="en-US" sz="300" b="1" dirty="0" smtClean="0">
                <a:solidFill>
                  <a:schemeClr val="bg1"/>
                </a:solidFill>
              </a:rPr>
            </a:br>
            <a:r>
              <a:rPr lang="en-US" sz="300" b="1" dirty="0" smtClean="0">
                <a:solidFill>
                  <a:schemeClr val="bg1"/>
                </a:solidFill>
              </a:rPr>
              <a:t/>
            </a:r>
            <a:br>
              <a:rPr lang="en-US" sz="300" b="1" dirty="0" smtClean="0">
                <a:solidFill>
                  <a:schemeClr val="bg1"/>
                </a:solidFill>
              </a:rPr>
            </a:br>
            <a:r>
              <a:rPr lang="en-US" sz="4000" b="1" dirty="0" smtClean="0">
                <a:solidFill>
                  <a:schemeClr val="bg1"/>
                </a:solidFill>
                <a:latin typeface="Arial" panose="020B0604020202020204" pitchFamily="34" charset="0"/>
                <a:cs typeface="Arial" panose="020B0604020202020204" pitchFamily="34" charset="0"/>
              </a:rPr>
              <a:t/>
            </a:r>
            <a:br>
              <a:rPr lang="en-US" sz="4000" b="1" dirty="0" smtClean="0">
                <a:solidFill>
                  <a:schemeClr val="bg1"/>
                </a:solidFill>
                <a:latin typeface="Arial" panose="020B0604020202020204" pitchFamily="34" charset="0"/>
                <a:cs typeface="Arial" panose="020B0604020202020204" pitchFamily="34" charset="0"/>
              </a:rPr>
            </a:br>
            <a:r>
              <a:rPr lang="en-US" sz="4000" b="1" dirty="0" smtClean="0">
                <a:solidFill>
                  <a:schemeClr val="bg1"/>
                </a:solidFill>
                <a:latin typeface="Arial" panose="020B0604020202020204" pitchFamily="34" charset="0"/>
                <a:cs typeface="Arial" panose="020B0604020202020204" pitchFamily="34" charset="0"/>
              </a:rPr>
              <a:t/>
            </a:r>
            <a:br>
              <a:rPr lang="en-US" sz="4000" b="1" dirty="0" smtClean="0">
                <a:solidFill>
                  <a:schemeClr val="bg1"/>
                </a:solidFill>
                <a:latin typeface="Arial" panose="020B0604020202020204" pitchFamily="34" charset="0"/>
                <a:cs typeface="Arial" panose="020B0604020202020204" pitchFamily="34" charset="0"/>
              </a:rPr>
            </a:br>
            <a:r>
              <a:rPr lang="en-US" sz="4000" dirty="0" smtClean="0">
                <a:solidFill>
                  <a:schemeClr val="bg1"/>
                </a:solidFill>
                <a:latin typeface="Arial" panose="020B0604020202020204" pitchFamily="34" charset="0"/>
                <a:cs typeface="Arial" panose="020B0604020202020204" pitchFamily="34" charset="0"/>
              </a:rPr>
              <a:t/>
            </a:r>
            <a:br>
              <a:rPr lang="en-US" sz="4000" dirty="0" smtClean="0">
                <a:solidFill>
                  <a:schemeClr val="bg1"/>
                </a:solidFill>
                <a:latin typeface="Arial" panose="020B0604020202020204" pitchFamily="34" charset="0"/>
                <a:cs typeface="Arial" panose="020B0604020202020204" pitchFamily="34" charset="0"/>
              </a:rPr>
            </a:br>
            <a:r>
              <a:rPr lang="en-US" sz="4000" dirty="0" smtClean="0">
                <a:solidFill>
                  <a:schemeClr val="bg1"/>
                </a:solidFill>
                <a:latin typeface="Arial" panose="020B0604020202020204" pitchFamily="34" charset="0"/>
                <a:cs typeface="Arial" panose="020B0604020202020204" pitchFamily="34" charset="0"/>
              </a:rPr>
              <a:t/>
            </a:r>
            <a:br>
              <a:rPr lang="en-US" sz="4000" dirty="0" smtClean="0">
                <a:solidFill>
                  <a:schemeClr val="bg1"/>
                </a:solidFill>
                <a:latin typeface="Arial" panose="020B0604020202020204" pitchFamily="34" charset="0"/>
                <a:cs typeface="Arial" panose="020B0604020202020204" pitchFamily="34" charset="0"/>
              </a:rPr>
            </a:br>
            <a:r>
              <a:rPr lang="en-US" sz="2000" dirty="0" smtClean="0">
                <a:solidFill>
                  <a:schemeClr val="bg1"/>
                </a:solidFill>
                <a:latin typeface="Arial" panose="020B0604020202020204" pitchFamily="34" charset="0"/>
                <a:cs typeface="Arial" panose="020B0604020202020204" pitchFamily="34" charset="0"/>
              </a:rPr>
              <a:t/>
            </a:r>
            <a:br>
              <a:rPr lang="en-US" sz="2000" dirty="0" smtClean="0">
                <a:solidFill>
                  <a:schemeClr val="bg1"/>
                </a:solidFill>
                <a:latin typeface="Arial" panose="020B0604020202020204" pitchFamily="34" charset="0"/>
                <a:cs typeface="Arial" panose="020B0604020202020204" pitchFamily="34" charset="0"/>
              </a:rPr>
            </a:br>
            <a:r>
              <a:rPr lang="en-US" sz="2000" dirty="0" smtClean="0">
                <a:solidFill>
                  <a:schemeClr val="bg1"/>
                </a:solidFill>
                <a:latin typeface="Arial" panose="020B0604020202020204" pitchFamily="34" charset="0"/>
                <a:cs typeface="Arial" panose="020B0604020202020204" pitchFamily="34" charset="0"/>
              </a:rPr>
              <a:t/>
            </a:r>
            <a:br>
              <a:rPr lang="en-US" sz="2000" dirty="0" smtClean="0">
                <a:solidFill>
                  <a:schemeClr val="bg1"/>
                </a:solidFill>
                <a:latin typeface="Arial" panose="020B0604020202020204" pitchFamily="34" charset="0"/>
                <a:cs typeface="Arial" panose="020B0604020202020204" pitchFamily="34" charset="0"/>
              </a:rPr>
            </a:br>
            <a:endParaRPr lang="en-US" sz="3200" i="1" dirty="0">
              <a:solidFill>
                <a:schemeClr val="bg1"/>
              </a:solidFill>
              <a:latin typeface="Arial" panose="020B0604020202020204" pitchFamily="34" charset="0"/>
              <a:cs typeface="Arial" panose="020B0604020202020204" pitchFamily="34" charset="0"/>
            </a:endParaRPr>
          </a:p>
        </p:txBody>
      </p:sp>
      <p:pic>
        <p:nvPicPr>
          <p:cNvPr id="15" name="Picture 1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525" y="-9525"/>
            <a:ext cx="2719774" cy="2563863"/>
          </a:xfrm>
          <a:prstGeom prst="rect">
            <a:avLst/>
          </a:prstGeom>
        </p:spPr>
      </p:pic>
      <p:pic>
        <p:nvPicPr>
          <p:cNvPr id="2" name="Imagem 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024114" y="6186339"/>
            <a:ext cx="3881887" cy="685420"/>
          </a:xfrm>
          <a:prstGeom prst="rect">
            <a:avLst/>
          </a:prstGeom>
        </p:spPr>
      </p:pic>
    </p:spTree>
    <p:extLst>
      <p:ext uri="{BB962C8B-B14F-4D97-AF65-F5344CB8AC3E}">
        <p14:creationId xmlns:p14="http://schemas.microsoft.com/office/powerpoint/2010/main" val="2905602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Title 1"/>
          <p:cNvSpPr>
            <a:spLocks noGrp="1"/>
          </p:cNvSpPr>
          <p:nvPr>
            <p:ph type="title"/>
          </p:nvPr>
        </p:nvSpPr>
        <p:spPr bwMode="auto">
          <a:xfrm>
            <a:off x="1623925" y="332892"/>
            <a:ext cx="8459413" cy="2571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0" compatLnSpc="1">
            <a:prstTxWarp prst="textNoShape">
              <a:avLst/>
            </a:prstTxWarp>
          </a:bodyPr>
          <a:lstStyle/>
          <a:p>
            <a:pPr eaLnBrk="1" hangingPunct="1"/>
            <a:r>
              <a:rPr lang="en-US" altLang="es-ES" sz="2000" dirty="0" err="1" smtClean="0"/>
              <a:t>Buscamos</a:t>
            </a:r>
            <a:r>
              <a:rPr lang="en-US" altLang="es-ES" sz="2000" dirty="0" smtClean="0"/>
              <a:t> </a:t>
            </a:r>
            <a:r>
              <a:rPr lang="en-US" altLang="es-ES" sz="2000" dirty="0" err="1" smtClean="0"/>
              <a:t>empresas</a:t>
            </a:r>
            <a:r>
              <a:rPr lang="en-US" altLang="es-ES" sz="2000" dirty="0" smtClean="0"/>
              <a:t> </a:t>
            </a:r>
            <a:r>
              <a:rPr lang="en-US" altLang="es-ES" sz="2000" b="1" dirty="0" err="1" smtClean="0"/>
              <a:t>expostas</a:t>
            </a:r>
            <a:r>
              <a:rPr lang="en-US" altLang="es-ES" sz="2000" b="1" dirty="0" smtClean="0"/>
              <a:t> à </a:t>
            </a:r>
            <a:r>
              <a:rPr lang="en-US" altLang="es-ES" sz="2000" b="1" dirty="0" err="1" smtClean="0"/>
              <a:t>aceleração</a:t>
            </a:r>
            <a:r>
              <a:rPr lang="en-US" altLang="es-ES" sz="2000" b="1" dirty="0" smtClean="0"/>
              <a:t> do </a:t>
            </a:r>
            <a:r>
              <a:rPr lang="en-US" altLang="es-ES" sz="2000" b="1" dirty="0" err="1" smtClean="0"/>
              <a:t>consumo</a:t>
            </a:r>
            <a:r>
              <a:rPr lang="en-US" altLang="es-ES" sz="2000" b="1" dirty="0" smtClean="0"/>
              <a:t> </a:t>
            </a:r>
            <a:r>
              <a:rPr lang="en-US" altLang="es-ES" sz="2000" dirty="0" smtClean="0"/>
              <a:t>e </a:t>
            </a:r>
            <a:r>
              <a:rPr lang="en-US" altLang="es-ES" sz="2000" dirty="0" err="1" smtClean="0"/>
              <a:t>potenciais</a:t>
            </a:r>
            <a:r>
              <a:rPr lang="en-US" altLang="es-ES" sz="2000" dirty="0" smtClean="0"/>
              <a:t> </a:t>
            </a:r>
            <a:r>
              <a:rPr lang="en-US" altLang="es-ES" sz="2000" dirty="0" err="1" smtClean="0"/>
              <a:t>beneficiadas</a:t>
            </a:r>
            <a:r>
              <a:rPr lang="en-US" altLang="es-ES" sz="2000" dirty="0" smtClean="0"/>
              <a:t> pela </a:t>
            </a:r>
            <a:r>
              <a:rPr lang="en-US" altLang="es-ES" sz="2000" b="1" dirty="0" err="1" smtClean="0"/>
              <a:t>redução</a:t>
            </a:r>
            <a:r>
              <a:rPr lang="en-US" altLang="es-ES" sz="2000" b="1" dirty="0" smtClean="0"/>
              <a:t> </a:t>
            </a:r>
            <a:r>
              <a:rPr lang="en-US" altLang="es-ES" sz="2000" b="1" dirty="0" smtClean="0"/>
              <a:t>da </a:t>
            </a:r>
            <a:r>
              <a:rPr lang="en-US" altLang="es-ES" sz="2000" b="1" dirty="0" err="1" smtClean="0"/>
              <a:t>participação</a:t>
            </a:r>
            <a:r>
              <a:rPr lang="en-US" altLang="es-ES" sz="2000" b="1" dirty="0" smtClean="0"/>
              <a:t> do Estado </a:t>
            </a:r>
            <a:r>
              <a:rPr lang="en-US" altLang="es-ES" sz="2000" b="1" dirty="0" err="1" smtClean="0"/>
              <a:t>na</a:t>
            </a:r>
            <a:r>
              <a:rPr lang="en-US" altLang="es-ES" sz="2000" b="1" dirty="0" smtClean="0"/>
              <a:t> </a:t>
            </a:r>
            <a:r>
              <a:rPr lang="en-US" altLang="es-ES" sz="2000" b="1" dirty="0" err="1" smtClean="0"/>
              <a:t>economia</a:t>
            </a:r>
            <a:r>
              <a:rPr lang="en-US" altLang="es-ES" sz="2000" b="1" dirty="0" smtClean="0"/>
              <a:t>.</a:t>
            </a:r>
            <a:endParaRPr lang="en-US" altLang="es-ES" sz="2000" b="1" dirty="0"/>
          </a:p>
        </p:txBody>
      </p:sp>
      <p:sp>
        <p:nvSpPr>
          <p:cNvPr id="36871" name="Slide Number Placeholder 9"/>
          <p:cNvSpPr>
            <a:spLocks noGrp="1"/>
          </p:cNvSpPr>
          <p:nvPr>
            <p:ph type="sldNum" sz="quarter" idx="17"/>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Frutiger"/>
                <a:cs typeface="Arial" panose="020B0604020202020204" pitchFamily="34" charset="0"/>
              </a:defRPr>
            </a:lvl1pPr>
            <a:lvl2pPr marL="742950" indent="-285750">
              <a:defRPr>
                <a:solidFill>
                  <a:schemeClr val="tx1"/>
                </a:solidFill>
                <a:latin typeface="Frutiger"/>
                <a:cs typeface="Arial" panose="020B0604020202020204" pitchFamily="34" charset="0"/>
              </a:defRPr>
            </a:lvl2pPr>
            <a:lvl3pPr marL="1143000" indent="-228600">
              <a:defRPr>
                <a:solidFill>
                  <a:schemeClr val="tx1"/>
                </a:solidFill>
                <a:latin typeface="Frutiger"/>
                <a:cs typeface="Arial" panose="020B0604020202020204" pitchFamily="34" charset="0"/>
              </a:defRPr>
            </a:lvl3pPr>
            <a:lvl4pPr marL="1600200" indent="-228600">
              <a:defRPr>
                <a:solidFill>
                  <a:schemeClr val="tx1"/>
                </a:solidFill>
                <a:latin typeface="Frutiger"/>
                <a:cs typeface="Arial" panose="020B0604020202020204" pitchFamily="34" charset="0"/>
              </a:defRPr>
            </a:lvl4pPr>
            <a:lvl5pPr marL="2057400" indent="-228600">
              <a:defRPr>
                <a:solidFill>
                  <a:schemeClr val="tx1"/>
                </a:solidFill>
                <a:latin typeface="Frutiger"/>
                <a:cs typeface="Arial" panose="020B0604020202020204" pitchFamily="34" charset="0"/>
              </a:defRPr>
            </a:lvl5pPr>
            <a:lvl6pPr marL="2514600" indent="-228600" eaLnBrk="0" fontAlgn="base" hangingPunct="0">
              <a:spcBef>
                <a:spcPct val="0"/>
              </a:spcBef>
              <a:spcAft>
                <a:spcPct val="0"/>
              </a:spcAft>
              <a:defRPr>
                <a:solidFill>
                  <a:schemeClr val="tx1"/>
                </a:solidFill>
                <a:latin typeface="Frutiger"/>
                <a:cs typeface="Arial" panose="020B0604020202020204" pitchFamily="34" charset="0"/>
              </a:defRPr>
            </a:lvl6pPr>
            <a:lvl7pPr marL="2971800" indent="-228600" eaLnBrk="0" fontAlgn="base" hangingPunct="0">
              <a:spcBef>
                <a:spcPct val="0"/>
              </a:spcBef>
              <a:spcAft>
                <a:spcPct val="0"/>
              </a:spcAft>
              <a:defRPr>
                <a:solidFill>
                  <a:schemeClr val="tx1"/>
                </a:solidFill>
                <a:latin typeface="Frutiger"/>
                <a:cs typeface="Arial" panose="020B0604020202020204" pitchFamily="34" charset="0"/>
              </a:defRPr>
            </a:lvl7pPr>
            <a:lvl8pPr marL="3429000" indent="-228600" eaLnBrk="0" fontAlgn="base" hangingPunct="0">
              <a:spcBef>
                <a:spcPct val="0"/>
              </a:spcBef>
              <a:spcAft>
                <a:spcPct val="0"/>
              </a:spcAft>
              <a:defRPr>
                <a:solidFill>
                  <a:schemeClr val="tx1"/>
                </a:solidFill>
                <a:latin typeface="Frutiger"/>
                <a:cs typeface="Arial" panose="020B0604020202020204" pitchFamily="34" charset="0"/>
              </a:defRPr>
            </a:lvl8pPr>
            <a:lvl9pPr marL="3886200" indent="-228600" eaLnBrk="0" fontAlgn="base" hangingPunct="0">
              <a:spcBef>
                <a:spcPct val="0"/>
              </a:spcBef>
              <a:spcAft>
                <a:spcPct val="0"/>
              </a:spcAft>
              <a:defRPr>
                <a:solidFill>
                  <a:schemeClr val="tx1"/>
                </a:solidFill>
                <a:latin typeface="Frutiger"/>
                <a:cs typeface="Arial" panose="020B0604020202020204" pitchFamily="34" charset="0"/>
              </a:defRPr>
            </a:lvl9pPr>
          </a:lstStyle>
          <a:p>
            <a:fld id="{2400933B-1274-40ED-9CD0-4D10F87B7F03}" type="slidenum">
              <a:rPr lang="en-GB" altLang="es-ES">
                <a:solidFill>
                  <a:srgbClr val="1A647B"/>
                </a:solidFill>
                <a:latin typeface="Arial" panose="020B0604020202020204" pitchFamily="34" charset="0"/>
              </a:rPr>
              <a:pPr/>
              <a:t>10</a:t>
            </a:fld>
            <a:endParaRPr lang="en-GB" altLang="es-ES">
              <a:solidFill>
                <a:srgbClr val="1A647B"/>
              </a:solidFill>
              <a:latin typeface="Arial" panose="020B0604020202020204" pitchFamily="34" charset="0"/>
            </a:endParaRPr>
          </a:p>
        </p:txBody>
      </p:sp>
      <p:sp>
        <p:nvSpPr>
          <p:cNvPr id="35" name="Content Placeholder 4"/>
          <p:cNvSpPr>
            <a:spLocks noGrp="1"/>
          </p:cNvSpPr>
          <p:nvPr>
            <p:ph sz="quarter" idx="4294967295"/>
          </p:nvPr>
        </p:nvSpPr>
        <p:spPr>
          <a:xfrm>
            <a:off x="236538" y="368300"/>
            <a:ext cx="855662" cy="776288"/>
          </a:xfrm>
          <a:prstGeom prst="rect">
            <a:avLst/>
          </a:prstGeom>
        </p:spPr>
        <p:txBody>
          <a:bodyPr/>
          <a:lstStyle/>
          <a:p>
            <a:pPr marL="0" indent="0" algn="ctr" eaLnBrk="1" fontAlgn="auto" hangingPunct="1">
              <a:spcAft>
                <a:spcPts val="0"/>
              </a:spcAft>
              <a:buNone/>
              <a:defRPr/>
            </a:pPr>
            <a:r>
              <a:rPr lang="en-GB" sz="4800" dirty="0">
                <a:solidFill>
                  <a:schemeClr val="bg1"/>
                </a:solidFill>
                <a:latin typeface="+mj-lt"/>
              </a:rPr>
              <a:t>2</a:t>
            </a:r>
            <a:endParaRPr lang="en-GB" sz="4800" dirty="0">
              <a:solidFill>
                <a:schemeClr val="bg1"/>
              </a:solidFill>
              <a:latin typeface="+mj-lt"/>
            </a:endParaRPr>
          </a:p>
        </p:txBody>
      </p:sp>
      <p:sp>
        <p:nvSpPr>
          <p:cNvPr id="14" name="Content Placeholder 8"/>
          <p:cNvSpPr>
            <a:spLocks noGrp="1"/>
          </p:cNvSpPr>
          <p:nvPr>
            <p:ph idx="4294967295"/>
          </p:nvPr>
        </p:nvSpPr>
        <p:spPr>
          <a:xfrm>
            <a:off x="681687" y="6201890"/>
            <a:ext cx="5554662" cy="233362"/>
          </a:xfrm>
          <a:prstGeom prst="rect">
            <a:avLst/>
          </a:prstGeom>
        </p:spPr>
        <p:txBody>
          <a:bodyPr vert="horz" wrap="square" lIns="0" tIns="45720" rIns="0" bIns="45720" numCol="1" anchor="ctr" anchorCtr="0" compatLnSpc="1">
            <a:prstTxWarp prst="textNoShape">
              <a:avLst/>
            </a:prstTxWarp>
          </a:bodyPr>
          <a:lstStyle/>
          <a:p>
            <a:pPr marL="0" indent="0" eaLnBrk="1" fontAlgn="auto" hangingPunct="1">
              <a:spcBef>
                <a:spcPct val="0"/>
              </a:spcBef>
              <a:spcAft>
                <a:spcPts val="0"/>
              </a:spcAft>
              <a:buNone/>
            </a:pPr>
            <a:r>
              <a:rPr lang="en-US" sz="800" dirty="0" smtClean="0">
                <a:solidFill>
                  <a:srgbClr val="1A647B"/>
                </a:solidFill>
                <a:latin typeface="Arial" panose="020B0604020202020204" pitchFamily="34" charset="0"/>
                <a:cs typeface="Arial" panose="020B0604020202020204" pitchFamily="34" charset="0"/>
              </a:rPr>
              <a:t>Fonte: </a:t>
            </a:r>
            <a:r>
              <a:rPr lang="en-US" sz="800" dirty="0">
                <a:solidFill>
                  <a:srgbClr val="1A647B"/>
                </a:solidFill>
                <a:latin typeface="Arial" panose="020B0604020202020204" pitchFamily="34" charset="0"/>
                <a:cs typeface="Arial" panose="020B0604020202020204" pitchFamily="34" charset="0"/>
              </a:rPr>
              <a:t>Santander Brasil Asset </a:t>
            </a:r>
            <a:r>
              <a:rPr lang="en-US" sz="800" dirty="0" smtClean="0">
                <a:solidFill>
                  <a:srgbClr val="1A647B"/>
                </a:solidFill>
                <a:latin typeface="Arial" panose="020B0604020202020204" pitchFamily="34" charset="0"/>
                <a:cs typeface="Arial" panose="020B0604020202020204" pitchFamily="34" charset="0"/>
              </a:rPr>
              <a:t>Management. </a:t>
            </a:r>
            <a:endParaRPr lang="en-US" sz="800" dirty="0">
              <a:solidFill>
                <a:srgbClr val="1A647B"/>
              </a:solidFill>
              <a:latin typeface="Arial" panose="020B0604020202020204" pitchFamily="34" charset="0"/>
              <a:cs typeface="Arial" panose="020B0604020202020204" pitchFamily="34" charset="0"/>
            </a:endParaRPr>
          </a:p>
        </p:txBody>
      </p:sp>
      <p:graphicFrame>
        <p:nvGraphicFramePr>
          <p:cNvPr id="2" name="Diagram 1"/>
          <p:cNvGraphicFramePr/>
          <p:nvPr>
            <p:extLst>
              <p:ext uri="{D42A27DB-BD31-4B8C-83A1-F6EECF244321}">
                <p14:modId xmlns:p14="http://schemas.microsoft.com/office/powerpoint/2010/main" val="1584027380"/>
              </p:ext>
            </p:extLst>
          </p:nvPr>
        </p:nvGraphicFramePr>
        <p:xfrm>
          <a:off x="236538" y="1132450"/>
          <a:ext cx="4486857" cy="29912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8" name="Diagram 7"/>
          <p:cNvGraphicFramePr/>
          <p:nvPr>
            <p:extLst>
              <p:ext uri="{D42A27DB-BD31-4B8C-83A1-F6EECF244321}">
                <p14:modId xmlns:p14="http://schemas.microsoft.com/office/powerpoint/2010/main" val="345580123"/>
              </p:ext>
            </p:extLst>
          </p:nvPr>
        </p:nvGraphicFramePr>
        <p:xfrm>
          <a:off x="5108984" y="1132450"/>
          <a:ext cx="4486857" cy="2991238"/>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pic>
        <p:nvPicPr>
          <p:cNvPr id="7" name="Picture 6"/>
          <p:cNvPicPr>
            <a:picLocks noChangeAspect="1"/>
          </p:cNvPicPr>
          <p:nvPr/>
        </p:nvPicPr>
        <p:blipFill>
          <a:blip r:embed="rId12"/>
          <a:stretch>
            <a:fillRect/>
          </a:stretch>
        </p:blipFill>
        <p:spPr>
          <a:xfrm>
            <a:off x="6455231" y="4965665"/>
            <a:ext cx="1909470" cy="291724"/>
          </a:xfrm>
          <a:prstGeom prst="rect">
            <a:avLst/>
          </a:prstGeom>
        </p:spPr>
      </p:pic>
      <p:pic>
        <p:nvPicPr>
          <p:cNvPr id="6" name="Picture 5"/>
          <p:cNvPicPr>
            <a:picLocks noChangeAspect="1"/>
          </p:cNvPicPr>
          <p:nvPr/>
        </p:nvPicPr>
        <p:blipFill>
          <a:blip r:embed="rId13"/>
          <a:stretch>
            <a:fillRect/>
          </a:stretch>
        </p:blipFill>
        <p:spPr>
          <a:xfrm>
            <a:off x="3071212" y="4957887"/>
            <a:ext cx="714325" cy="307280"/>
          </a:xfrm>
          <a:prstGeom prst="rect">
            <a:avLst/>
          </a:prstGeom>
        </p:spPr>
      </p:pic>
      <p:pic>
        <p:nvPicPr>
          <p:cNvPr id="32" name="Picture 31"/>
          <p:cNvPicPr>
            <a:picLocks noChangeAspect="1"/>
          </p:cNvPicPr>
          <p:nvPr/>
        </p:nvPicPr>
        <p:blipFill>
          <a:blip r:embed="rId14"/>
          <a:stretch>
            <a:fillRect/>
          </a:stretch>
        </p:blipFill>
        <p:spPr>
          <a:xfrm>
            <a:off x="2039711" y="4116673"/>
            <a:ext cx="751990" cy="604278"/>
          </a:xfrm>
          <a:prstGeom prst="rect">
            <a:avLst/>
          </a:prstGeom>
        </p:spPr>
      </p:pic>
      <p:pic>
        <p:nvPicPr>
          <p:cNvPr id="33" name="Picture 2" descr="Imagem relacionada"/>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1165603" y="4170270"/>
            <a:ext cx="504099" cy="504099"/>
          </a:xfrm>
          <a:prstGeom prst="rect">
            <a:avLst/>
          </a:prstGeom>
          <a:noFill/>
          <a:extLst>
            <a:ext uri="{909E8E84-426E-40DD-AFC4-6F175D3DCCD1}">
              <a14:hiddenFill xmlns:a14="http://schemas.microsoft.com/office/drawing/2010/main">
                <a:solidFill>
                  <a:srgbClr val="FFFFFF"/>
                </a:solidFill>
              </a14:hiddenFill>
            </a:ext>
          </a:extLst>
        </p:spPr>
      </p:pic>
      <p:sp>
        <p:nvSpPr>
          <p:cNvPr id="23" name="Rounded Rectangle 22"/>
          <p:cNvSpPr/>
          <p:nvPr/>
        </p:nvSpPr>
        <p:spPr>
          <a:xfrm>
            <a:off x="861456" y="3998306"/>
            <a:ext cx="3061789" cy="1445290"/>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8" name="Picture 4" descr="Resultado de imagem para lojas renner logotipo"/>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6256759" y="4174907"/>
            <a:ext cx="377553" cy="467222"/>
          </a:xfrm>
          <a:prstGeom prst="rect">
            <a:avLst/>
          </a:prstGeom>
          <a:noFill/>
          <a:extLst>
            <a:ext uri="{909E8E84-426E-40DD-AFC4-6F175D3DCCD1}">
              <a14:hiddenFill xmlns:a14="http://schemas.microsoft.com/office/drawing/2010/main">
                <a:solidFill>
                  <a:srgbClr val="FFFFFF"/>
                </a:solidFill>
              </a14:hiddenFill>
            </a:ext>
          </a:extLst>
        </p:spPr>
      </p:pic>
      <p:sp>
        <p:nvSpPr>
          <p:cNvPr id="39" name="Rounded Rectangle 38"/>
          <p:cNvSpPr/>
          <p:nvPr/>
        </p:nvSpPr>
        <p:spPr>
          <a:xfrm>
            <a:off x="5871686" y="3998306"/>
            <a:ext cx="3061789" cy="1445290"/>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0" name="Picture 2" descr="Resultado de imagem"/>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7017122" y="4211106"/>
            <a:ext cx="695869" cy="347282"/>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p:cNvPicPr>
            <a:picLocks noChangeAspect="1"/>
          </p:cNvPicPr>
          <p:nvPr/>
        </p:nvPicPr>
        <p:blipFill>
          <a:blip r:embed="rId18"/>
          <a:stretch>
            <a:fillRect/>
          </a:stretch>
        </p:blipFill>
        <p:spPr>
          <a:xfrm>
            <a:off x="3161711" y="4147009"/>
            <a:ext cx="533328" cy="621516"/>
          </a:xfrm>
          <a:prstGeom prst="rect">
            <a:avLst/>
          </a:prstGeom>
        </p:spPr>
      </p:pic>
      <p:pic>
        <p:nvPicPr>
          <p:cNvPr id="9" name="Picture 8"/>
          <p:cNvPicPr>
            <a:picLocks noChangeAspect="1"/>
          </p:cNvPicPr>
          <p:nvPr/>
        </p:nvPicPr>
        <p:blipFill>
          <a:blip r:embed="rId19"/>
          <a:stretch>
            <a:fillRect/>
          </a:stretch>
        </p:blipFill>
        <p:spPr>
          <a:xfrm>
            <a:off x="1090675" y="4806678"/>
            <a:ext cx="650906" cy="492867"/>
          </a:xfrm>
          <a:prstGeom prst="rect">
            <a:avLst/>
          </a:prstGeom>
        </p:spPr>
      </p:pic>
      <p:pic>
        <p:nvPicPr>
          <p:cNvPr id="10" name="Picture 9"/>
          <p:cNvPicPr>
            <a:picLocks noChangeAspect="1"/>
          </p:cNvPicPr>
          <p:nvPr/>
        </p:nvPicPr>
        <p:blipFill>
          <a:blip r:embed="rId20"/>
          <a:stretch>
            <a:fillRect/>
          </a:stretch>
        </p:blipFill>
        <p:spPr>
          <a:xfrm>
            <a:off x="1942009" y="4975272"/>
            <a:ext cx="945111" cy="249652"/>
          </a:xfrm>
          <a:prstGeom prst="rect">
            <a:avLst/>
          </a:prstGeom>
        </p:spPr>
      </p:pic>
      <p:pic>
        <p:nvPicPr>
          <p:cNvPr id="12" name="Picture 11"/>
          <p:cNvPicPr>
            <a:picLocks noChangeAspect="1"/>
          </p:cNvPicPr>
          <p:nvPr/>
        </p:nvPicPr>
        <p:blipFill>
          <a:blip r:embed="rId21"/>
          <a:stretch>
            <a:fillRect/>
          </a:stretch>
        </p:blipFill>
        <p:spPr>
          <a:xfrm>
            <a:off x="7940027" y="4172778"/>
            <a:ext cx="849349" cy="478430"/>
          </a:xfrm>
          <a:prstGeom prst="rect">
            <a:avLst/>
          </a:prstGeom>
        </p:spPr>
      </p:pic>
    </p:spTree>
    <p:extLst>
      <p:ext uri="{BB962C8B-B14F-4D97-AF65-F5344CB8AC3E}">
        <p14:creationId xmlns:p14="http://schemas.microsoft.com/office/powerpoint/2010/main" val="1881234114"/>
      </p:ext>
    </p:extLst>
  </p:cSld>
  <p:clrMapOvr>
    <a:masterClrMapping/>
  </p:clrMapOvr>
  <p:transition spd="med">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Title 1"/>
          <p:cNvSpPr>
            <a:spLocks noGrp="1"/>
          </p:cNvSpPr>
          <p:nvPr>
            <p:ph type="title"/>
          </p:nvPr>
        </p:nvSpPr>
        <p:spPr bwMode="auto">
          <a:xfrm>
            <a:off x="1623925" y="402564"/>
            <a:ext cx="8459413" cy="2571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p>
            <a:pPr eaLnBrk="1" hangingPunct="1"/>
            <a:r>
              <a:rPr lang="pt-BR" sz="2000" dirty="0" smtClean="0"/>
              <a:t>Redução do financiamento </a:t>
            </a:r>
            <a:r>
              <a:rPr lang="pt-BR" sz="2000" dirty="0"/>
              <a:t>público </a:t>
            </a:r>
            <a:r>
              <a:rPr lang="pt-BR" sz="2000" dirty="0" smtClean="0"/>
              <a:t>abrindo espaço para </a:t>
            </a:r>
            <a:r>
              <a:rPr lang="pt-BR" sz="2000" b="1" dirty="0" smtClean="0"/>
              <a:t>bancos </a:t>
            </a:r>
            <a:r>
              <a:rPr lang="pt-BR" sz="2000" b="1" dirty="0"/>
              <a:t>privados e </a:t>
            </a:r>
            <a:r>
              <a:rPr lang="pt-BR" sz="2000" b="1" dirty="0" smtClean="0"/>
              <a:t>mercado </a:t>
            </a:r>
            <a:r>
              <a:rPr lang="pt-BR" sz="2000" b="1" dirty="0"/>
              <a:t>de capitais</a:t>
            </a:r>
            <a:r>
              <a:rPr lang="pt-BR" sz="2000" dirty="0"/>
              <a:t> no financiamento de </a:t>
            </a:r>
            <a:r>
              <a:rPr lang="pt-BR" sz="2000" dirty="0" smtClean="0"/>
              <a:t>longo </a:t>
            </a:r>
            <a:r>
              <a:rPr lang="pt-BR" sz="2000" dirty="0"/>
              <a:t>prazo</a:t>
            </a:r>
            <a:endParaRPr lang="en-US" altLang="es-ES" sz="2000" dirty="0"/>
          </a:p>
        </p:txBody>
      </p:sp>
      <p:sp>
        <p:nvSpPr>
          <p:cNvPr id="36871" name="Slide Number Placeholder 9"/>
          <p:cNvSpPr>
            <a:spLocks noGrp="1"/>
          </p:cNvSpPr>
          <p:nvPr>
            <p:ph type="sldNum" sz="quarter" idx="17"/>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Frutiger"/>
                <a:cs typeface="Arial" panose="020B0604020202020204" pitchFamily="34" charset="0"/>
              </a:defRPr>
            </a:lvl1pPr>
            <a:lvl2pPr marL="742950" indent="-285750">
              <a:defRPr>
                <a:solidFill>
                  <a:schemeClr val="tx1"/>
                </a:solidFill>
                <a:latin typeface="Frutiger"/>
                <a:cs typeface="Arial" panose="020B0604020202020204" pitchFamily="34" charset="0"/>
              </a:defRPr>
            </a:lvl2pPr>
            <a:lvl3pPr marL="1143000" indent="-228600">
              <a:defRPr>
                <a:solidFill>
                  <a:schemeClr val="tx1"/>
                </a:solidFill>
                <a:latin typeface="Frutiger"/>
                <a:cs typeface="Arial" panose="020B0604020202020204" pitchFamily="34" charset="0"/>
              </a:defRPr>
            </a:lvl3pPr>
            <a:lvl4pPr marL="1600200" indent="-228600">
              <a:defRPr>
                <a:solidFill>
                  <a:schemeClr val="tx1"/>
                </a:solidFill>
                <a:latin typeface="Frutiger"/>
                <a:cs typeface="Arial" panose="020B0604020202020204" pitchFamily="34" charset="0"/>
              </a:defRPr>
            </a:lvl4pPr>
            <a:lvl5pPr marL="2057400" indent="-228600">
              <a:defRPr>
                <a:solidFill>
                  <a:schemeClr val="tx1"/>
                </a:solidFill>
                <a:latin typeface="Frutiger"/>
                <a:cs typeface="Arial" panose="020B0604020202020204" pitchFamily="34" charset="0"/>
              </a:defRPr>
            </a:lvl5pPr>
            <a:lvl6pPr marL="2514600" indent="-228600" eaLnBrk="0" fontAlgn="base" hangingPunct="0">
              <a:spcBef>
                <a:spcPct val="0"/>
              </a:spcBef>
              <a:spcAft>
                <a:spcPct val="0"/>
              </a:spcAft>
              <a:defRPr>
                <a:solidFill>
                  <a:schemeClr val="tx1"/>
                </a:solidFill>
                <a:latin typeface="Frutiger"/>
                <a:cs typeface="Arial" panose="020B0604020202020204" pitchFamily="34" charset="0"/>
              </a:defRPr>
            </a:lvl6pPr>
            <a:lvl7pPr marL="2971800" indent="-228600" eaLnBrk="0" fontAlgn="base" hangingPunct="0">
              <a:spcBef>
                <a:spcPct val="0"/>
              </a:spcBef>
              <a:spcAft>
                <a:spcPct val="0"/>
              </a:spcAft>
              <a:defRPr>
                <a:solidFill>
                  <a:schemeClr val="tx1"/>
                </a:solidFill>
                <a:latin typeface="Frutiger"/>
                <a:cs typeface="Arial" panose="020B0604020202020204" pitchFamily="34" charset="0"/>
              </a:defRPr>
            </a:lvl7pPr>
            <a:lvl8pPr marL="3429000" indent="-228600" eaLnBrk="0" fontAlgn="base" hangingPunct="0">
              <a:spcBef>
                <a:spcPct val="0"/>
              </a:spcBef>
              <a:spcAft>
                <a:spcPct val="0"/>
              </a:spcAft>
              <a:defRPr>
                <a:solidFill>
                  <a:schemeClr val="tx1"/>
                </a:solidFill>
                <a:latin typeface="Frutiger"/>
                <a:cs typeface="Arial" panose="020B0604020202020204" pitchFamily="34" charset="0"/>
              </a:defRPr>
            </a:lvl8pPr>
            <a:lvl9pPr marL="3886200" indent="-228600" eaLnBrk="0" fontAlgn="base" hangingPunct="0">
              <a:spcBef>
                <a:spcPct val="0"/>
              </a:spcBef>
              <a:spcAft>
                <a:spcPct val="0"/>
              </a:spcAft>
              <a:defRPr>
                <a:solidFill>
                  <a:schemeClr val="tx1"/>
                </a:solidFill>
                <a:latin typeface="Frutiger"/>
                <a:cs typeface="Arial" panose="020B0604020202020204" pitchFamily="34" charset="0"/>
              </a:defRPr>
            </a:lvl9pPr>
          </a:lstStyle>
          <a:p>
            <a:fld id="{2400933B-1274-40ED-9CD0-4D10F87B7F03}" type="slidenum">
              <a:rPr lang="en-GB" altLang="es-ES">
                <a:solidFill>
                  <a:srgbClr val="1A647B"/>
                </a:solidFill>
                <a:latin typeface="Arial" panose="020B0604020202020204" pitchFamily="34" charset="0"/>
              </a:rPr>
              <a:pPr/>
              <a:t>11</a:t>
            </a:fld>
            <a:endParaRPr lang="en-GB" altLang="es-ES">
              <a:solidFill>
                <a:srgbClr val="1A647B"/>
              </a:solidFill>
              <a:latin typeface="Arial" panose="020B0604020202020204" pitchFamily="34" charset="0"/>
            </a:endParaRPr>
          </a:p>
        </p:txBody>
      </p:sp>
      <p:sp>
        <p:nvSpPr>
          <p:cNvPr id="35" name="Content Placeholder 4"/>
          <p:cNvSpPr>
            <a:spLocks noGrp="1"/>
          </p:cNvSpPr>
          <p:nvPr>
            <p:ph sz="quarter" idx="4294967295"/>
          </p:nvPr>
        </p:nvSpPr>
        <p:spPr>
          <a:xfrm>
            <a:off x="236538" y="368300"/>
            <a:ext cx="855662" cy="776288"/>
          </a:xfrm>
          <a:prstGeom prst="rect">
            <a:avLst/>
          </a:prstGeom>
        </p:spPr>
        <p:txBody>
          <a:bodyPr/>
          <a:lstStyle/>
          <a:p>
            <a:pPr marL="0" indent="0" algn="ctr" eaLnBrk="1" fontAlgn="auto" hangingPunct="1">
              <a:spcAft>
                <a:spcPts val="0"/>
              </a:spcAft>
              <a:buNone/>
              <a:defRPr/>
            </a:pPr>
            <a:r>
              <a:rPr lang="en-GB" sz="4800" dirty="0">
                <a:solidFill>
                  <a:schemeClr val="bg1"/>
                </a:solidFill>
                <a:latin typeface="+mj-lt"/>
              </a:rPr>
              <a:t>2</a:t>
            </a:r>
            <a:endParaRPr lang="en-GB" sz="4800" dirty="0">
              <a:solidFill>
                <a:schemeClr val="bg1"/>
              </a:solidFill>
              <a:latin typeface="+mj-lt"/>
            </a:endParaRPr>
          </a:p>
        </p:txBody>
      </p:sp>
      <p:sp>
        <p:nvSpPr>
          <p:cNvPr id="14" name="Content Placeholder 8"/>
          <p:cNvSpPr>
            <a:spLocks noGrp="1"/>
          </p:cNvSpPr>
          <p:nvPr>
            <p:ph idx="4294967295"/>
          </p:nvPr>
        </p:nvSpPr>
        <p:spPr>
          <a:xfrm>
            <a:off x="681687" y="6245435"/>
            <a:ext cx="5554662" cy="233362"/>
          </a:xfrm>
          <a:prstGeom prst="rect">
            <a:avLst/>
          </a:prstGeom>
        </p:spPr>
        <p:txBody>
          <a:bodyPr vert="horz" wrap="square" lIns="0" tIns="45720" rIns="0" bIns="45720" numCol="1" anchor="ctr" anchorCtr="0" compatLnSpc="1">
            <a:prstTxWarp prst="textNoShape">
              <a:avLst/>
            </a:prstTxWarp>
          </a:bodyPr>
          <a:lstStyle/>
          <a:p>
            <a:pPr marL="0" indent="0">
              <a:buNone/>
            </a:pPr>
            <a:r>
              <a:rPr lang="en-US" sz="800" dirty="0" smtClean="0">
                <a:solidFill>
                  <a:srgbClr val="1A647B"/>
                </a:solidFill>
                <a:latin typeface="Arial" panose="020B0604020202020204" pitchFamily="34" charset="0"/>
                <a:cs typeface="Arial" panose="020B0604020202020204" pitchFamily="34" charset="0"/>
              </a:rPr>
              <a:t>Fonte: BNDES, </a:t>
            </a:r>
            <a:r>
              <a:rPr lang="en-US" sz="800" dirty="0" err="1" smtClean="0">
                <a:solidFill>
                  <a:srgbClr val="1A647B"/>
                </a:solidFill>
                <a:latin typeface="Arial" panose="020B0604020202020204" pitchFamily="34" charset="0"/>
                <a:cs typeface="Arial" panose="020B0604020202020204" pitchFamily="34" charset="0"/>
              </a:rPr>
              <a:t>Anbima</a:t>
            </a:r>
            <a:r>
              <a:rPr lang="en-US" sz="800" dirty="0" smtClean="0">
                <a:solidFill>
                  <a:srgbClr val="1A647B"/>
                </a:solidFill>
                <a:latin typeface="Arial" panose="020B0604020202020204" pitchFamily="34" charset="0"/>
                <a:cs typeface="Arial" panose="020B0604020202020204" pitchFamily="34" charset="0"/>
              </a:rPr>
              <a:t>, </a:t>
            </a:r>
            <a:r>
              <a:rPr lang="en-US" sz="800" dirty="0" err="1" smtClean="0">
                <a:solidFill>
                  <a:srgbClr val="1A647B"/>
                </a:solidFill>
                <a:latin typeface="Arial" panose="020B0604020202020204" pitchFamily="34" charset="0"/>
                <a:cs typeface="Arial" panose="020B0604020202020204" pitchFamily="34" charset="0"/>
              </a:rPr>
              <a:t>Bacen</a:t>
            </a:r>
            <a:r>
              <a:rPr lang="en-US" sz="800" dirty="0" smtClean="0">
                <a:solidFill>
                  <a:srgbClr val="1A647B"/>
                </a:solidFill>
                <a:latin typeface="Arial" panose="020B0604020202020204" pitchFamily="34" charset="0"/>
                <a:cs typeface="Arial" panose="020B0604020202020204" pitchFamily="34" charset="0"/>
              </a:rPr>
              <a:t>,  e </a:t>
            </a:r>
            <a:r>
              <a:rPr lang="en-US" sz="800" dirty="0">
                <a:solidFill>
                  <a:srgbClr val="1A647B"/>
                </a:solidFill>
                <a:latin typeface="Arial" panose="020B0604020202020204" pitchFamily="34" charset="0"/>
                <a:cs typeface="Arial" panose="020B0604020202020204" pitchFamily="34" charset="0"/>
              </a:rPr>
              <a:t>Santander Brasil Asset Management. “Mercado de </a:t>
            </a:r>
            <a:r>
              <a:rPr lang="en-US" sz="800" dirty="0" err="1">
                <a:solidFill>
                  <a:srgbClr val="1A647B"/>
                </a:solidFill>
                <a:latin typeface="Arial" panose="020B0604020202020204" pitchFamily="34" charset="0"/>
                <a:cs typeface="Arial" panose="020B0604020202020204" pitchFamily="34" charset="0"/>
              </a:rPr>
              <a:t>Capitais</a:t>
            </a:r>
            <a:r>
              <a:rPr lang="en-US" sz="800" dirty="0">
                <a:solidFill>
                  <a:srgbClr val="1A647B"/>
                </a:solidFill>
                <a:latin typeface="Arial" panose="020B0604020202020204" pitchFamily="34" charset="0"/>
                <a:cs typeface="Arial" panose="020B0604020202020204" pitchFamily="34" charset="0"/>
              </a:rPr>
              <a:t>” </a:t>
            </a:r>
            <a:r>
              <a:rPr lang="en-US" sz="800" dirty="0" err="1">
                <a:solidFill>
                  <a:srgbClr val="1A647B"/>
                </a:solidFill>
                <a:latin typeface="Arial" panose="020B0604020202020204" pitchFamily="34" charset="0"/>
                <a:cs typeface="Arial" panose="020B0604020202020204" pitchFamily="34" charset="0"/>
              </a:rPr>
              <a:t>inclui</a:t>
            </a:r>
            <a:r>
              <a:rPr lang="en-US" sz="800" dirty="0">
                <a:solidFill>
                  <a:srgbClr val="1A647B"/>
                </a:solidFill>
                <a:latin typeface="Arial" panose="020B0604020202020204" pitchFamily="34" charset="0"/>
                <a:cs typeface="Arial" panose="020B0604020202020204" pitchFamily="34" charset="0"/>
              </a:rPr>
              <a:t> </a:t>
            </a:r>
            <a:r>
              <a:rPr lang="pt-BR" sz="800" dirty="0" smtClean="0">
                <a:solidFill>
                  <a:srgbClr val="1A647B"/>
                </a:solidFill>
                <a:latin typeface="Arial" panose="020B0604020202020204" pitchFamily="34" charset="0"/>
                <a:cs typeface="Arial" panose="020B0604020202020204" pitchFamily="34" charset="0"/>
              </a:rPr>
              <a:t>Debêntures, Notas promissórias</a:t>
            </a:r>
            <a:r>
              <a:rPr lang="pt-BR" sz="800" dirty="0">
                <a:solidFill>
                  <a:srgbClr val="1A647B"/>
                </a:solidFill>
                <a:latin typeface="Arial" panose="020B0604020202020204" pitchFamily="34" charset="0"/>
                <a:cs typeface="Arial" panose="020B0604020202020204" pitchFamily="34" charset="0"/>
              </a:rPr>
              <a:t> </a:t>
            </a:r>
            <a:r>
              <a:rPr lang="pt-BR" sz="800" dirty="0" smtClean="0">
                <a:solidFill>
                  <a:srgbClr val="1A647B"/>
                </a:solidFill>
                <a:latin typeface="Arial" panose="020B0604020202020204" pitchFamily="34" charset="0"/>
                <a:cs typeface="Arial" panose="020B0604020202020204" pitchFamily="34" charset="0"/>
              </a:rPr>
              <a:t>Letras Financeiras, CRA, CRI, FIDC</a:t>
            </a:r>
            <a:r>
              <a:rPr lang="en-US" sz="800" dirty="0" smtClean="0">
                <a:solidFill>
                  <a:srgbClr val="1A647B"/>
                </a:solidFill>
                <a:latin typeface="Arial" panose="020B0604020202020204" pitchFamily="34" charset="0"/>
                <a:cs typeface="Arial" panose="020B0604020202020204" pitchFamily="34" charset="0"/>
              </a:rPr>
              <a:t>, </a:t>
            </a:r>
            <a:r>
              <a:rPr lang="pt-BR" sz="800" dirty="0" smtClean="0">
                <a:solidFill>
                  <a:srgbClr val="1A647B"/>
                </a:solidFill>
                <a:latin typeface="Arial" panose="020B0604020202020204" pitchFamily="34" charset="0"/>
                <a:cs typeface="Arial" panose="020B0604020202020204" pitchFamily="34" charset="0"/>
              </a:rPr>
              <a:t>Ações </a:t>
            </a:r>
            <a:r>
              <a:rPr lang="pt-BR" sz="800" dirty="0" err="1" smtClean="0">
                <a:solidFill>
                  <a:srgbClr val="1A647B"/>
                </a:solidFill>
                <a:latin typeface="Arial" panose="020B0604020202020204" pitchFamily="34" charset="0"/>
                <a:cs typeface="Arial" panose="020B0604020202020204" pitchFamily="34" charset="0"/>
              </a:rPr>
              <a:t>IPOs</a:t>
            </a:r>
            <a:r>
              <a:rPr lang="pt-BR" sz="800" dirty="0" smtClean="0">
                <a:solidFill>
                  <a:srgbClr val="1A647B"/>
                </a:solidFill>
                <a:latin typeface="Arial" panose="020B0604020202020204" pitchFamily="34" charset="0"/>
                <a:cs typeface="Arial" panose="020B0604020202020204" pitchFamily="34" charset="0"/>
              </a:rPr>
              <a:t>, Ações </a:t>
            </a:r>
            <a:r>
              <a:rPr lang="pt-BR" sz="800" dirty="0" err="1" smtClean="0">
                <a:solidFill>
                  <a:srgbClr val="1A647B"/>
                </a:solidFill>
                <a:latin typeface="Arial" panose="020B0604020202020204" pitchFamily="34" charset="0"/>
                <a:cs typeface="Arial" panose="020B0604020202020204" pitchFamily="34" charset="0"/>
              </a:rPr>
              <a:t>follow-nos</a:t>
            </a:r>
            <a:r>
              <a:rPr lang="pt-BR" sz="800" dirty="0" smtClean="0">
                <a:solidFill>
                  <a:srgbClr val="1A647B"/>
                </a:solidFill>
                <a:latin typeface="Arial" panose="020B0604020202020204" pitchFamily="34" charset="0"/>
                <a:cs typeface="Arial" panose="020B0604020202020204" pitchFamily="34" charset="0"/>
              </a:rPr>
              <a:t> e FII.</a:t>
            </a:r>
            <a:endParaRPr lang="en-US" sz="800" dirty="0">
              <a:solidFill>
                <a:srgbClr val="1A647B"/>
              </a:solidFill>
              <a:latin typeface="Arial" panose="020B0604020202020204" pitchFamily="34" charset="0"/>
              <a:cs typeface="Arial" panose="020B0604020202020204" pitchFamily="34" charset="0"/>
            </a:endParaRPr>
          </a:p>
        </p:txBody>
      </p:sp>
      <p:graphicFrame>
        <p:nvGraphicFramePr>
          <p:cNvPr id="9" name="Chart 8"/>
          <p:cNvGraphicFramePr>
            <a:graphicFrameLocks/>
          </p:cNvGraphicFramePr>
          <p:nvPr>
            <p:extLst>
              <p:ext uri="{D42A27DB-BD31-4B8C-83A1-F6EECF244321}">
                <p14:modId xmlns:p14="http://schemas.microsoft.com/office/powerpoint/2010/main" val="476578799"/>
              </p:ext>
            </p:extLst>
          </p:nvPr>
        </p:nvGraphicFramePr>
        <p:xfrm>
          <a:off x="458015" y="1316405"/>
          <a:ext cx="4127500" cy="24765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0" name="Chart 9"/>
          <p:cNvGraphicFramePr>
            <a:graphicFrameLocks/>
          </p:cNvGraphicFramePr>
          <p:nvPr>
            <p:extLst>
              <p:ext uri="{D42A27DB-BD31-4B8C-83A1-F6EECF244321}">
                <p14:modId xmlns:p14="http://schemas.microsoft.com/office/powerpoint/2010/main" val="4082216453"/>
              </p:ext>
            </p:extLst>
          </p:nvPr>
        </p:nvGraphicFramePr>
        <p:xfrm>
          <a:off x="5234555" y="1411329"/>
          <a:ext cx="4068310" cy="2440986"/>
        </p:xfrm>
        <a:graphic>
          <a:graphicData uri="http://schemas.openxmlformats.org/drawingml/2006/chart">
            <c:chart xmlns:c="http://schemas.openxmlformats.org/drawingml/2006/chart" xmlns:r="http://schemas.openxmlformats.org/officeDocument/2006/relationships" r:id="rId3"/>
          </a:graphicData>
        </a:graphic>
      </p:graphicFrame>
      <p:cxnSp>
        <p:nvCxnSpPr>
          <p:cNvPr id="3" name="Straight Arrow Connector 2"/>
          <p:cNvCxnSpPr/>
          <p:nvPr/>
        </p:nvCxnSpPr>
        <p:spPr>
          <a:xfrm flipV="1">
            <a:off x="7393577" y="1406284"/>
            <a:ext cx="1346584" cy="60035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a:off x="7393577" y="2007328"/>
            <a:ext cx="1346584" cy="51575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7" name="Rectangle 12"/>
          <p:cNvSpPr/>
          <p:nvPr/>
        </p:nvSpPr>
        <p:spPr>
          <a:xfrm rot="20150426">
            <a:off x="7278998" y="1443410"/>
            <a:ext cx="1249539" cy="369332"/>
          </a:xfrm>
          <a:prstGeom prst="rect">
            <a:avLst/>
          </a:prstGeom>
        </p:spPr>
        <p:txBody>
          <a:bodyPr wrap="square">
            <a:spAutoFit/>
          </a:bodyPr>
          <a:lstStyle/>
          <a:p>
            <a:pPr marL="0" lvl="1" indent="-285750" algn="ctr">
              <a:buClr>
                <a:srgbClr val="C00000"/>
              </a:buClr>
              <a:defRPr/>
            </a:pPr>
            <a:r>
              <a:rPr lang="en-US" sz="900" b="1" kern="0" dirty="0" smtClean="0">
                <a:solidFill>
                  <a:schemeClr val="tx2"/>
                </a:solidFill>
                <a:latin typeface="Arial" panose="020B0604020202020204" pitchFamily="34" charset="0"/>
              </a:rPr>
              <a:t>+20% </a:t>
            </a:r>
          </a:p>
          <a:p>
            <a:pPr marL="0" lvl="1" indent="-285750" algn="ctr">
              <a:buClr>
                <a:srgbClr val="C00000"/>
              </a:buClr>
              <a:defRPr/>
            </a:pPr>
            <a:r>
              <a:rPr lang="en-US" sz="900" b="1" kern="0" dirty="0" smtClean="0">
                <a:solidFill>
                  <a:schemeClr val="tx2"/>
                </a:solidFill>
                <a:latin typeface="Arial" panose="020B0604020202020204" pitchFamily="34" charset="0"/>
              </a:rPr>
              <a:t>CAGR 2016-18</a:t>
            </a:r>
            <a:endParaRPr lang="en-US" sz="900" b="1" kern="0" dirty="0">
              <a:solidFill>
                <a:schemeClr val="tx2"/>
              </a:solidFill>
              <a:latin typeface="Arial" panose="020B0604020202020204" pitchFamily="34" charset="0"/>
            </a:endParaRPr>
          </a:p>
        </p:txBody>
      </p:sp>
      <p:sp>
        <p:nvSpPr>
          <p:cNvPr id="18" name="Rectangle 12"/>
          <p:cNvSpPr/>
          <p:nvPr/>
        </p:nvSpPr>
        <p:spPr>
          <a:xfrm rot="1283828">
            <a:off x="7367912" y="1884640"/>
            <a:ext cx="1249539" cy="369332"/>
          </a:xfrm>
          <a:prstGeom prst="rect">
            <a:avLst/>
          </a:prstGeom>
        </p:spPr>
        <p:txBody>
          <a:bodyPr wrap="square">
            <a:spAutoFit/>
          </a:bodyPr>
          <a:lstStyle/>
          <a:p>
            <a:pPr marL="0" lvl="1" indent="-285750" algn="ctr">
              <a:buClr>
                <a:srgbClr val="C00000"/>
              </a:buClr>
              <a:defRPr/>
            </a:pPr>
            <a:r>
              <a:rPr lang="en-US" sz="900" b="1" kern="0" dirty="0" smtClean="0">
                <a:solidFill>
                  <a:srgbClr val="C00000"/>
                </a:solidFill>
                <a:latin typeface="Arial" panose="020B0604020202020204" pitchFamily="34" charset="0"/>
              </a:rPr>
              <a:t>-25% </a:t>
            </a:r>
          </a:p>
          <a:p>
            <a:pPr marL="0" lvl="1" indent="-285750" algn="ctr">
              <a:buClr>
                <a:srgbClr val="C00000"/>
              </a:buClr>
              <a:defRPr/>
            </a:pPr>
            <a:r>
              <a:rPr lang="en-US" sz="900" b="1" kern="0" dirty="0" smtClean="0">
                <a:solidFill>
                  <a:srgbClr val="C00000"/>
                </a:solidFill>
                <a:latin typeface="Arial" panose="020B0604020202020204" pitchFamily="34" charset="0"/>
              </a:rPr>
              <a:t>CAGR 2016-18</a:t>
            </a:r>
            <a:endParaRPr lang="en-US" sz="900" b="1" kern="0" dirty="0">
              <a:solidFill>
                <a:srgbClr val="C00000"/>
              </a:solidFill>
              <a:latin typeface="Arial" panose="020B0604020202020204" pitchFamily="34" charset="0"/>
            </a:endParaRPr>
          </a:p>
        </p:txBody>
      </p:sp>
      <p:pic>
        <p:nvPicPr>
          <p:cNvPr id="2" name="Picture 1"/>
          <p:cNvPicPr>
            <a:picLocks noChangeAspect="1"/>
          </p:cNvPicPr>
          <p:nvPr/>
        </p:nvPicPr>
        <p:blipFill rotWithShape="1">
          <a:blip r:embed="rId4"/>
          <a:srcRect t="11720"/>
          <a:stretch/>
        </p:blipFill>
        <p:spPr>
          <a:xfrm>
            <a:off x="681038" y="4175577"/>
            <a:ext cx="3758563" cy="1962196"/>
          </a:xfrm>
          <a:prstGeom prst="rect">
            <a:avLst/>
          </a:prstGeom>
        </p:spPr>
      </p:pic>
      <p:pic>
        <p:nvPicPr>
          <p:cNvPr id="6" name="Picture 5"/>
          <p:cNvPicPr>
            <a:picLocks noChangeAspect="1"/>
          </p:cNvPicPr>
          <p:nvPr/>
        </p:nvPicPr>
        <p:blipFill rotWithShape="1">
          <a:blip r:embed="rId5"/>
          <a:srcRect t="21654"/>
          <a:stretch/>
        </p:blipFill>
        <p:spPr>
          <a:xfrm>
            <a:off x="5234555" y="4128252"/>
            <a:ext cx="4068310" cy="2009522"/>
          </a:xfrm>
          <a:prstGeom prst="rect">
            <a:avLst/>
          </a:prstGeom>
        </p:spPr>
      </p:pic>
      <p:sp>
        <p:nvSpPr>
          <p:cNvPr id="19" name="Rectangle 8"/>
          <p:cNvSpPr/>
          <p:nvPr/>
        </p:nvSpPr>
        <p:spPr>
          <a:xfrm>
            <a:off x="448219" y="1144588"/>
            <a:ext cx="4224233" cy="276999"/>
          </a:xfrm>
          <a:prstGeom prst="rect">
            <a:avLst/>
          </a:prstGeom>
        </p:spPr>
        <p:txBody>
          <a:bodyPr wrap="none">
            <a:spAutoFit/>
          </a:bodyPr>
          <a:lstStyle/>
          <a:p>
            <a:pPr marL="0" lvl="1" indent="-285750" algn="ctr">
              <a:buClr>
                <a:srgbClr val="C00000"/>
              </a:buClr>
              <a:defRPr/>
            </a:pPr>
            <a:r>
              <a:rPr lang="en-US" sz="1200" b="1" kern="0" dirty="0" smtClean="0">
                <a:solidFill>
                  <a:srgbClr val="C00000"/>
                </a:solidFill>
                <a:latin typeface="Arial" panose="020B0604020202020204" pitchFamily="34" charset="0"/>
              </a:rPr>
              <a:t>BNDES </a:t>
            </a:r>
            <a:r>
              <a:rPr lang="en-US" sz="1200" b="1" kern="0" dirty="0" err="1" smtClean="0">
                <a:solidFill>
                  <a:srgbClr val="C00000"/>
                </a:solidFill>
                <a:latin typeface="Arial" panose="020B0604020202020204" pitchFamily="34" charset="0"/>
              </a:rPr>
              <a:t>reduzindo</a:t>
            </a:r>
            <a:r>
              <a:rPr lang="en-US" sz="1200" b="1" kern="0" dirty="0" smtClean="0">
                <a:solidFill>
                  <a:srgbClr val="C00000"/>
                </a:solidFill>
                <a:latin typeface="Arial" panose="020B0604020202020204" pitchFamily="34" charset="0"/>
              </a:rPr>
              <a:t> </a:t>
            </a:r>
            <a:r>
              <a:rPr lang="en-US" sz="1200" b="1" kern="0" dirty="0" err="1" smtClean="0">
                <a:solidFill>
                  <a:srgbClr val="C00000"/>
                </a:solidFill>
                <a:latin typeface="Arial" panose="020B0604020202020204" pitchFamily="34" charset="0"/>
              </a:rPr>
              <a:t>participação</a:t>
            </a:r>
            <a:r>
              <a:rPr lang="en-US" sz="1200" b="1" kern="0" dirty="0" smtClean="0">
                <a:solidFill>
                  <a:srgbClr val="C00000"/>
                </a:solidFill>
                <a:latin typeface="Arial" panose="020B0604020202020204" pitchFamily="34" charset="0"/>
              </a:rPr>
              <a:t> no </a:t>
            </a:r>
            <a:r>
              <a:rPr lang="en-US" sz="1200" b="1" kern="0" dirty="0" err="1" smtClean="0">
                <a:solidFill>
                  <a:srgbClr val="C00000"/>
                </a:solidFill>
                <a:latin typeface="Arial" panose="020B0604020202020204" pitchFamily="34" charset="0"/>
              </a:rPr>
              <a:t>financiamento</a:t>
            </a:r>
            <a:r>
              <a:rPr lang="en-US" sz="1200" b="1" kern="0" dirty="0" smtClean="0">
                <a:solidFill>
                  <a:srgbClr val="C00000"/>
                </a:solidFill>
                <a:latin typeface="Arial" panose="020B0604020202020204" pitchFamily="34" charset="0"/>
              </a:rPr>
              <a:t> de LP</a:t>
            </a:r>
            <a:endParaRPr lang="en-US" sz="1200" b="1" kern="0" dirty="0">
              <a:solidFill>
                <a:srgbClr val="C00000"/>
              </a:solidFill>
              <a:latin typeface="Arial" panose="020B0604020202020204" pitchFamily="34" charset="0"/>
            </a:endParaRPr>
          </a:p>
        </p:txBody>
      </p:sp>
      <p:sp>
        <p:nvSpPr>
          <p:cNvPr id="20" name="Rectangle 8"/>
          <p:cNvSpPr/>
          <p:nvPr/>
        </p:nvSpPr>
        <p:spPr>
          <a:xfrm>
            <a:off x="5333725" y="1144588"/>
            <a:ext cx="3869970" cy="276999"/>
          </a:xfrm>
          <a:prstGeom prst="rect">
            <a:avLst/>
          </a:prstGeom>
        </p:spPr>
        <p:txBody>
          <a:bodyPr wrap="none">
            <a:spAutoFit/>
          </a:bodyPr>
          <a:lstStyle/>
          <a:p>
            <a:pPr marL="0" lvl="1" indent="-285750" algn="ctr">
              <a:buClr>
                <a:srgbClr val="C00000"/>
              </a:buClr>
              <a:defRPr/>
            </a:pPr>
            <a:r>
              <a:rPr lang="en-US" sz="1200" b="1" kern="0" dirty="0" smtClean="0">
                <a:solidFill>
                  <a:srgbClr val="C00000"/>
                </a:solidFill>
                <a:latin typeface="Arial" panose="020B0604020202020204" pitchFamily="34" charset="0"/>
              </a:rPr>
              <a:t>Mercado de </a:t>
            </a:r>
            <a:r>
              <a:rPr lang="en-US" sz="1200" b="1" kern="0" dirty="0" err="1" smtClean="0">
                <a:solidFill>
                  <a:srgbClr val="C00000"/>
                </a:solidFill>
                <a:latin typeface="Arial" panose="020B0604020202020204" pitchFamily="34" charset="0"/>
              </a:rPr>
              <a:t>Capitais</a:t>
            </a:r>
            <a:r>
              <a:rPr lang="en-US" sz="1200" b="1" kern="0" dirty="0" smtClean="0">
                <a:solidFill>
                  <a:srgbClr val="C00000"/>
                </a:solidFill>
                <a:latin typeface="Arial" panose="020B0604020202020204" pitchFamily="34" charset="0"/>
              </a:rPr>
              <a:t> </a:t>
            </a:r>
            <a:r>
              <a:rPr lang="en-US" sz="1200" b="1" kern="0" dirty="0" err="1" smtClean="0">
                <a:solidFill>
                  <a:srgbClr val="C00000"/>
                </a:solidFill>
                <a:latin typeface="Arial" panose="020B0604020202020204" pitchFamily="34" charset="0"/>
              </a:rPr>
              <a:t>ganhando</a:t>
            </a:r>
            <a:r>
              <a:rPr lang="en-US" sz="1200" b="1" kern="0" dirty="0" smtClean="0">
                <a:solidFill>
                  <a:srgbClr val="C00000"/>
                </a:solidFill>
                <a:latin typeface="Arial" panose="020B0604020202020204" pitchFamily="34" charset="0"/>
              </a:rPr>
              <a:t> </a:t>
            </a:r>
            <a:r>
              <a:rPr lang="en-US" sz="1200" b="1" kern="0" dirty="0" err="1" smtClean="0">
                <a:solidFill>
                  <a:srgbClr val="C00000"/>
                </a:solidFill>
                <a:latin typeface="Arial" panose="020B0604020202020204" pitchFamily="34" charset="0"/>
              </a:rPr>
              <a:t>representatividade</a:t>
            </a:r>
            <a:endParaRPr lang="en-US" sz="1200" b="1" kern="0" dirty="0">
              <a:solidFill>
                <a:srgbClr val="C00000"/>
              </a:solidFill>
              <a:latin typeface="Arial" panose="020B0604020202020204" pitchFamily="34" charset="0"/>
            </a:endParaRPr>
          </a:p>
        </p:txBody>
      </p:sp>
      <p:sp>
        <p:nvSpPr>
          <p:cNvPr id="21" name="Rectangle 8"/>
          <p:cNvSpPr/>
          <p:nvPr/>
        </p:nvSpPr>
        <p:spPr>
          <a:xfrm>
            <a:off x="5584451" y="3846823"/>
            <a:ext cx="3347391" cy="276999"/>
          </a:xfrm>
          <a:prstGeom prst="rect">
            <a:avLst/>
          </a:prstGeom>
        </p:spPr>
        <p:txBody>
          <a:bodyPr wrap="none">
            <a:spAutoFit/>
          </a:bodyPr>
          <a:lstStyle/>
          <a:p>
            <a:pPr marL="0" lvl="1" indent="-285750" algn="ctr">
              <a:buClr>
                <a:srgbClr val="C00000"/>
              </a:buClr>
              <a:defRPr/>
            </a:pPr>
            <a:r>
              <a:rPr lang="en-US" sz="1200" b="1" kern="0" dirty="0" err="1" smtClean="0">
                <a:solidFill>
                  <a:srgbClr val="C00000"/>
                </a:solidFill>
                <a:latin typeface="Arial" panose="020B0604020202020204" pitchFamily="34" charset="0"/>
              </a:rPr>
              <a:t>Crédito</a:t>
            </a:r>
            <a:r>
              <a:rPr lang="en-US" sz="1200" b="1" kern="0" dirty="0" smtClean="0">
                <a:solidFill>
                  <a:srgbClr val="C00000"/>
                </a:solidFill>
                <a:latin typeface="Arial" panose="020B0604020202020204" pitchFamily="34" charset="0"/>
              </a:rPr>
              <a:t> Livre PJ </a:t>
            </a:r>
            <a:r>
              <a:rPr lang="en-US" sz="1200" b="1" kern="0" dirty="0" err="1" smtClean="0">
                <a:solidFill>
                  <a:srgbClr val="C00000"/>
                </a:solidFill>
                <a:latin typeface="Arial" panose="020B0604020202020204" pitchFamily="34" charset="0"/>
              </a:rPr>
              <a:t>voltando</a:t>
            </a:r>
            <a:r>
              <a:rPr lang="en-US" sz="1200" b="1" kern="0" dirty="0" smtClean="0">
                <a:solidFill>
                  <a:srgbClr val="C00000"/>
                </a:solidFill>
                <a:latin typeface="Arial" panose="020B0604020202020204" pitchFamily="34" charset="0"/>
              </a:rPr>
              <a:t> a </a:t>
            </a:r>
            <a:r>
              <a:rPr lang="en-US" sz="1200" b="1" kern="0" dirty="0" err="1" smtClean="0">
                <a:solidFill>
                  <a:srgbClr val="C00000"/>
                </a:solidFill>
                <a:latin typeface="Arial" panose="020B0604020202020204" pitchFamily="34" charset="0"/>
              </a:rPr>
              <a:t>crescer</a:t>
            </a:r>
            <a:r>
              <a:rPr lang="en-US" sz="1200" b="1" kern="0" dirty="0" smtClean="0">
                <a:solidFill>
                  <a:srgbClr val="C00000"/>
                </a:solidFill>
                <a:latin typeface="Arial" panose="020B0604020202020204" pitchFamily="34" charset="0"/>
              </a:rPr>
              <a:t> (% PIB)</a:t>
            </a:r>
            <a:endParaRPr lang="en-US" sz="1200" b="1" kern="0" dirty="0">
              <a:solidFill>
                <a:srgbClr val="C00000"/>
              </a:solidFill>
              <a:latin typeface="Arial" panose="020B0604020202020204" pitchFamily="34" charset="0"/>
            </a:endParaRPr>
          </a:p>
        </p:txBody>
      </p:sp>
      <p:sp>
        <p:nvSpPr>
          <p:cNvPr id="22" name="Rectangle 8"/>
          <p:cNvSpPr/>
          <p:nvPr/>
        </p:nvSpPr>
        <p:spPr>
          <a:xfrm>
            <a:off x="497093" y="3846824"/>
            <a:ext cx="4126451" cy="276999"/>
          </a:xfrm>
          <a:prstGeom prst="rect">
            <a:avLst/>
          </a:prstGeom>
        </p:spPr>
        <p:txBody>
          <a:bodyPr wrap="none">
            <a:spAutoFit/>
          </a:bodyPr>
          <a:lstStyle/>
          <a:p>
            <a:pPr marL="0" lvl="1" indent="-285750" algn="ctr">
              <a:buClr>
                <a:srgbClr val="C00000"/>
              </a:buClr>
              <a:defRPr/>
            </a:pPr>
            <a:r>
              <a:rPr lang="en-US" sz="1200" b="1" kern="0" dirty="0" err="1" smtClean="0">
                <a:solidFill>
                  <a:srgbClr val="C00000"/>
                </a:solidFill>
                <a:latin typeface="Arial" panose="020B0604020202020204" pitchFamily="34" charset="0"/>
              </a:rPr>
              <a:t>Bancos</a:t>
            </a:r>
            <a:r>
              <a:rPr lang="en-US" sz="1200" b="1" kern="0" dirty="0" smtClean="0">
                <a:solidFill>
                  <a:srgbClr val="C00000"/>
                </a:solidFill>
                <a:latin typeface="Arial" panose="020B0604020202020204" pitchFamily="34" charset="0"/>
              </a:rPr>
              <a:t> </a:t>
            </a:r>
            <a:r>
              <a:rPr lang="en-US" sz="1200" b="1" kern="0" dirty="0" err="1" smtClean="0">
                <a:solidFill>
                  <a:srgbClr val="C00000"/>
                </a:solidFill>
                <a:latin typeface="Arial" panose="020B0604020202020204" pitchFamily="34" charset="0"/>
              </a:rPr>
              <a:t>privados</a:t>
            </a:r>
            <a:r>
              <a:rPr lang="en-US" sz="1200" b="1" kern="0" dirty="0" smtClean="0">
                <a:solidFill>
                  <a:srgbClr val="C00000"/>
                </a:solidFill>
                <a:latin typeface="Arial" panose="020B0604020202020204" pitchFamily="34" charset="0"/>
              </a:rPr>
              <a:t> </a:t>
            </a:r>
            <a:r>
              <a:rPr lang="en-US" sz="1200" b="1" kern="0" dirty="0" err="1" smtClean="0">
                <a:solidFill>
                  <a:srgbClr val="C00000"/>
                </a:solidFill>
                <a:latin typeface="Arial" panose="020B0604020202020204" pitchFamily="34" charset="0"/>
              </a:rPr>
              <a:t>recuperando</a:t>
            </a:r>
            <a:r>
              <a:rPr lang="en-US" sz="1200" b="1" kern="0" dirty="0" smtClean="0">
                <a:solidFill>
                  <a:srgbClr val="C00000"/>
                </a:solidFill>
                <a:latin typeface="Arial" panose="020B0604020202020204" pitchFamily="34" charset="0"/>
              </a:rPr>
              <a:t> </a:t>
            </a:r>
            <a:r>
              <a:rPr lang="en-US" sz="1200" b="1" kern="0" dirty="0" err="1" smtClean="0">
                <a:solidFill>
                  <a:srgbClr val="C00000"/>
                </a:solidFill>
                <a:latin typeface="Arial" panose="020B0604020202020204" pitchFamily="34" charset="0"/>
              </a:rPr>
              <a:t>participação</a:t>
            </a:r>
            <a:r>
              <a:rPr lang="en-US" sz="1200" b="1" kern="0" dirty="0" smtClean="0">
                <a:solidFill>
                  <a:srgbClr val="C00000"/>
                </a:solidFill>
                <a:latin typeface="Arial" panose="020B0604020202020204" pitchFamily="34" charset="0"/>
              </a:rPr>
              <a:t> de </a:t>
            </a:r>
            <a:r>
              <a:rPr lang="en-US" sz="1200" b="1" kern="0" dirty="0" err="1" smtClean="0">
                <a:solidFill>
                  <a:srgbClr val="C00000"/>
                </a:solidFill>
                <a:latin typeface="Arial" panose="020B0604020202020204" pitchFamily="34" charset="0"/>
              </a:rPr>
              <a:t>crédito</a:t>
            </a:r>
            <a:endParaRPr lang="en-US" sz="1200" b="1" kern="0" dirty="0">
              <a:solidFill>
                <a:srgbClr val="C00000"/>
              </a:solidFill>
              <a:latin typeface="Arial" panose="020B0604020202020204" pitchFamily="34" charset="0"/>
            </a:endParaRPr>
          </a:p>
        </p:txBody>
      </p:sp>
    </p:spTree>
    <p:extLst>
      <p:ext uri="{BB962C8B-B14F-4D97-AF65-F5344CB8AC3E}">
        <p14:creationId xmlns:p14="http://schemas.microsoft.com/office/powerpoint/2010/main" val="1680549480"/>
      </p:ext>
    </p:extLst>
  </p:cSld>
  <p:clrMapOvr>
    <a:masterClrMapping/>
  </p:clrMapOvr>
  <p:transition spd="med">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Title 1"/>
          <p:cNvSpPr>
            <a:spLocks noGrp="1"/>
          </p:cNvSpPr>
          <p:nvPr>
            <p:ph type="title"/>
          </p:nvPr>
        </p:nvSpPr>
        <p:spPr bwMode="auto">
          <a:xfrm>
            <a:off x="1623925" y="332892"/>
            <a:ext cx="8459413" cy="2571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0" compatLnSpc="1">
            <a:prstTxWarp prst="textNoShape">
              <a:avLst/>
            </a:prstTxWarp>
          </a:bodyPr>
          <a:lstStyle/>
          <a:p>
            <a:pPr eaLnBrk="1" hangingPunct="1"/>
            <a:r>
              <a:rPr lang="en-US" altLang="es-ES" sz="2000" b="1" dirty="0" smtClean="0"/>
              <a:t>Agenda de </a:t>
            </a:r>
            <a:r>
              <a:rPr lang="en-US" altLang="es-ES" sz="2000" b="1" dirty="0" err="1" smtClean="0"/>
              <a:t>Concessões</a:t>
            </a:r>
            <a:r>
              <a:rPr lang="en-US" altLang="es-ES" sz="2000" b="1" dirty="0" smtClean="0"/>
              <a:t> </a:t>
            </a:r>
            <a:r>
              <a:rPr lang="en-US" altLang="es-ES" sz="2000" dirty="0" err="1" smtClean="0"/>
              <a:t>pode</a:t>
            </a:r>
            <a:r>
              <a:rPr lang="en-US" altLang="es-ES" sz="2000" dirty="0" smtClean="0"/>
              <a:t> </a:t>
            </a:r>
            <a:r>
              <a:rPr lang="en-US" altLang="es-ES" sz="2000" dirty="0" err="1" smtClean="0"/>
              <a:t>gerar</a:t>
            </a:r>
            <a:r>
              <a:rPr lang="en-US" altLang="es-ES" sz="2000" dirty="0" smtClean="0"/>
              <a:t> &gt;R$ 140 </a:t>
            </a:r>
            <a:r>
              <a:rPr lang="en-US" altLang="es-ES" sz="2000" dirty="0" err="1" smtClean="0"/>
              <a:t>bilhões</a:t>
            </a:r>
            <a:r>
              <a:rPr lang="en-US" altLang="es-ES" sz="2000" dirty="0" smtClean="0"/>
              <a:t> </a:t>
            </a:r>
            <a:r>
              <a:rPr lang="en-US" altLang="es-ES" sz="2000" dirty="0" err="1" smtClean="0"/>
              <a:t>em</a:t>
            </a:r>
            <a:r>
              <a:rPr lang="en-US" altLang="es-ES" sz="2000" dirty="0" smtClean="0"/>
              <a:t> </a:t>
            </a:r>
            <a:r>
              <a:rPr lang="en-US" altLang="es-ES" sz="2000" dirty="0" err="1" smtClean="0"/>
              <a:t>investimentos</a:t>
            </a:r>
            <a:r>
              <a:rPr lang="en-US" altLang="es-ES" sz="2000" dirty="0" smtClean="0"/>
              <a:t> de </a:t>
            </a:r>
            <a:r>
              <a:rPr lang="en-US" altLang="es-ES" sz="2000" dirty="0" err="1" smtClean="0"/>
              <a:t>infraestrutura</a:t>
            </a:r>
            <a:r>
              <a:rPr lang="en-US" altLang="es-ES" sz="2000" dirty="0" smtClean="0"/>
              <a:t>.</a:t>
            </a:r>
            <a:endParaRPr lang="en-US" altLang="es-ES" sz="2000" dirty="0"/>
          </a:p>
        </p:txBody>
      </p:sp>
      <p:sp>
        <p:nvSpPr>
          <p:cNvPr id="36871" name="Slide Number Placeholder 9"/>
          <p:cNvSpPr>
            <a:spLocks noGrp="1"/>
          </p:cNvSpPr>
          <p:nvPr>
            <p:ph type="sldNum" sz="quarter" idx="17"/>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Frutiger"/>
                <a:cs typeface="Arial" panose="020B0604020202020204" pitchFamily="34" charset="0"/>
              </a:defRPr>
            </a:lvl1pPr>
            <a:lvl2pPr marL="742950" indent="-285750">
              <a:defRPr>
                <a:solidFill>
                  <a:schemeClr val="tx1"/>
                </a:solidFill>
                <a:latin typeface="Frutiger"/>
                <a:cs typeface="Arial" panose="020B0604020202020204" pitchFamily="34" charset="0"/>
              </a:defRPr>
            </a:lvl2pPr>
            <a:lvl3pPr marL="1143000" indent="-228600">
              <a:defRPr>
                <a:solidFill>
                  <a:schemeClr val="tx1"/>
                </a:solidFill>
                <a:latin typeface="Frutiger"/>
                <a:cs typeface="Arial" panose="020B0604020202020204" pitchFamily="34" charset="0"/>
              </a:defRPr>
            </a:lvl3pPr>
            <a:lvl4pPr marL="1600200" indent="-228600">
              <a:defRPr>
                <a:solidFill>
                  <a:schemeClr val="tx1"/>
                </a:solidFill>
                <a:latin typeface="Frutiger"/>
                <a:cs typeface="Arial" panose="020B0604020202020204" pitchFamily="34" charset="0"/>
              </a:defRPr>
            </a:lvl4pPr>
            <a:lvl5pPr marL="2057400" indent="-228600">
              <a:defRPr>
                <a:solidFill>
                  <a:schemeClr val="tx1"/>
                </a:solidFill>
                <a:latin typeface="Frutiger"/>
                <a:cs typeface="Arial" panose="020B0604020202020204" pitchFamily="34" charset="0"/>
              </a:defRPr>
            </a:lvl5pPr>
            <a:lvl6pPr marL="2514600" indent="-228600" eaLnBrk="0" fontAlgn="base" hangingPunct="0">
              <a:spcBef>
                <a:spcPct val="0"/>
              </a:spcBef>
              <a:spcAft>
                <a:spcPct val="0"/>
              </a:spcAft>
              <a:defRPr>
                <a:solidFill>
                  <a:schemeClr val="tx1"/>
                </a:solidFill>
                <a:latin typeface="Frutiger"/>
                <a:cs typeface="Arial" panose="020B0604020202020204" pitchFamily="34" charset="0"/>
              </a:defRPr>
            </a:lvl6pPr>
            <a:lvl7pPr marL="2971800" indent="-228600" eaLnBrk="0" fontAlgn="base" hangingPunct="0">
              <a:spcBef>
                <a:spcPct val="0"/>
              </a:spcBef>
              <a:spcAft>
                <a:spcPct val="0"/>
              </a:spcAft>
              <a:defRPr>
                <a:solidFill>
                  <a:schemeClr val="tx1"/>
                </a:solidFill>
                <a:latin typeface="Frutiger"/>
                <a:cs typeface="Arial" panose="020B0604020202020204" pitchFamily="34" charset="0"/>
              </a:defRPr>
            </a:lvl7pPr>
            <a:lvl8pPr marL="3429000" indent="-228600" eaLnBrk="0" fontAlgn="base" hangingPunct="0">
              <a:spcBef>
                <a:spcPct val="0"/>
              </a:spcBef>
              <a:spcAft>
                <a:spcPct val="0"/>
              </a:spcAft>
              <a:defRPr>
                <a:solidFill>
                  <a:schemeClr val="tx1"/>
                </a:solidFill>
                <a:latin typeface="Frutiger"/>
                <a:cs typeface="Arial" panose="020B0604020202020204" pitchFamily="34" charset="0"/>
              </a:defRPr>
            </a:lvl8pPr>
            <a:lvl9pPr marL="3886200" indent="-228600" eaLnBrk="0" fontAlgn="base" hangingPunct="0">
              <a:spcBef>
                <a:spcPct val="0"/>
              </a:spcBef>
              <a:spcAft>
                <a:spcPct val="0"/>
              </a:spcAft>
              <a:defRPr>
                <a:solidFill>
                  <a:schemeClr val="tx1"/>
                </a:solidFill>
                <a:latin typeface="Frutiger"/>
                <a:cs typeface="Arial" panose="020B0604020202020204" pitchFamily="34" charset="0"/>
              </a:defRPr>
            </a:lvl9pPr>
          </a:lstStyle>
          <a:p>
            <a:fld id="{2400933B-1274-40ED-9CD0-4D10F87B7F03}" type="slidenum">
              <a:rPr lang="en-GB" altLang="es-ES">
                <a:solidFill>
                  <a:srgbClr val="1A647B"/>
                </a:solidFill>
                <a:latin typeface="Arial" panose="020B0604020202020204" pitchFamily="34" charset="0"/>
              </a:rPr>
              <a:pPr/>
              <a:t>12</a:t>
            </a:fld>
            <a:endParaRPr lang="en-GB" altLang="es-ES">
              <a:solidFill>
                <a:srgbClr val="1A647B"/>
              </a:solidFill>
              <a:latin typeface="Arial" panose="020B0604020202020204" pitchFamily="34" charset="0"/>
            </a:endParaRPr>
          </a:p>
        </p:txBody>
      </p:sp>
      <p:sp>
        <p:nvSpPr>
          <p:cNvPr id="35" name="Content Placeholder 4"/>
          <p:cNvSpPr>
            <a:spLocks noGrp="1"/>
          </p:cNvSpPr>
          <p:nvPr>
            <p:ph sz="quarter" idx="4294967295"/>
          </p:nvPr>
        </p:nvSpPr>
        <p:spPr>
          <a:xfrm>
            <a:off x="236538" y="368300"/>
            <a:ext cx="855662" cy="776288"/>
          </a:xfrm>
          <a:prstGeom prst="rect">
            <a:avLst/>
          </a:prstGeom>
        </p:spPr>
        <p:txBody>
          <a:bodyPr/>
          <a:lstStyle/>
          <a:p>
            <a:pPr marL="0" indent="0" algn="ctr" eaLnBrk="1" fontAlgn="auto" hangingPunct="1">
              <a:spcAft>
                <a:spcPts val="0"/>
              </a:spcAft>
              <a:buNone/>
              <a:defRPr/>
            </a:pPr>
            <a:r>
              <a:rPr lang="en-GB" sz="4800" dirty="0" smtClean="0">
                <a:solidFill>
                  <a:schemeClr val="bg1"/>
                </a:solidFill>
                <a:latin typeface="+mj-lt"/>
              </a:rPr>
              <a:t>2</a:t>
            </a:r>
            <a:endParaRPr lang="en-GB" sz="4800" dirty="0">
              <a:solidFill>
                <a:schemeClr val="bg1"/>
              </a:solidFill>
              <a:latin typeface="+mj-lt"/>
            </a:endParaRPr>
          </a:p>
        </p:txBody>
      </p:sp>
      <p:pic>
        <p:nvPicPr>
          <p:cNvPr id="2" name="Picture 1"/>
          <p:cNvPicPr>
            <a:picLocks noChangeAspect="1"/>
          </p:cNvPicPr>
          <p:nvPr/>
        </p:nvPicPr>
        <p:blipFill>
          <a:blip r:embed="rId2"/>
          <a:stretch>
            <a:fillRect/>
          </a:stretch>
        </p:blipFill>
        <p:spPr>
          <a:xfrm>
            <a:off x="766829" y="1144588"/>
            <a:ext cx="8290085" cy="4822518"/>
          </a:xfrm>
          <a:prstGeom prst="rect">
            <a:avLst/>
          </a:prstGeom>
        </p:spPr>
      </p:pic>
      <p:sp>
        <p:nvSpPr>
          <p:cNvPr id="8" name="Content Placeholder 24"/>
          <p:cNvSpPr>
            <a:spLocks noGrp="1"/>
          </p:cNvSpPr>
          <p:nvPr>
            <p:ph idx="16"/>
          </p:nvPr>
        </p:nvSpPr>
        <p:spPr>
          <a:xfrm>
            <a:off x="681038" y="6226984"/>
            <a:ext cx="5632676" cy="417656"/>
          </a:xfrm>
        </p:spPr>
        <p:txBody>
          <a:bodyPr>
            <a:normAutofit/>
          </a:bodyPr>
          <a:lstStyle/>
          <a:p>
            <a:r>
              <a:rPr lang="en-US" sz="900" dirty="0" err="1">
                <a:solidFill>
                  <a:srgbClr val="1A647B"/>
                </a:solidFill>
              </a:rPr>
              <a:t>Fontes</a:t>
            </a:r>
            <a:r>
              <a:rPr lang="en-US" sz="900" dirty="0">
                <a:solidFill>
                  <a:srgbClr val="1A647B"/>
                </a:solidFill>
              </a:rPr>
              <a:t>: Santander </a:t>
            </a:r>
            <a:r>
              <a:rPr lang="en-US" sz="900" dirty="0" err="1">
                <a:solidFill>
                  <a:srgbClr val="1A647B"/>
                </a:solidFill>
              </a:rPr>
              <a:t>Brasil</a:t>
            </a:r>
            <a:r>
              <a:rPr lang="en-US" sz="900" dirty="0">
                <a:solidFill>
                  <a:srgbClr val="1A647B"/>
                </a:solidFill>
              </a:rPr>
              <a:t> Asset Management, PPI, EPE, </a:t>
            </a:r>
            <a:r>
              <a:rPr lang="en-US" sz="900" dirty="0" err="1">
                <a:solidFill>
                  <a:srgbClr val="1A647B"/>
                </a:solidFill>
              </a:rPr>
              <a:t>Ministério</a:t>
            </a:r>
            <a:r>
              <a:rPr lang="en-US" sz="900" dirty="0">
                <a:solidFill>
                  <a:srgbClr val="1A647B"/>
                </a:solidFill>
              </a:rPr>
              <a:t> da </a:t>
            </a:r>
            <a:r>
              <a:rPr lang="en-US" sz="900" dirty="0" err="1">
                <a:solidFill>
                  <a:srgbClr val="1A647B"/>
                </a:solidFill>
              </a:rPr>
              <a:t>Infraestrutura</a:t>
            </a:r>
            <a:r>
              <a:rPr lang="en-US" sz="900" dirty="0">
                <a:solidFill>
                  <a:srgbClr val="1A647B"/>
                </a:solidFill>
              </a:rPr>
              <a:t> e </a:t>
            </a:r>
            <a:r>
              <a:rPr lang="en-US" sz="900" dirty="0" err="1">
                <a:solidFill>
                  <a:srgbClr val="1A647B"/>
                </a:solidFill>
              </a:rPr>
              <a:t>Ministério</a:t>
            </a:r>
            <a:r>
              <a:rPr lang="en-US" sz="900" dirty="0">
                <a:solidFill>
                  <a:srgbClr val="1A647B"/>
                </a:solidFill>
              </a:rPr>
              <a:t> de Minas e </a:t>
            </a:r>
            <a:r>
              <a:rPr lang="en-US" sz="900" dirty="0" err="1">
                <a:solidFill>
                  <a:srgbClr val="1A647B"/>
                </a:solidFill>
              </a:rPr>
              <a:t>Energia</a:t>
            </a:r>
            <a:r>
              <a:rPr lang="en-US" sz="900" dirty="0">
                <a:solidFill>
                  <a:srgbClr val="1A647B"/>
                </a:solidFill>
              </a:rPr>
              <a:t>. *</a:t>
            </a:r>
            <a:r>
              <a:rPr lang="en-US" sz="900" dirty="0" err="1">
                <a:solidFill>
                  <a:srgbClr val="1A647B"/>
                </a:solidFill>
              </a:rPr>
              <a:t>Investimentos</a:t>
            </a:r>
            <a:r>
              <a:rPr lang="en-US" sz="900" dirty="0">
                <a:solidFill>
                  <a:srgbClr val="1A647B"/>
                </a:solidFill>
              </a:rPr>
              <a:t> da 5ª </a:t>
            </a:r>
            <a:r>
              <a:rPr lang="en-US" sz="900" dirty="0" err="1">
                <a:solidFill>
                  <a:srgbClr val="1A647B"/>
                </a:solidFill>
              </a:rPr>
              <a:t>rodada</a:t>
            </a:r>
            <a:r>
              <a:rPr lang="en-US" sz="900" dirty="0">
                <a:solidFill>
                  <a:srgbClr val="1A647B"/>
                </a:solidFill>
              </a:rPr>
              <a:t> de </a:t>
            </a:r>
            <a:r>
              <a:rPr lang="en-US" sz="900" dirty="0" err="1">
                <a:solidFill>
                  <a:srgbClr val="1A647B"/>
                </a:solidFill>
              </a:rPr>
              <a:t>concessão</a:t>
            </a:r>
            <a:r>
              <a:rPr lang="en-US" sz="900" dirty="0">
                <a:solidFill>
                  <a:srgbClr val="1A647B"/>
                </a:solidFill>
              </a:rPr>
              <a:t> e </a:t>
            </a:r>
            <a:r>
              <a:rPr lang="en-US" sz="900" dirty="0" err="1">
                <a:solidFill>
                  <a:srgbClr val="1A647B"/>
                </a:solidFill>
              </a:rPr>
              <a:t>não</a:t>
            </a:r>
            <a:r>
              <a:rPr lang="en-US" sz="900" dirty="0">
                <a:solidFill>
                  <a:srgbClr val="1A647B"/>
                </a:solidFill>
              </a:rPr>
              <a:t> se </a:t>
            </a:r>
            <a:r>
              <a:rPr lang="en-US" sz="900" dirty="0" err="1">
                <a:solidFill>
                  <a:srgbClr val="1A647B"/>
                </a:solidFill>
              </a:rPr>
              <a:t>trata</a:t>
            </a:r>
            <a:r>
              <a:rPr lang="en-US" sz="900" dirty="0">
                <a:solidFill>
                  <a:srgbClr val="1A647B"/>
                </a:solidFill>
              </a:rPr>
              <a:t> de </a:t>
            </a:r>
            <a:r>
              <a:rPr lang="en-US" sz="900" dirty="0" err="1">
                <a:solidFill>
                  <a:srgbClr val="1A647B"/>
                </a:solidFill>
              </a:rPr>
              <a:t>uma</a:t>
            </a:r>
            <a:r>
              <a:rPr lang="en-US" sz="900" dirty="0">
                <a:solidFill>
                  <a:srgbClr val="1A647B"/>
                </a:solidFill>
              </a:rPr>
              <a:t> </a:t>
            </a:r>
            <a:r>
              <a:rPr lang="en-US" sz="900" dirty="0" err="1">
                <a:solidFill>
                  <a:srgbClr val="1A647B"/>
                </a:solidFill>
              </a:rPr>
              <a:t>estimativa</a:t>
            </a:r>
            <a:r>
              <a:rPr lang="en-US" sz="900" dirty="0">
                <a:solidFill>
                  <a:srgbClr val="1A647B"/>
                </a:solidFill>
              </a:rPr>
              <a:t> para </a:t>
            </a:r>
            <a:r>
              <a:rPr lang="en-US" sz="900" dirty="0" err="1" smtClean="0">
                <a:solidFill>
                  <a:srgbClr val="1A647B"/>
                </a:solidFill>
              </a:rPr>
              <a:t>os</a:t>
            </a:r>
            <a:r>
              <a:rPr lang="en-US" sz="900" dirty="0" smtClean="0">
                <a:solidFill>
                  <a:srgbClr val="1A647B"/>
                </a:solidFill>
              </a:rPr>
              <a:t> 24 </a:t>
            </a:r>
            <a:r>
              <a:rPr lang="en-US" sz="900" dirty="0" err="1">
                <a:solidFill>
                  <a:srgbClr val="1A647B"/>
                </a:solidFill>
              </a:rPr>
              <a:t>aeroportos</a:t>
            </a:r>
            <a:r>
              <a:rPr lang="en-US" sz="900" dirty="0">
                <a:solidFill>
                  <a:srgbClr val="1A647B"/>
                </a:solidFill>
              </a:rPr>
              <a:t> </a:t>
            </a:r>
            <a:r>
              <a:rPr lang="en-US" sz="900" dirty="0" err="1">
                <a:solidFill>
                  <a:srgbClr val="1A647B"/>
                </a:solidFill>
              </a:rPr>
              <a:t>em</a:t>
            </a:r>
            <a:r>
              <a:rPr lang="en-US" sz="900" dirty="0">
                <a:solidFill>
                  <a:srgbClr val="1A647B"/>
                </a:solidFill>
              </a:rPr>
              <a:t> </a:t>
            </a:r>
            <a:r>
              <a:rPr lang="en-US" sz="900" dirty="0" err="1">
                <a:solidFill>
                  <a:srgbClr val="1A647B"/>
                </a:solidFill>
              </a:rPr>
              <a:t>estudo</a:t>
            </a:r>
            <a:r>
              <a:rPr lang="en-US" dirty="0" smtClean="0"/>
              <a:t>.</a:t>
            </a:r>
            <a:endParaRPr lang="en-US" dirty="0"/>
          </a:p>
        </p:txBody>
      </p:sp>
    </p:spTree>
    <p:extLst>
      <p:ext uri="{BB962C8B-B14F-4D97-AF65-F5344CB8AC3E}">
        <p14:creationId xmlns:p14="http://schemas.microsoft.com/office/powerpoint/2010/main" val="1898568095"/>
      </p:ext>
    </p:extLst>
  </p:cSld>
  <p:clrMapOvr>
    <a:masterClrMapping/>
  </p:clrMapOvr>
  <p:transition spd="med">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5325864" y="3642281"/>
            <a:ext cx="3864811" cy="2527576"/>
          </a:xfrm>
          <a:prstGeom prst="rect">
            <a:avLst/>
          </a:prstGeom>
        </p:spPr>
      </p:pic>
      <p:sp>
        <p:nvSpPr>
          <p:cNvPr id="36871" name="Slide Number Placeholder 9"/>
          <p:cNvSpPr>
            <a:spLocks noGrp="1"/>
          </p:cNvSpPr>
          <p:nvPr>
            <p:ph type="sldNum" sz="quarter" idx="17"/>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Frutiger"/>
                <a:cs typeface="Arial" panose="020B0604020202020204" pitchFamily="34" charset="0"/>
              </a:defRPr>
            </a:lvl1pPr>
            <a:lvl2pPr marL="742950" indent="-285750">
              <a:defRPr>
                <a:solidFill>
                  <a:schemeClr val="tx1"/>
                </a:solidFill>
                <a:latin typeface="Frutiger"/>
                <a:cs typeface="Arial" panose="020B0604020202020204" pitchFamily="34" charset="0"/>
              </a:defRPr>
            </a:lvl2pPr>
            <a:lvl3pPr marL="1143000" indent="-228600">
              <a:defRPr>
                <a:solidFill>
                  <a:schemeClr val="tx1"/>
                </a:solidFill>
                <a:latin typeface="Frutiger"/>
                <a:cs typeface="Arial" panose="020B0604020202020204" pitchFamily="34" charset="0"/>
              </a:defRPr>
            </a:lvl3pPr>
            <a:lvl4pPr marL="1600200" indent="-228600">
              <a:defRPr>
                <a:solidFill>
                  <a:schemeClr val="tx1"/>
                </a:solidFill>
                <a:latin typeface="Frutiger"/>
                <a:cs typeface="Arial" panose="020B0604020202020204" pitchFamily="34" charset="0"/>
              </a:defRPr>
            </a:lvl4pPr>
            <a:lvl5pPr marL="2057400" indent="-228600">
              <a:defRPr>
                <a:solidFill>
                  <a:schemeClr val="tx1"/>
                </a:solidFill>
                <a:latin typeface="Frutiger"/>
                <a:cs typeface="Arial" panose="020B0604020202020204" pitchFamily="34" charset="0"/>
              </a:defRPr>
            </a:lvl5pPr>
            <a:lvl6pPr marL="2514600" indent="-228600" eaLnBrk="0" fontAlgn="base" hangingPunct="0">
              <a:spcBef>
                <a:spcPct val="0"/>
              </a:spcBef>
              <a:spcAft>
                <a:spcPct val="0"/>
              </a:spcAft>
              <a:defRPr>
                <a:solidFill>
                  <a:schemeClr val="tx1"/>
                </a:solidFill>
                <a:latin typeface="Frutiger"/>
                <a:cs typeface="Arial" panose="020B0604020202020204" pitchFamily="34" charset="0"/>
              </a:defRPr>
            </a:lvl6pPr>
            <a:lvl7pPr marL="2971800" indent="-228600" eaLnBrk="0" fontAlgn="base" hangingPunct="0">
              <a:spcBef>
                <a:spcPct val="0"/>
              </a:spcBef>
              <a:spcAft>
                <a:spcPct val="0"/>
              </a:spcAft>
              <a:defRPr>
                <a:solidFill>
                  <a:schemeClr val="tx1"/>
                </a:solidFill>
                <a:latin typeface="Frutiger"/>
                <a:cs typeface="Arial" panose="020B0604020202020204" pitchFamily="34" charset="0"/>
              </a:defRPr>
            </a:lvl7pPr>
            <a:lvl8pPr marL="3429000" indent="-228600" eaLnBrk="0" fontAlgn="base" hangingPunct="0">
              <a:spcBef>
                <a:spcPct val="0"/>
              </a:spcBef>
              <a:spcAft>
                <a:spcPct val="0"/>
              </a:spcAft>
              <a:defRPr>
                <a:solidFill>
                  <a:schemeClr val="tx1"/>
                </a:solidFill>
                <a:latin typeface="Frutiger"/>
                <a:cs typeface="Arial" panose="020B0604020202020204" pitchFamily="34" charset="0"/>
              </a:defRPr>
            </a:lvl8pPr>
            <a:lvl9pPr marL="3886200" indent="-228600" eaLnBrk="0" fontAlgn="base" hangingPunct="0">
              <a:spcBef>
                <a:spcPct val="0"/>
              </a:spcBef>
              <a:spcAft>
                <a:spcPct val="0"/>
              </a:spcAft>
              <a:defRPr>
                <a:solidFill>
                  <a:schemeClr val="tx1"/>
                </a:solidFill>
                <a:latin typeface="Frutiger"/>
                <a:cs typeface="Arial" panose="020B0604020202020204" pitchFamily="34" charset="0"/>
              </a:defRPr>
            </a:lvl9pPr>
          </a:lstStyle>
          <a:p>
            <a:fld id="{2400933B-1274-40ED-9CD0-4D10F87B7F03}" type="slidenum">
              <a:rPr lang="en-GB" altLang="es-ES">
                <a:solidFill>
                  <a:srgbClr val="1A647B"/>
                </a:solidFill>
                <a:latin typeface="Arial" panose="020B0604020202020204" pitchFamily="34" charset="0"/>
              </a:rPr>
              <a:pPr/>
              <a:t>13</a:t>
            </a:fld>
            <a:endParaRPr lang="en-GB" altLang="es-ES">
              <a:solidFill>
                <a:srgbClr val="1A647B"/>
              </a:solidFill>
              <a:latin typeface="Arial" panose="020B0604020202020204" pitchFamily="34" charset="0"/>
            </a:endParaRPr>
          </a:p>
        </p:txBody>
      </p:sp>
      <p:sp>
        <p:nvSpPr>
          <p:cNvPr id="35" name="Content Placeholder 4"/>
          <p:cNvSpPr>
            <a:spLocks noGrp="1"/>
          </p:cNvSpPr>
          <p:nvPr>
            <p:ph sz="quarter" idx="4294967295"/>
          </p:nvPr>
        </p:nvSpPr>
        <p:spPr>
          <a:xfrm>
            <a:off x="236538" y="368300"/>
            <a:ext cx="855662" cy="776288"/>
          </a:xfrm>
          <a:prstGeom prst="rect">
            <a:avLst/>
          </a:prstGeom>
        </p:spPr>
        <p:txBody>
          <a:bodyPr/>
          <a:lstStyle/>
          <a:p>
            <a:pPr marL="0" indent="0" algn="ctr" eaLnBrk="1" fontAlgn="auto" hangingPunct="1">
              <a:spcAft>
                <a:spcPts val="0"/>
              </a:spcAft>
              <a:buNone/>
              <a:defRPr/>
            </a:pPr>
            <a:r>
              <a:rPr lang="en-GB" sz="4800" dirty="0">
                <a:solidFill>
                  <a:schemeClr val="bg1"/>
                </a:solidFill>
                <a:latin typeface="+mj-lt"/>
              </a:rPr>
              <a:t>2</a:t>
            </a:r>
            <a:endParaRPr lang="en-GB" sz="4800" dirty="0">
              <a:solidFill>
                <a:schemeClr val="bg1"/>
              </a:solidFill>
              <a:latin typeface="+mj-lt"/>
            </a:endParaRPr>
          </a:p>
        </p:txBody>
      </p:sp>
      <p:sp>
        <p:nvSpPr>
          <p:cNvPr id="14" name="Content Placeholder 8"/>
          <p:cNvSpPr>
            <a:spLocks noGrp="1"/>
          </p:cNvSpPr>
          <p:nvPr>
            <p:ph idx="4294967295"/>
          </p:nvPr>
        </p:nvSpPr>
        <p:spPr>
          <a:xfrm>
            <a:off x="681687" y="6201890"/>
            <a:ext cx="5554662" cy="233362"/>
          </a:xfrm>
          <a:prstGeom prst="rect">
            <a:avLst/>
          </a:prstGeom>
        </p:spPr>
        <p:txBody>
          <a:bodyPr vert="horz" wrap="square" lIns="0" tIns="45720" rIns="0" bIns="45720" numCol="1" anchor="ctr" anchorCtr="0" compatLnSpc="1">
            <a:prstTxWarp prst="textNoShape">
              <a:avLst/>
            </a:prstTxWarp>
          </a:bodyPr>
          <a:lstStyle/>
          <a:p>
            <a:pPr marL="0" indent="0" eaLnBrk="1" fontAlgn="auto" hangingPunct="1">
              <a:spcBef>
                <a:spcPct val="0"/>
              </a:spcBef>
              <a:spcAft>
                <a:spcPts val="0"/>
              </a:spcAft>
              <a:buNone/>
            </a:pPr>
            <a:r>
              <a:rPr lang="en-US" sz="800" dirty="0" smtClean="0">
                <a:solidFill>
                  <a:srgbClr val="1A647B"/>
                </a:solidFill>
                <a:latin typeface="Arial" panose="020B0604020202020204" pitchFamily="34" charset="0"/>
                <a:cs typeface="Arial" panose="020B0604020202020204" pitchFamily="34" charset="0"/>
              </a:rPr>
              <a:t>Fonte: IBGE e Santander </a:t>
            </a:r>
            <a:r>
              <a:rPr lang="en-US" sz="800" dirty="0">
                <a:solidFill>
                  <a:srgbClr val="1A647B"/>
                </a:solidFill>
                <a:latin typeface="Arial" panose="020B0604020202020204" pitchFamily="34" charset="0"/>
                <a:cs typeface="Arial" panose="020B0604020202020204" pitchFamily="34" charset="0"/>
              </a:rPr>
              <a:t>Brasil Asset </a:t>
            </a:r>
            <a:r>
              <a:rPr lang="en-US" sz="800" dirty="0" smtClean="0">
                <a:solidFill>
                  <a:srgbClr val="1A647B"/>
                </a:solidFill>
                <a:latin typeface="Arial" panose="020B0604020202020204" pitchFamily="34" charset="0"/>
                <a:cs typeface="Arial" panose="020B0604020202020204" pitchFamily="34" charset="0"/>
              </a:rPr>
              <a:t>Management. </a:t>
            </a:r>
            <a:endParaRPr lang="en-US" sz="800" dirty="0">
              <a:solidFill>
                <a:srgbClr val="1A647B"/>
              </a:solidFill>
              <a:latin typeface="Arial" panose="020B0604020202020204" pitchFamily="34" charset="0"/>
              <a:cs typeface="Arial" panose="020B0604020202020204" pitchFamily="34" charset="0"/>
            </a:endParaRPr>
          </a:p>
        </p:txBody>
      </p:sp>
      <p:sp>
        <p:nvSpPr>
          <p:cNvPr id="25" name="Title 1"/>
          <p:cNvSpPr txBox="1">
            <a:spLocks/>
          </p:cNvSpPr>
          <p:nvPr/>
        </p:nvSpPr>
        <p:spPr bwMode="auto">
          <a:xfrm>
            <a:off x="1584738" y="315497"/>
            <a:ext cx="7830118" cy="25717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lvl1pPr algn="l" rtl="0" eaLnBrk="0" fontAlgn="base" hangingPunct="0">
              <a:lnSpc>
                <a:spcPct val="90000"/>
              </a:lnSpc>
              <a:spcBef>
                <a:spcPct val="0"/>
              </a:spcBef>
              <a:spcAft>
                <a:spcPct val="0"/>
              </a:spcAft>
              <a:defRPr sz="1800" kern="1200" cap="none" baseline="0">
                <a:solidFill>
                  <a:schemeClr val="accent2"/>
                </a:solidFill>
                <a:latin typeface="Arial" panose="020B0604020202020204" pitchFamily="34" charset="0"/>
                <a:ea typeface="+mj-ea"/>
                <a:cs typeface="Arial" panose="020B0604020202020204" pitchFamily="34" charset="0"/>
              </a:defRPr>
            </a:lvl1pPr>
            <a:lvl2pPr algn="l" rtl="0" eaLnBrk="0" fontAlgn="base" hangingPunct="0">
              <a:lnSpc>
                <a:spcPct val="90000"/>
              </a:lnSpc>
              <a:spcBef>
                <a:spcPct val="0"/>
              </a:spcBef>
              <a:spcAft>
                <a:spcPct val="0"/>
              </a:spcAft>
              <a:defRPr sz="4400">
                <a:solidFill>
                  <a:schemeClr val="tx1"/>
                </a:solidFill>
                <a:latin typeface="Frutiger 45 Light" charset="0"/>
              </a:defRPr>
            </a:lvl2pPr>
            <a:lvl3pPr algn="l" rtl="0" eaLnBrk="0" fontAlgn="base" hangingPunct="0">
              <a:lnSpc>
                <a:spcPct val="90000"/>
              </a:lnSpc>
              <a:spcBef>
                <a:spcPct val="0"/>
              </a:spcBef>
              <a:spcAft>
                <a:spcPct val="0"/>
              </a:spcAft>
              <a:defRPr sz="4400">
                <a:solidFill>
                  <a:schemeClr val="tx1"/>
                </a:solidFill>
                <a:latin typeface="Frutiger 45 Light" charset="0"/>
              </a:defRPr>
            </a:lvl3pPr>
            <a:lvl4pPr algn="l" rtl="0" eaLnBrk="0" fontAlgn="base" hangingPunct="0">
              <a:lnSpc>
                <a:spcPct val="90000"/>
              </a:lnSpc>
              <a:spcBef>
                <a:spcPct val="0"/>
              </a:spcBef>
              <a:spcAft>
                <a:spcPct val="0"/>
              </a:spcAft>
              <a:defRPr sz="4400">
                <a:solidFill>
                  <a:schemeClr val="tx1"/>
                </a:solidFill>
                <a:latin typeface="Frutiger 45 Light" charset="0"/>
              </a:defRPr>
            </a:lvl4pPr>
            <a:lvl5pPr algn="l" rtl="0" eaLnBrk="0" fontAlgn="base" hangingPunct="0">
              <a:lnSpc>
                <a:spcPct val="90000"/>
              </a:lnSpc>
              <a:spcBef>
                <a:spcPct val="0"/>
              </a:spcBef>
              <a:spcAft>
                <a:spcPct val="0"/>
              </a:spcAft>
              <a:defRPr sz="4400">
                <a:solidFill>
                  <a:schemeClr val="tx1"/>
                </a:solidFill>
                <a:latin typeface="Frutiger 45 Light" charset="0"/>
              </a:defRPr>
            </a:lvl5pPr>
            <a:lvl6pPr marL="457200" algn="l" rtl="0" eaLnBrk="1" fontAlgn="base" hangingPunct="1">
              <a:lnSpc>
                <a:spcPct val="90000"/>
              </a:lnSpc>
              <a:spcBef>
                <a:spcPct val="0"/>
              </a:spcBef>
              <a:spcAft>
                <a:spcPct val="0"/>
              </a:spcAft>
              <a:defRPr sz="4400">
                <a:solidFill>
                  <a:schemeClr val="tx1"/>
                </a:solidFill>
                <a:latin typeface="Frutiger 45 Light" charset="0"/>
              </a:defRPr>
            </a:lvl6pPr>
            <a:lvl7pPr marL="914400" algn="l" rtl="0" eaLnBrk="1" fontAlgn="base" hangingPunct="1">
              <a:lnSpc>
                <a:spcPct val="90000"/>
              </a:lnSpc>
              <a:spcBef>
                <a:spcPct val="0"/>
              </a:spcBef>
              <a:spcAft>
                <a:spcPct val="0"/>
              </a:spcAft>
              <a:defRPr sz="4400">
                <a:solidFill>
                  <a:schemeClr val="tx1"/>
                </a:solidFill>
                <a:latin typeface="Frutiger 45 Light" charset="0"/>
              </a:defRPr>
            </a:lvl7pPr>
            <a:lvl8pPr marL="1371600" algn="l" rtl="0" eaLnBrk="1" fontAlgn="base" hangingPunct="1">
              <a:lnSpc>
                <a:spcPct val="90000"/>
              </a:lnSpc>
              <a:spcBef>
                <a:spcPct val="0"/>
              </a:spcBef>
              <a:spcAft>
                <a:spcPct val="0"/>
              </a:spcAft>
              <a:defRPr sz="4400">
                <a:solidFill>
                  <a:schemeClr val="tx1"/>
                </a:solidFill>
                <a:latin typeface="Frutiger 45 Light" charset="0"/>
              </a:defRPr>
            </a:lvl8pPr>
            <a:lvl9pPr marL="1828800" algn="l" rtl="0" eaLnBrk="1" fontAlgn="base" hangingPunct="1">
              <a:lnSpc>
                <a:spcPct val="90000"/>
              </a:lnSpc>
              <a:spcBef>
                <a:spcPct val="0"/>
              </a:spcBef>
              <a:spcAft>
                <a:spcPct val="0"/>
              </a:spcAft>
              <a:defRPr sz="4400">
                <a:solidFill>
                  <a:schemeClr val="tx1"/>
                </a:solidFill>
                <a:latin typeface="Frutiger 45 Light" charset="0"/>
              </a:defRPr>
            </a:lvl9pPr>
          </a:lstStyle>
          <a:p>
            <a:pPr eaLnBrk="1" hangingPunct="1"/>
            <a:r>
              <a:rPr lang="en-US" altLang="es-ES" sz="2000" b="1" dirty="0" err="1"/>
              <a:t>F</a:t>
            </a:r>
            <a:r>
              <a:rPr lang="en-US" altLang="es-ES" sz="2000" b="1" dirty="0" err="1" smtClean="0"/>
              <a:t>undamentos</a:t>
            </a:r>
            <a:r>
              <a:rPr lang="en-US" altLang="es-ES" sz="2000" b="1" dirty="0" smtClean="0"/>
              <a:t> macro </a:t>
            </a:r>
            <a:r>
              <a:rPr lang="en-US" altLang="es-ES" sz="2000" dirty="0" err="1" smtClean="0"/>
              <a:t>sustentando</a:t>
            </a:r>
            <a:r>
              <a:rPr lang="en-US" altLang="es-ES" sz="2000" dirty="0" smtClean="0"/>
              <a:t> </a:t>
            </a:r>
            <a:r>
              <a:rPr lang="en-US" altLang="es-ES" sz="2000" dirty="0" err="1" smtClean="0"/>
              <a:t>tendência</a:t>
            </a:r>
            <a:r>
              <a:rPr lang="en-US" altLang="es-ES" sz="2000" dirty="0" smtClean="0"/>
              <a:t> de </a:t>
            </a:r>
            <a:r>
              <a:rPr lang="en-US" altLang="es-ES" sz="2000" dirty="0" err="1" smtClean="0"/>
              <a:t>recuperação</a:t>
            </a:r>
            <a:r>
              <a:rPr lang="en-US" altLang="es-ES" sz="2000" dirty="0" smtClean="0"/>
              <a:t> do </a:t>
            </a:r>
            <a:r>
              <a:rPr lang="en-US" altLang="es-ES" sz="2000" dirty="0" err="1" smtClean="0"/>
              <a:t>Consumo</a:t>
            </a:r>
            <a:r>
              <a:rPr lang="en-US" altLang="es-ES" sz="2000" dirty="0" smtClean="0"/>
              <a:t>.</a:t>
            </a:r>
            <a:r>
              <a:rPr lang="en-US" altLang="es-ES" sz="2000" b="1" dirty="0" smtClean="0"/>
              <a:t> </a:t>
            </a:r>
            <a:r>
              <a:rPr lang="en-US" altLang="es-ES" sz="2000" b="1" dirty="0" err="1" smtClean="0"/>
              <a:t>Ciclo</a:t>
            </a:r>
            <a:r>
              <a:rPr lang="en-US" altLang="es-ES" sz="2000" b="1" dirty="0" smtClean="0"/>
              <a:t> de </a:t>
            </a:r>
            <a:r>
              <a:rPr lang="en-US" altLang="es-ES" sz="2000" b="1" dirty="0" err="1" smtClean="0"/>
              <a:t>crédito</a:t>
            </a:r>
            <a:r>
              <a:rPr lang="en-US" altLang="es-ES" sz="2000" b="1" dirty="0" smtClean="0"/>
              <a:t> </a:t>
            </a:r>
            <a:r>
              <a:rPr lang="en-US" altLang="es-ES" sz="2000" dirty="0" err="1" smtClean="0"/>
              <a:t>virando</a:t>
            </a:r>
            <a:r>
              <a:rPr lang="en-US" altLang="es-ES" sz="2000" dirty="0" smtClean="0"/>
              <a:t> “</a:t>
            </a:r>
            <a:r>
              <a:rPr lang="en-US" altLang="es-ES" sz="2000" dirty="0" err="1" smtClean="0"/>
              <a:t>vento</a:t>
            </a:r>
            <a:r>
              <a:rPr lang="en-US" altLang="es-ES" sz="2000" dirty="0" smtClean="0"/>
              <a:t> a favor”.</a:t>
            </a:r>
            <a:endParaRPr lang="en-US" altLang="es-ES" sz="2000" dirty="0"/>
          </a:p>
        </p:txBody>
      </p:sp>
      <p:pic>
        <p:nvPicPr>
          <p:cNvPr id="3" name="Picture 2"/>
          <p:cNvPicPr>
            <a:picLocks noChangeAspect="1"/>
          </p:cNvPicPr>
          <p:nvPr/>
        </p:nvPicPr>
        <p:blipFill rotWithShape="1">
          <a:blip r:embed="rId3"/>
          <a:srcRect t="11498"/>
          <a:stretch/>
        </p:blipFill>
        <p:spPr>
          <a:xfrm>
            <a:off x="758228" y="1454331"/>
            <a:ext cx="3763754" cy="1987136"/>
          </a:xfrm>
          <a:prstGeom prst="rect">
            <a:avLst/>
          </a:prstGeom>
        </p:spPr>
      </p:pic>
      <p:pic>
        <p:nvPicPr>
          <p:cNvPr id="8" name="Picture 7"/>
          <p:cNvPicPr>
            <a:picLocks noChangeAspect="1"/>
          </p:cNvPicPr>
          <p:nvPr/>
        </p:nvPicPr>
        <p:blipFill rotWithShape="1">
          <a:blip r:embed="rId4"/>
          <a:srcRect t="11622"/>
          <a:stretch/>
        </p:blipFill>
        <p:spPr>
          <a:xfrm>
            <a:off x="758228" y="3962400"/>
            <a:ext cx="3763754" cy="2175424"/>
          </a:xfrm>
          <a:prstGeom prst="rect">
            <a:avLst/>
          </a:prstGeom>
        </p:spPr>
      </p:pic>
      <p:sp>
        <p:nvSpPr>
          <p:cNvPr id="27" name="Rectangle 8"/>
          <p:cNvSpPr/>
          <p:nvPr/>
        </p:nvSpPr>
        <p:spPr>
          <a:xfrm>
            <a:off x="900699" y="1177332"/>
            <a:ext cx="3478837" cy="276999"/>
          </a:xfrm>
          <a:prstGeom prst="rect">
            <a:avLst/>
          </a:prstGeom>
        </p:spPr>
        <p:txBody>
          <a:bodyPr wrap="none">
            <a:spAutoFit/>
          </a:bodyPr>
          <a:lstStyle/>
          <a:p>
            <a:pPr marL="0" lvl="1" indent="-285750" algn="ctr">
              <a:buClr>
                <a:srgbClr val="C00000"/>
              </a:buClr>
              <a:defRPr/>
            </a:pPr>
            <a:r>
              <a:rPr lang="en-US" sz="1200" b="1" kern="0" dirty="0" err="1" smtClean="0">
                <a:solidFill>
                  <a:srgbClr val="C00000"/>
                </a:solidFill>
                <a:latin typeface="Arial" panose="020B0604020202020204" pitchFamily="34" charset="0"/>
              </a:rPr>
              <a:t>Crescimento</a:t>
            </a:r>
            <a:r>
              <a:rPr lang="en-US" sz="1200" b="1" kern="0" dirty="0" smtClean="0">
                <a:solidFill>
                  <a:srgbClr val="C00000"/>
                </a:solidFill>
                <a:latin typeface="Arial" panose="020B0604020202020204" pitchFamily="34" charset="0"/>
              </a:rPr>
              <a:t> </a:t>
            </a:r>
            <a:r>
              <a:rPr lang="en-US" sz="1200" b="1" kern="0" dirty="0" err="1" smtClean="0">
                <a:solidFill>
                  <a:srgbClr val="C00000"/>
                </a:solidFill>
                <a:latin typeface="Arial" panose="020B0604020202020204" pitchFamily="34" charset="0"/>
              </a:rPr>
              <a:t>massa</a:t>
            </a:r>
            <a:r>
              <a:rPr lang="en-US" sz="1200" b="1" kern="0" dirty="0" smtClean="0">
                <a:solidFill>
                  <a:srgbClr val="C00000"/>
                </a:solidFill>
                <a:latin typeface="Arial" panose="020B0604020202020204" pitchFamily="34" charset="0"/>
              </a:rPr>
              <a:t> </a:t>
            </a:r>
            <a:r>
              <a:rPr lang="en-US" sz="1200" b="1" kern="0" dirty="0" err="1" smtClean="0">
                <a:solidFill>
                  <a:srgbClr val="C00000"/>
                </a:solidFill>
                <a:latin typeface="Arial" panose="020B0604020202020204" pitchFamily="34" charset="0"/>
              </a:rPr>
              <a:t>salarial</a:t>
            </a:r>
            <a:r>
              <a:rPr lang="en-US" sz="1200" b="1" kern="0" dirty="0" smtClean="0">
                <a:solidFill>
                  <a:srgbClr val="C00000"/>
                </a:solidFill>
                <a:latin typeface="Arial" panose="020B0604020202020204" pitchFamily="34" charset="0"/>
              </a:rPr>
              <a:t> (real) </a:t>
            </a:r>
            <a:r>
              <a:rPr lang="en-US" sz="1200" b="1" kern="0" dirty="0" err="1" smtClean="0">
                <a:solidFill>
                  <a:srgbClr val="C00000"/>
                </a:solidFill>
                <a:latin typeface="Arial" panose="020B0604020202020204" pitchFamily="34" charset="0"/>
              </a:rPr>
              <a:t>acelerando</a:t>
            </a:r>
            <a:endParaRPr lang="en-US" sz="1200" b="1" kern="0" dirty="0">
              <a:solidFill>
                <a:srgbClr val="C00000"/>
              </a:solidFill>
              <a:latin typeface="Arial" panose="020B0604020202020204" pitchFamily="34" charset="0"/>
            </a:endParaRPr>
          </a:p>
        </p:txBody>
      </p:sp>
      <p:sp>
        <p:nvSpPr>
          <p:cNvPr id="28" name="Rectangle 8"/>
          <p:cNvSpPr/>
          <p:nvPr/>
        </p:nvSpPr>
        <p:spPr>
          <a:xfrm>
            <a:off x="5549936" y="1177331"/>
            <a:ext cx="3640740" cy="276999"/>
          </a:xfrm>
          <a:prstGeom prst="rect">
            <a:avLst/>
          </a:prstGeom>
        </p:spPr>
        <p:txBody>
          <a:bodyPr wrap="none">
            <a:spAutoFit/>
          </a:bodyPr>
          <a:lstStyle/>
          <a:p>
            <a:pPr marL="0" lvl="1" indent="-285750" algn="ctr">
              <a:buClr>
                <a:srgbClr val="C00000"/>
              </a:buClr>
              <a:defRPr/>
            </a:pPr>
            <a:r>
              <a:rPr lang="en-US" sz="1200" b="1" kern="0" dirty="0" err="1" smtClean="0">
                <a:solidFill>
                  <a:srgbClr val="C00000"/>
                </a:solidFill>
                <a:latin typeface="Arial" panose="020B0604020202020204" pitchFamily="34" charset="0"/>
              </a:rPr>
              <a:t>Confiança</a:t>
            </a:r>
            <a:r>
              <a:rPr lang="en-US" sz="1200" b="1" kern="0" dirty="0" smtClean="0">
                <a:solidFill>
                  <a:srgbClr val="C00000"/>
                </a:solidFill>
                <a:latin typeface="Arial" panose="020B0604020202020204" pitchFamily="34" charset="0"/>
              </a:rPr>
              <a:t> e </a:t>
            </a:r>
            <a:r>
              <a:rPr lang="en-US" sz="1200" b="1" kern="0" dirty="0" err="1" smtClean="0">
                <a:solidFill>
                  <a:srgbClr val="C00000"/>
                </a:solidFill>
                <a:latin typeface="Arial" panose="020B0604020202020204" pitchFamily="34" charset="0"/>
              </a:rPr>
              <a:t>Vendas</a:t>
            </a:r>
            <a:r>
              <a:rPr lang="en-US" sz="1200" b="1" kern="0" dirty="0" smtClean="0">
                <a:solidFill>
                  <a:srgbClr val="C00000"/>
                </a:solidFill>
                <a:latin typeface="Arial" panose="020B0604020202020204" pitchFamily="34" charset="0"/>
              </a:rPr>
              <a:t> no </a:t>
            </a:r>
            <a:r>
              <a:rPr lang="en-US" sz="1200" b="1" kern="0" dirty="0" err="1" smtClean="0">
                <a:solidFill>
                  <a:srgbClr val="C00000"/>
                </a:solidFill>
                <a:latin typeface="Arial" panose="020B0604020202020204" pitchFamily="34" charset="0"/>
              </a:rPr>
              <a:t>Varejo</a:t>
            </a:r>
            <a:r>
              <a:rPr lang="en-US" sz="1200" b="1" kern="0" dirty="0" smtClean="0">
                <a:solidFill>
                  <a:srgbClr val="C00000"/>
                </a:solidFill>
                <a:latin typeface="Arial" panose="020B0604020202020204" pitchFamily="34" charset="0"/>
              </a:rPr>
              <a:t> </a:t>
            </a:r>
            <a:r>
              <a:rPr lang="en-US" sz="1200" b="1" kern="0" dirty="0" err="1" smtClean="0">
                <a:solidFill>
                  <a:srgbClr val="C00000"/>
                </a:solidFill>
                <a:latin typeface="Arial" panose="020B0604020202020204" pitchFamily="34" charset="0"/>
              </a:rPr>
              <a:t>andam</a:t>
            </a:r>
            <a:r>
              <a:rPr lang="en-US" sz="1200" b="1" kern="0" dirty="0" smtClean="0">
                <a:solidFill>
                  <a:srgbClr val="C00000"/>
                </a:solidFill>
                <a:latin typeface="Arial" panose="020B0604020202020204" pitchFamily="34" charset="0"/>
              </a:rPr>
              <a:t> “juntas”</a:t>
            </a:r>
            <a:endParaRPr lang="en-US" sz="1200" b="1" kern="0" dirty="0">
              <a:solidFill>
                <a:srgbClr val="C00000"/>
              </a:solidFill>
              <a:latin typeface="Arial" panose="020B0604020202020204" pitchFamily="34" charset="0"/>
            </a:endParaRPr>
          </a:p>
        </p:txBody>
      </p:sp>
      <p:sp>
        <p:nvSpPr>
          <p:cNvPr id="29" name="Rectangle 8"/>
          <p:cNvSpPr/>
          <p:nvPr/>
        </p:nvSpPr>
        <p:spPr>
          <a:xfrm>
            <a:off x="427802" y="3516449"/>
            <a:ext cx="4424609" cy="276999"/>
          </a:xfrm>
          <a:prstGeom prst="rect">
            <a:avLst/>
          </a:prstGeom>
        </p:spPr>
        <p:txBody>
          <a:bodyPr wrap="none">
            <a:spAutoFit/>
          </a:bodyPr>
          <a:lstStyle/>
          <a:p>
            <a:pPr marL="0" lvl="1" indent="-285750" algn="ctr">
              <a:buClr>
                <a:srgbClr val="C00000"/>
              </a:buClr>
              <a:defRPr/>
            </a:pPr>
            <a:r>
              <a:rPr lang="en-US" sz="1200" b="1" kern="0" dirty="0" err="1" smtClean="0">
                <a:solidFill>
                  <a:srgbClr val="C00000"/>
                </a:solidFill>
                <a:latin typeface="Arial" panose="020B0604020202020204" pitchFamily="34" charset="0"/>
              </a:rPr>
              <a:t>Redução</a:t>
            </a:r>
            <a:r>
              <a:rPr lang="en-US" sz="1200" b="1" kern="0" dirty="0" smtClean="0">
                <a:solidFill>
                  <a:srgbClr val="C00000"/>
                </a:solidFill>
                <a:latin typeface="Arial" panose="020B0604020202020204" pitchFamily="34" charset="0"/>
              </a:rPr>
              <a:t> do </a:t>
            </a:r>
            <a:r>
              <a:rPr lang="en-US" sz="1200" b="1" kern="0" dirty="0" err="1" smtClean="0">
                <a:solidFill>
                  <a:srgbClr val="C00000"/>
                </a:solidFill>
                <a:latin typeface="Arial" panose="020B0604020202020204" pitchFamily="34" charset="0"/>
              </a:rPr>
              <a:t>endividamento</a:t>
            </a:r>
            <a:r>
              <a:rPr lang="en-US" sz="1200" b="1" kern="0" dirty="0" smtClean="0">
                <a:solidFill>
                  <a:srgbClr val="C00000"/>
                </a:solidFill>
                <a:latin typeface="Arial" panose="020B0604020202020204" pitchFamily="34" charset="0"/>
              </a:rPr>
              <a:t> familiar </a:t>
            </a:r>
            <a:r>
              <a:rPr lang="en-US" sz="1200" b="1" kern="0" dirty="0" err="1" smtClean="0">
                <a:solidFill>
                  <a:srgbClr val="C00000"/>
                </a:solidFill>
                <a:latin typeface="Arial" panose="020B0604020202020204" pitchFamily="34" charset="0"/>
              </a:rPr>
              <a:t>começando</a:t>
            </a:r>
            <a:r>
              <a:rPr lang="en-US" sz="1200" b="1" kern="0" dirty="0" smtClean="0">
                <a:solidFill>
                  <a:srgbClr val="C00000"/>
                </a:solidFill>
                <a:latin typeface="Arial" panose="020B0604020202020204" pitchFamily="34" charset="0"/>
              </a:rPr>
              <a:t> a </a:t>
            </a:r>
            <a:r>
              <a:rPr lang="en-US" sz="1200" b="1" kern="0" dirty="0" err="1" smtClean="0">
                <a:solidFill>
                  <a:srgbClr val="C00000"/>
                </a:solidFill>
                <a:latin typeface="Arial" panose="020B0604020202020204" pitchFamily="34" charset="0"/>
              </a:rPr>
              <a:t>reverter</a:t>
            </a:r>
            <a:endParaRPr lang="en-US" sz="1200" b="1" kern="0" dirty="0">
              <a:solidFill>
                <a:srgbClr val="C00000"/>
              </a:solidFill>
              <a:latin typeface="Arial" panose="020B0604020202020204" pitchFamily="34" charset="0"/>
            </a:endParaRPr>
          </a:p>
        </p:txBody>
      </p:sp>
      <p:sp>
        <p:nvSpPr>
          <p:cNvPr id="30" name="Rectangle 8"/>
          <p:cNvSpPr/>
          <p:nvPr/>
        </p:nvSpPr>
        <p:spPr>
          <a:xfrm>
            <a:off x="5325865" y="3516449"/>
            <a:ext cx="3704861" cy="276999"/>
          </a:xfrm>
          <a:prstGeom prst="rect">
            <a:avLst/>
          </a:prstGeom>
        </p:spPr>
        <p:txBody>
          <a:bodyPr wrap="none">
            <a:spAutoFit/>
          </a:bodyPr>
          <a:lstStyle/>
          <a:p>
            <a:pPr marL="0" lvl="1" indent="-285750" algn="ctr">
              <a:buClr>
                <a:srgbClr val="C00000"/>
              </a:buClr>
              <a:defRPr/>
            </a:pPr>
            <a:r>
              <a:rPr lang="en-US" sz="1200" b="1" kern="0" dirty="0" err="1" smtClean="0">
                <a:solidFill>
                  <a:srgbClr val="C00000"/>
                </a:solidFill>
                <a:latin typeface="Arial" panose="020B0604020202020204" pitchFamily="34" charset="0"/>
              </a:rPr>
              <a:t>Concessão</a:t>
            </a:r>
            <a:r>
              <a:rPr lang="en-US" sz="1200" b="1" kern="0" dirty="0" smtClean="0">
                <a:solidFill>
                  <a:srgbClr val="C00000"/>
                </a:solidFill>
                <a:latin typeface="Arial" panose="020B0604020202020204" pitchFamily="34" charset="0"/>
              </a:rPr>
              <a:t> de </a:t>
            </a:r>
            <a:r>
              <a:rPr lang="en-US" sz="1200" b="1" kern="0" dirty="0" err="1" smtClean="0">
                <a:solidFill>
                  <a:srgbClr val="C00000"/>
                </a:solidFill>
                <a:latin typeface="Arial" panose="020B0604020202020204" pitchFamily="34" charset="0"/>
              </a:rPr>
              <a:t>crédito</a:t>
            </a:r>
            <a:r>
              <a:rPr lang="en-US" sz="1200" b="1" kern="0" dirty="0" smtClean="0">
                <a:solidFill>
                  <a:srgbClr val="C00000"/>
                </a:solidFill>
                <a:latin typeface="Arial" panose="020B0604020202020204" pitchFamily="34" charset="0"/>
              </a:rPr>
              <a:t> PF crescendo </a:t>
            </a:r>
            <a:r>
              <a:rPr lang="en-US" sz="1200" b="1" kern="0" dirty="0" err="1" smtClean="0">
                <a:solidFill>
                  <a:srgbClr val="C00000"/>
                </a:solidFill>
                <a:latin typeface="Arial" panose="020B0604020202020204" pitchFamily="34" charset="0"/>
              </a:rPr>
              <a:t>desde</a:t>
            </a:r>
            <a:r>
              <a:rPr lang="en-US" sz="1200" b="1" kern="0" dirty="0" smtClean="0">
                <a:solidFill>
                  <a:srgbClr val="C00000"/>
                </a:solidFill>
                <a:latin typeface="Arial" panose="020B0604020202020204" pitchFamily="34" charset="0"/>
              </a:rPr>
              <a:t> 2017</a:t>
            </a:r>
            <a:endParaRPr lang="en-US" sz="1200" b="1" kern="0" dirty="0">
              <a:solidFill>
                <a:srgbClr val="C00000"/>
              </a:solidFill>
              <a:latin typeface="Arial" panose="020B0604020202020204" pitchFamily="34" charset="0"/>
            </a:endParaRPr>
          </a:p>
        </p:txBody>
      </p:sp>
      <p:pic>
        <p:nvPicPr>
          <p:cNvPr id="6" name="Picture 5"/>
          <p:cNvPicPr>
            <a:picLocks noChangeAspect="1"/>
          </p:cNvPicPr>
          <p:nvPr/>
        </p:nvPicPr>
        <p:blipFill>
          <a:blip r:embed="rId5"/>
          <a:stretch>
            <a:fillRect/>
          </a:stretch>
        </p:blipFill>
        <p:spPr>
          <a:xfrm>
            <a:off x="5325863" y="1454330"/>
            <a:ext cx="3864811" cy="2067517"/>
          </a:xfrm>
          <a:prstGeom prst="rect">
            <a:avLst/>
          </a:prstGeom>
        </p:spPr>
      </p:pic>
    </p:spTree>
    <p:extLst>
      <p:ext uri="{BB962C8B-B14F-4D97-AF65-F5344CB8AC3E}">
        <p14:creationId xmlns:p14="http://schemas.microsoft.com/office/powerpoint/2010/main" val="3506100595"/>
      </p:ext>
    </p:extLst>
  </p:cSld>
  <p:clrMapOvr>
    <a:masterClrMapping/>
  </p:clrMapOvr>
  <p:transition spd="med">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Title 1"/>
          <p:cNvSpPr>
            <a:spLocks noGrp="1"/>
          </p:cNvSpPr>
          <p:nvPr>
            <p:ph type="title"/>
          </p:nvPr>
        </p:nvSpPr>
        <p:spPr bwMode="auto">
          <a:xfrm>
            <a:off x="1549109" y="331856"/>
            <a:ext cx="8356891" cy="2571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0" compatLnSpc="1">
            <a:prstTxWarp prst="textNoShape">
              <a:avLst/>
            </a:prstTxWarp>
          </a:bodyPr>
          <a:lstStyle/>
          <a:p>
            <a:pPr eaLnBrk="1" hangingPunct="1"/>
            <a:r>
              <a:rPr lang="en-US" altLang="es-ES" sz="2000" b="1" dirty="0" smtClean="0"/>
              <a:t>Alto </a:t>
            </a:r>
            <a:r>
              <a:rPr lang="en-US" altLang="es-ES" sz="2000" b="1" dirty="0" err="1" smtClean="0"/>
              <a:t>desemprego</a:t>
            </a:r>
            <a:r>
              <a:rPr lang="en-US" altLang="es-ES" sz="2000" b="1" dirty="0" smtClean="0"/>
              <a:t> e </a:t>
            </a:r>
            <a:r>
              <a:rPr lang="en-US" altLang="es-ES" sz="2000" b="1" dirty="0" err="1" smtClean="0"/>
              <a:t>ociosidade</a:t>
            </a:r>
            <a:r>
              <a:rPr lang="en-US" altLang="es-ES" sz="2000" b="1" dirty="0" smtClean="0"/>
              <a:t> </a:t>
            </a:r>
            <a:r>
              <a:rPr lang="en-US" altLang="es-ES" sz="2000" b="1" dirty="0" err="1" smtClean="0"/>
              <a:t>na</a:t>
            </a:r>
            <a:r>
              <a:rPr lang="en-US" altLang="es-ES" sz="2000" b="1" dirty="0" smtClean="0"/>
              <a:t> </a:t>
            </a:r>
            <a:r>
              <a:rPr lang="en-US" altLang="es-ES" sz="2000" b="1" dirty="0" err="1" smtClean="0"/>
              <a:t>economia</a:t>
            </a:r>
            <a:r>
              <a:rPr lang="en-US" altLang="es-ES" sz="2000" b="1" dirty="0" smtClean="0"/>
              <a:t> </a:t>
            </a:r>
            <a:r>
              <a:rPr lang="en-US" altLang="es-ES" sz="2000" dirty="0" err="1" smtClean="0"/>
              <a:t>limitarão</a:t>
            </a:r>
            <a:r>
              <a:rPr lang="en-US" altLang="es-ES" sz="2000" dirty="0" smtClean="0"/>
              <a:t> </a:t>
            </a:r>
            <a:r>
              <a:rPr lang="en-US" altLang="es-ES" sz="2000" dirty="0" err="1" smtClean="0"/>
              <a:t>inflação</a:t>
            </a:r>
            <a:r>
              <a:rPr lang="en-US" altLang="es-ES" sz="2000" dirty="0" smtClean="0"/>
              <a:t> de </a:t>
            </a:r>
            <a:r>
              <a:rPr lang="en-US" altLang="es-ES" sz="2000" dirty="0" err="1" smtClean="0"/>
              <a:t>custos</a:t>
            </a:r>
            <a:r>
              <a:rPr lang="en-US" altLang="es-ES" sz="2000" dirty="0" smtClean="0"/>
              <a:t> e </a:t>
            </a:r>
            <a:r>
              <a:rPr lang="en-US" altLang="es-ES" sz="2000" dirty="0" err="1" smtClean="0"/>
              <a:t>despesas</a:t>
            </a:r>
            <a:r>
              <a:rPr lang="en-US" altLang="es-ES" sz="2000" dirty="0" smtClean="0"/>
              <a:t> </a:t>
            </a:r>
            <a:r>
              <a:rPr lang="en-US" altLang="es-ES" sz="2000" dirty="0" err="1" smtClean="0"/>
              <a:t>durante</a:t>
            </a:r>
            <a:r>
              <a:rPr lang="en-US" altLang="es-ES" sz="2000" dirty="0" smtClean="0"/>
              <a:t> </a:t>
            </a:r>
            <a:r>
              <a:rPr lang="en-US" altLang="es-ES" sz="2000" dirty="0" err="1" smtClean="0"/>
              <a:t>retomada</a:t>
            </a:r>
            <a:r>
              <a:rPr lang="en-US" altLang="es-ES" sz="2000" dirty="0" smtClean="0"/>
              <a:t> da </a:t>
            </a:r>
            <a:r>
              <a:rPr lang="en-US" altLang="es-ES" sz="2000" dirty="0" err="1" smtClean="0"/>
              <a:t>economia</a:t>
            </a:r>
            <a:r>
              <a:rPr lang="en-US" altLang="es-ES" sz="2000" dirty="0" smtClean="0"/>
              <a:t>. </a:t>
            </a:r>
            <a:r>
              <a:rPr lang="en-US" altLang="es-ES" sz="2000" dirty="0" err="1" smtClean="0"/>
              <a:t>Bom</a:t>
            </a:r>
            <a:r>
              <a:rPr lang="en-US" altLang="es-ES" sz="2000" dirty="0" smtClean="0"/>
              <a:t> para </a:t>
            </a:r>
            <a:r>
              <a:rPr lang="en-US" altLang="es-ES" sz="2000" dirty="0" err="1" smtClean="0"/>
              <a:t>margens</a:t>
            </a:r>
            <a:r>
              <a:rPr lang="en-US" altLang="es-ES" sz="2000" dirty="0" smtClean="0"/>
              <a:t>!</a:t>
            </a:r>
            <a:endParaRPr lang="en-US" altLang="es-ES" sz="2000" dirty="0"/>
          </a:p>
        </p:txBody>
      </p:sp>
      <p:sp>
        <p:nvSpPr>
          <p:cNvPr id="36871" name="Slide Number Placeholder 9"/>
          <p:cNvSpPr>
            <a:spLocks noGrp="1"/>
          </p:cNvSpPr>
          <p:nvPr>
            <p:ph type="sldNum" sz="quarter" idx="17"/>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Frutiger"/>
                <a:cs typeface="Arial" panose="020B0604020202020204" pitchFamily="34" charset="0"/>
              </a:defRPr>
            </a:lvl1pPr>
            <a:lvl2pPr marL="742950" indent="-285750">
              <a:defRPr>
                <a:solidFill>
                  <a:schemeClr val="tx1"/>
                </a:solidFill>
                <a:latin typeface="Frutiger"/>
                <a:cs typeface="Arial" panose="020B0604020202020204" pitchFamily="34" charset="0"/>
              </a:defRPr>
            </a:lvl2pPr>
            <a:lvl3pPr marL="1143000" indent="-228600">
              <a:defRPr>
                <a:solidFill>
                  <a:schemeClr val="tx1"/>
                </a:solidFill>
                <a:latin typeface="Frutiger"/>
                <a:cs typeface="Arial" panose="020B0604020202020204" pitchFamily="34" charset="0"/>
              </a:defRPr>
            </a:lvl3pPr>
            <a:lvl4pPr marL="1600200" indent="-228600">
              <a:defRPr>
                <a:solidFill>
                  <a:schemeClr val="tx1"/>
                </a:solidFill>
                <a:latin typeface="Frutiger"/>
                <a:cs typeface="Arial" panose="020B0604020202020204" pitchFamily="34" charset="0"/>
              </a:defRPr>
            </a:lvl4pPr>
            <a:lvl5pPr marL="2057400" indent="-228600">
              <a:defRPr>
                <a:solidFill>
                  <a:schemeClr val="tx1"/>
                </a:solidFill>
                <a:latin typeface="Frutiger"/>
                <a:cs typeface="Arial" panose="020B0604020202020204" pitchFamily="34" charset="0"/>
              </a:defRPr>
            </a:lvl5pPr>
            <a:lvl6pPr marL="2514600" indent="-228600" eaLnBrk="0" fontAlgn="base" hangingPunct="0">
              <a:spcBef>
                <a:spcPct val="0"/>
              </a:spcBef>
              <a:spcAft>
                <a:spcPct val="0"/>
              </a:spcAft>
              <a:defRPr>
                <a:solidFill>
                  <a:schemeClr val="tx1"/>
                </a:solidFill>
                <a:latin typeface="Frutiger"/>
                <a:cs typeface="Arial" panose="020B0604020202020204" pitchFamily="34" charset="0"/>
              </a:defRPr>
            </a:lvl6pPr>
            <a:lvl7pPr marL="2971800" indent="-228600" eaLnBrk="0" fontAlgn="base" hangingPunct="0">
              <a:spcBef>
                <a:spcPct val="0"/>
              </a:spcBef>
              <a:spcAft>
                <a:spcPct val="0"/>
              </a:spcAft>
              <a:defRPr>
                <a:solidFill>
                  <a:schemeClr val="tx1"/>
                </a:solidFill>
                <a:latin typeface="Frutiger"/>
                <a:cs typeface="Arial" panose="020B0604020202020204" pitchFamily="34" charset="0"/>
              </a:defRPr>
            </a:lvl7pPr>
            <a:lvl8pPr marL="3429000" indent="-228600" eaLnBrk="0" fontAlgn="base" hangingPunct="0">
              <a:spcBef>
                <a:spcPct val="0"/>
              </a:spcBef>
              <a:spcAft>
                <a:spcPct val="0"/>
              </a:spcAft>
              <a:defRPr>
                <a:solidFill>
                  <a:schemeClr val="tx1"/>
                </a:solidFill>
                <a:latin typeface="Frutiger"/>
                <a:cs typeface="Arial" panose="020B0604020202020204" pitchFamily="34" charset="0"/>
              </a:defRPr>
            </a:lvl8pPr>
            <a:lvl9pPr marL="3886200" indent="-228600" eaLnBrk="0" fontAlgn="base" hangingPunct="0">
              <a:spcBef>
                <a:spcPct val="0"/>
              </a:spcBef>
              <a:spcAft>
                <a:spcPct val="0"/>
              </a:spcAft>
              <a:defRPr>
                <a:solidFill>
                  <a:schemeClr val="tx1"/>
                </a:solidFill>
                <a:latin typeface="Frutiger"/>
                <a:cs typeface="Arial" panose="020B0604020202020204" pitchFamily="34" charset="0"/>
              </a:defRPr>
            </a:lvl9pPr>
          </a:lstStyle>
          <a:p>
            <a:fld id="{2400933B-1274-40ED-9CD0-4D10F87B7F03}" type="slidenum">
              <a:rPr lang="en-GB" altLang="es-ES">
                <a:solidFill>
                  <a:srgbClr val="1A647B"/>
                </a:solidFill>
                <a:latin typeface="Arial" panose="020B0604020202020204" pitchFamily="34" charset="0"/>
              </a:rPr>
              <a:pPr/>
              <a:t>14</a:t>
            </a:fld>
            <a:endParaRPr lang="en-GB" altLang="es-ES">
              <a:solidFill>
                <a:srgbClr val="1A647B"/>
              </a:solidFill>
              <a:latin typeface="Arial" panose="020B0604020202020204" pitchFamily="34" charset="0"/>
            </a:endParaRPr>
          </a:p>
        </p:txBody>
      </p:sp>
      <p:sp>
        <p:nvSpPr>
          <p:cNvPr id="26" name="Content Placeholder 8"/>
          <p:cNvSpPr>
            <a:spLocks noGrp="1"/>
          </p:cNvSpPr>
          <p:nvPr>
            <p:ph idx="4294967295"/>
          </p:nvPr>
        </p:nvSpPr>
        <p:spPr>
          <a:xfrm>
            <a:off x="681039" y="6269994"/>
            <a:ext cx="5554662" cy="233362"/>
          </a:xfrm>
          <a:prstGeom prst="rect">
            <a:avLst/>
          </a:prstGeom>
        </p:spPr>
        <p:txBody>
          <a:bodyPr vert="horz" wrap="square" lIns="0" tIns="45720" rIns="0" bIns="45720" numCol="1" anchor="ctr" anchorCtr="0" compatLnSpc="1">
            <a:prstTxWarp prst="textNoShape">
              <a:avLst/>
            </a:prstTxWarp>
          </a:bodyPr>
          <a:lstStyle/>
          <a:p>
            <a:pPr marL="0" indent="0" eaLnBrk="1" fontAlgn="auto" hangingPunct="1">
              <a:spcBef>
                <a:spcPct val="0"/>
              </a:spcBef>
              <a:spcAft>
                <a:spcPts val="0"/>
              </a:spcAft>
              <a:buNone/>
            </a:pPr>
            <a:r>
              <a:rPr lang="en-US" sz="800" dirty="0" smtClean="0">
                <a:solidFill>
                  <a:srgbClr val="1A647B"/>
                </a:solidFill>
                <a:latin typeface="Arial" panose="020B0604020202020204" pitchFamily="34" charset="0"/>
                <a:cs typeface="Arial" panose="020B0604020202020204" pitchFamily="34" charset="0"/>
              </a:rPr>
              <a:t>Fonte: FGV, PNAD.</a:t>
            </a:r>
            <a:endParaRPr lang="en-GB" sz="800" dirty="0">
              <a:solidFill>
                <a:srgbClr val="1A647B"/>
              </a:solidFill>
              <a:latin typeface="Arial" panose="020B0604020202020204" pitchFamily="34" charset="0"/>
              <a:cs typeface="Arial" panose="020B0604020202020204" pitchFamily="34" charset="0"/>
            </a:endParaRPr>
          </a:p>
        </p:txBody>
      </p:sp>
      <p:sp>
        <p:nvSpPr>
          <p:cNvPr id="31" name="Content Placeholder 4"/>
          <p:cNvSpPr>
            <a:spLocks noGrp="1"/>
          </p:cNvSpPr>
          <p:nvPr>
            <p:ph sz="quarter" idx="4294967295"/>
          </p:nvPr>
        </p:nvSpPr>
        <p:spPr>
          <a:xfrm>
            <a:off x="236538" y="368300"/>
            <a:ext cx="855662" cy="776288"/>
          </a:xfrm>
          <a:prstGeom prst="rect">
            <a:avLst/>
          </a:prstGeom>
        </p:spPr>
        <p:txBody>
          <a:bodyPr/>
          <a:lstStyle/>
          <a:p>
            <a:pPr marL="0" indent="0" algn="ctr" eaLnBrk="1" fontAlgn="auto" hangingPunct="1">
              <a:spcAft>
                <a:spcPts val="0"/>
              </a:spcAft>
              <a:buNone/>
              <a:defRPr/>
            </a:pPr>
            <a:r>
              <a:rPr lang="en-GB" sz="4800" dirty="0">
                <a:solidFill>
                  <a:schemeClr val="bg1"/>
                </a:solidFill>
                <a:latin typeface="+mj-lt"/>
              </a:rPr>
              <a:t>2</a:t>
            </a:r>
            <a:endParaRPr lang="en-GB" sz="4800" dirty="0">
              <a:solidFill>
                <a:schemeClr val="bg1"/>
              </a:solidFill>
              <a:latin typeface="+mj-lt"/>
            </a:endParaRPr>
          </a:p>
        </p:txBody>
      </p:sp>
      <p:pic>
        <p:nvPicPr>
          <p:cNvPr id="7" name="Picture 6"/>
          <p:cNvPicPr>
            <a:picLocks noChangeAspect="1"/>
          </p:cNvPicPr>
          <p:nvPr/>
        </p:nvPicPr>
        <p:blipFill rotWithShape="1">
          <a:blip r:embed="rId2"/>
          <a:srcRect t="14458"/>
          <a:stretch/>
        </p:blipFill>
        <p:spPr>
          <a:xfrm>
            <a:off x="5163015" y="2567256"/>
            <a:ext cx="4251742" cy="2276356"/>
          </a:xfrm>
          <a:prstGeom prst="rect">
            <a:avLst/>
          </a:prstGeom>
        </p:spPr>
      </p:pic>
      <p:sp>
        <p:nvSpPr>
          <p:cNvPr id="17" name="Rectangle 8"/>
          <p:cNvSpPr/>
          <p:nvPr/>
        </p:nvSpPr>
        <p:spPr>
          <a:xfrm>
            <a:off x="827743" y="2008734"/>
            <a:ext cx="3546164" cy="276999"/>
          </a:xfrm>
          <a:prstGeom prst="rect">
            <a:avLst/>
          </a:prstGeom>
        </p:spPr>
        <p:txBody>
          <a:bodyPr wrap="none">
            <a:spAutoFit/>
          </a:bodyPr>
          <a:lstStyle/>
          <a:p>
            <a:pPr marL="0" lvl="1" indent="-285750" algn="ctr">
              <a:buClr>
                <a:srgbClr val="C00000"/>
              </a:buClr>
              <a:defRPr/>
            </a:pPr>
            <a:r>
              <a:rPr lang="en-US" sz="1200" b="1" kern="0" dirty="0" smtClean="0">
                <a:solidFill>
                  <a:srgbClr val="C00000"/>
                </a:solidFill>
                <a:latin typeface="Arial" panose="020B0604020202020204" pitchFamily="34" charset="0"/>
              </a:rPr>
              <a:t>Taxa de </a:t>
            </a:r>
            <a:r>
              <a:rPr lang="en-US" sz="1200" b="1" kern="0" dirty="0" err="1" smtClean="0">
                <a:solidFill>
                  <a:srgbClr val="C00000"/>
                </a:solidFill>
                <a:latin typeface="Arial" panose="020B0604020202020204" pitchFamily="34" charset="0"/>
              </a:rPr>
              <a:t>desemprego</a:t>
            </a:r>
            <a:r>
              <a:rPr lang="en-US" sz="1200" b="1" kern="0" dirty="0" smtClean="0">
                <a:solidFill>
                  <a:srgbClr val="C00000"/>
                </a:solidFill>
                <a:latin typeface="Arial" panose="020B0604020202020204" pitchFamily="34" charset="0"/>
              </a:rPr>
              <a:t> </a:t>
            </a:r>
            <a:r>
              <a:rPr lang="en-US" sz="1200" b="1" kern="0" dirty="0" err="1" smtClean="0">
                <a:solidFill>
                  <a:srgbClr val="C00000"/>
                </a:solidFill>
                <a:latin typeface="Arial" panose="020B0604020202020204" pitchFamily="34" charset="0"/>
              </a:rPr>
              <a:t>reduzindo</a:t>
            </a:r>
            <a:r>
              <a:rPr lang="en-US" sz="1200" b="1" kern="0" dirty="0" smtClean="0">
                <a:solidFill>
                  <a:srgbClr val="C00000"/>
                </a:solidFill>
                <a:latin typeface="Arial" panose="020B0604020202020204" pitchFamily="34" charset="0"/>
              </a:rPr>
              <a:t> </a:t>
            </a:r>
            <a:r>
              <a:rPr lang="en-US" sz="1200" b="1" kern="0" dirty="0" err="1" smtClean="0">
                <a:solidFill>
                  <a:srgbClr val="C00000"/>
                </a:solidFill>
                <a:latin typeface="Arial" panose="020B0604020202020204" pitchFamily="34" charset="0"/>
              </a:rPr>
              <a:t>gradualmente</a:t>
            </a:r>
            <a:endParaRPr lang="en-US" sz="1200" b="1" kern="0" dirty="0">
              <a:solidFill>
                <a:srgbClr val="C00000"/>
              </a:solidFill>
              <a:latin typeface="Arial" panose="020B0604020202020204" pitchFamily="34" charset="0"/>
            </a:endParaRPr>
          </a:p>
        </p:txBody>
      </p:sp>
      <p:sp>
        <p:nvSpPr>
          <p:cNvPr id="18" name="Rectangle 8"/>
          <p:cNvSpPr/>
          <p:nvPr/>
        </p:nvSpPr>
        <p:spPr>
          <a:xfrm>
            <a:off x="5267300" y="1916400"/>
            <a:ext cx="4043171" cy="461665"/>
          </a:xfrm>
          <a:prstGeom prst="rect">
            <a:avLst/>
          </a:prstGeom>
        </p:spPr>
        <p:txBody>
          <a:bodyPr wrap="square">
            <a:spAutoFit/>
          </a:bodyPr>
          <a:lstStyle/>
          <a:p>
            <a:pPr marL="0" lvl="1" indent="-285750" algn="ctr">
              <a:buClr>
                <a:srgbClr val="C00000"/>
              </a:buClr>
              <a:defRPr/>
            </a:pPr>
            <a:r>
              <a:rPr lang="en-US" sz="1200" b="1" kern="0" dirty="0" err="1" smtClean="0">
                <a:solidFill>
                  <a:srgbClr val="C00000"/>
                </a:solidFill>
                <a:latin typeface="Arial" panose="020B0604020202020204" pitchFamily="34" charset="0"/>
              </a:rPr>
              <a:t>Utilização</a:t>
            </a:r>
            <a:r>
              <a:rPr lang="en-US" sz="1200" b="1" kern="0" dirty="0" smtClean="0">
                <a:solidFill>
                  <a:srgbClr val="C00000"/>
                </a:solidFill>
                <a:latin typeface="Arial" panose="020B0604020202020204" pitchFamily="34" charset="0"/>
              </a:rPr>
              <a:t> da </a:t>
            </a:r>
            <a:r>
              <a:rPr lang="en-US" sz="1200" b="1" kern="0" dirty="0" err="1" smtClean="0">
                <a:solidFill>
                  <a:srgbClr val="C00000"/>
                </a:solidFill>
                <a:latin typeface="Arial" panose="020B0604020202020204" pitchFamily="34" charset="0"/>
              </a:rPr>
              <a:t>capacidade</a:t>
            </a:r>
            <a:r>
              <a:rPr lang="en-US" sz="1200" b="1" kern="0" dirty="0" smtClean="0">
                <a:solidFill>
                  <a:srgbClr val="C00000"/>
                </a:solidFill>
                <a:latin typeface="Arial" panose="020B0604020202020204" pitchFamily="34" charset="0"/>
              </a:rPr>
              <a:t> industrial </a:t>
            </a:r>
            <a:r>
              <a:rPr lang="en-US" sz="1200" b="1" kern="0" dirty="0" err="1" smtClean="0">
                <a:solidFill>
                  <a:srgbClr val="C00000"/>
                </a:solidFill>
                <a:latin typeface="Arial" panose="020B0604020202020204" pitchFamily="34" charset="0"/>
              </a:rPr>
              <a:t>em</a:t>
            </a:r>
            <a:r>
              <a:rPr lang="en-US" sz="1200" b="1" kern="0" dirty="0" smtClean="0">
                <a:solidFill>
                  <a:srgbClr val="C00000"/>
                </a:solidFill>
                <a:latin typeface="Arial" panose="020B0604020202020204" pitchFamily="34" charset="0"/>
              </a:rPr>
              <a:t> </a:t>
            </a:r>
            <a:r>
              <a:rPr lang="en-US" sz="1200" b="1" kern="0" dirty="0" err="1" smtClean="0">
                <a:solidFill>
                  <a:srgbClr val="C00000"/>
                </a:solidFill>
                <a:latin typeface="Arial" panose="020B0604020202020204" pitchFamily="34" charset="0"/>
              </a:rPr>
              <a:t>níveis</a:t>
            </a:r>
            <a:r>
              <a:rPr lang="en-US" sz="1200" b="1" kern="0" dirty="0" smtClean="0">
                <a:solidFill>
                  <a:srgbClr val="C00000"/>
                </a:solidFill>
                <a:latin typeface="Arial" panose="020B0604020202020204" pitchFamily="34" charset="0"/>
              </a:rPr>
              <a:t> </a:t>
            </a:r>
            <a:r>
              <a:rPr lang="en-US" sz="1200" b="1" kern="0" dirty="0" err="1" smtClean="0">
                <a:solidFill>
                  <a:srgbClr val="C00000"/>
                </a:solidFill>
                <a:latin typeface="Arial" panose="020B0604020202020204" pitchFamily="34" charset="0"/>
              </a:rPr>
              <a:t>historicamente</a:t>
            </a:r>
            <a:r>
              <a:rPr lang="en-US" sz="1200" b="1" kern="0" dirty="0" smtClean="0">
                <a:solidFill>
                  <a:srgbClr val="C00000"/>
                </a:solidFill>
                <a:latin typeface="Arial" panose="020B0604020202020204" pitchFamily="34" charset="0"/>
              </a:rPr>
              <a:t> </a:t>
            </a:r>
            <a:r>
              <a:rPr lang="en-US" sz="1200" b="1" kern="0" dirty="0" err="1" smtClean="0">
                <a:solidFill>
                  <a:srgbClr val="C00000"/>
                </a:solidFill>
                <a:latin typeface="Arial" panose="020B0604020202020204" pitchFamily="34" charset="0"/>
              </a:rPr>
              <a:t>baixos</a:t>
            </a:r>
            <a:r>
              <a:rPr lang="en-US" sz="1200" b="1" kern="0" dirty="0" smtClean="0">
                <a:solidFill>
                  <a:srgbClr val="C00000"/>
                </a:solidFill>
                <a:latin typeface="Arial" panose="020B0604020202020204" pitchFamily="34" charset="0"/>
              </a:rPr>
              <a:t> </a:t>
            </a:r>
            <a:endParaRPr lang="en-US" sz="1200" b="1" kern="0" dirty="0">
              <a:solidFill>
                <a:srgbClr val="C00000"/>
              </a:solidFill>
              <a:latin typeface="Arial" panose="020B0604020202020204" pitchFamily="34" charset="0"/>
            </a:endParaRPr>
          </a:p>
        </p:txBody>
      </p:sp>
      <p:pic>
        <p:nvPicPr>
          <p:cNvPr id="6" name="Picture 5"/>
          <p:cNvPicPr>
            <a:picLocks noChangeAspect="1"/>
          </p:cNvPicPr>
          <p:nvPr/>
        </p:nvPicPr>
        <p:blipFill>
          <a:blip r:embed="rId3"/>
          <a:stretch>
            <a:fillRect/>
          </a:stretch>
        </p:blipFill>
        <p:spPr>
          <a:xfrm>
            <a:off x="527096" y="2567256"/>
            <a:ext cx="4147457" cy="2276356"/>
          </a:xfrm>
          <a:prstGeom prst="rect">
            <a:avLst/>
          </a:prstGeom>
        </p:spPr>
      </p:pic>
    </p:spTree>
    <p:extLst>
      <p:ext uri="{BB962C8B-B14F-4D97-AF65-F5344CB8AC3E}">
        <p14:creationId xmlns:p14="http://schemas.microsoft.com/office/powerpoint/2010/main" val="3752505879"/>
      </p:ext>
    </p:extLst>
  </p:cSld>
  <p:clrMapOvr>
    <a:masterClrMapping/>
  </p:clrMapOvr>
  <p:transition spd="med">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Title 1"/>
          <p:cNvSpPr>
            <a:spLocks noGrp="1"/>
          </p:cNvSpPr>
          <p:nvPr>
            <p:ph type="title"/>
          </p:nvPr>
        </p:nvSpPr>
        <p:spPr bwMode="auto">
          <a:xfrm>
            <a:off x="1590674" y="303027"/>
            <a:ext cx="8315326" cy="2571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0" compatLnSpc="1">
            <a:prstTxWarp prst="textNoShape">
              <a:avLst/>
            </a:prstTxWarp>
          </a:bodyPr>
          <a:lstStyle/>
          <a:p>
            <a:pPr eaLnBrk="1" hangingPunct="1"/>
            <a:r>
              <a:rPr lang="en-US" altLang="es-ES" sz="2000" dirty="0" err="1" smtClean="0"/>
              <a:t>Crescimento</a:t>
            </a:r>
            <a:r>
              <a:rPr lang="en-US" altLang="es-ES" sz="2000" dirty="0" smtClean="0"/>
              <a:t> de </a:t>
            </a:r>
            <a:r>
              <a:rPr lang="en-US" altLang="es-ES" sz="2000" b="1" dirty="0" err="1" smtClean="0"/>
              <a:t>vendas</a:t>
            </a:r>
            <a:r>
              <a:rPr lang="en-US" altLang="es-ES" sz="2000" b="1" dirty="0" smtClean="0"/>
              <a:t>, </a:t>
            </a:r>
            <a:r>
              <a:rPr lang="en-US" altLang="es-ES" sz="2000" dirty="0" err="1" smtClean="0"/>
              <a:t>melhoria</a:t>
            </a:r>
            <a:r>
              <a:rPr lang="en-US" altLang="es-ES" sz="2000" dirty="0" smtClean="0"/>
              <a:t> de </a:t>
            </a:r>
            <a:r>
              <a:rPr lang="en-US" altLang="es-ES" sz="2000" b="1" dirty="0" err="1" smtClean="0"/>
              <a:t>margens</a:t>
            </a:r>
            <a:r>
              <a:rPr lang="en-US" altLang="es-ES" sz="2000" b="1" dirty="0" smtClean="0"/>
              <a:t> e </a:t>
            </a:r>
            <a:r>
              <a:rPr lang="en-US" altLang="es-ES" sz="2000" b="1" dirty="0" err="1" smtClean="0"/>
              <a:t>juros</a:t>
            </a:r>
            <a:r>
              <a:rPr lang="en-US" altLang="es-ES" sz="2000" b="1" dirty="0" smtClean="0"/>
              <a:t> </a:t>
            </a:r>
            <a:r>
              <a:rPr lang="en-US" altLang="es-ES" sz="2000" b="1" dirty="0" err="1" smtClean="0"/>
              <a:t>baixos</a:t>
            </a:r>
            <a:r>
              <a:rPr lang="en-US" altLang="es-ES" sz="2000" b="1" dirty="0" smtClean="0"/>
              <a:t> </a:t>
            </a:r>
            <a:r>
              <a:rPr lang="en-US" altLang="es-ES" sz="2000" dirty="0" err="1" smtClean="0"/>
              <a:t>continuarão</a:t>
            </a:r>
            <a:r>
              <a:rPr lang="en-US" altLang="es-ES" sz="2000" dirty="0" smtClean="0"/>
              <a:t> </a:t>
            </a:r>
            <a:r>
              <a:rPr lang="en-US" altLang="es-ES" sz="2000" dirty="0" err="1" smtClean="0"/>
              <a:t>impulsionando</a:t>
            </a:r>
            <a:r>
              <a:rPr lang="en-US" altLang="es-ES" sz="2000" dirty="0" smtClean="0"/>
              <a:t> </a:t>
            </a:r>
            <a:r>
              <a:rPr lang="en-US" altLang="es-ES" sz="2000" b="1" dirty="0" err="1" smtClean="0"/>
              <a:t>lucros</a:t>
            </a:r>
            <a:r>
              <a:rPr lang="en-US" altLang="es-ES" sz="2000" b="1" dirty="0" smtClean="0"/>
              <a:t> do </a:t>
            </a:r>
            <a:r>
              <a:rPr lang="en-US" altLang="es-ES" sz="2000" b="1" dirty="0" err="1" smtClean="0"/>
              <a:t>setor</a:t>
            </a:r>
            <a:r>
              <a:rPr lang="en-US" altLang="es-ES" sz="2000" b="1" dirty="0" smtClean="0"/>
              <a:t> </a:t>
            </a:r>
            <a:r>
              <a:rPr lang="en-US" altLang="es-ES" sz="2000" b="1" dirty="0" err="1" smtClean="0"/>
              <a:t>varejista</a:t>
            </a:r>
            <a:r>
              <a:rPr lang="en-US" altLang="es-ES" sz="2000" b="1" dirty="0" smtClean="0"/>
              <a:t>.</a:t>
            </a:r>
            <a:endParaRPr lang="en-US" altLang="es-ES" sz="2000" dirty="0"/>
          </a:p>
        </p:txBody>
      </p:sp>
      <p:sp>
        <p:nvSpPr>
          <p:cNvPr id="36871" name="Slide Number Placeholder 9"/>
          <p:cNvSpPr>
            <a:spLocks noGrp="1"/>
          </p:cNvSpPr>
          <p:nvPr>
            <p:ph type="sldNum" sz="quarter" idx="17"/>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Frutiger"/>
                <a:cs typeface="Arial" panose="020B0604020202020204" pitchFamily="34" charset="0"/>
              </a:defRPr>
            </a:lvl1pPr>
            <a:lvl2pPr marL="742950" indent="-285750">
              <a:defRPr>
                <a:solidFill>
                  <a:schemeClr val="tx1"/>
                </a:solidFill>
                <a:latin typeface="Frutiger"/>
                <a:cs typeface="Arial" panose="020B0604020202020204" pitchFamily="34" charset="0"/>
              </a:defRPr>
            </a:lvl2pPr>
            <a:lvl3pPr marL="1143000" indent="-228600">
              <a:defRPr>
                <a:solidFill>
                  <a:schemeClr val="tx1"/>
                </a:solidFill>
                <a:latin typeface="Frutiger"/>
                <a:cs typeface="Arial" panose="020B0604020202020204" pitchFamily="34" charset="0"/>
              </a:defRPr>
            </a:lvl3pPr>
            <a:lvl4pPr marL="1600200" indent="-228600">
              <a:defRPr>
                <a:solidFill>
                  <a:schemeClr val="tx1"/>
                </a:solidFill>
                <a:latin typeface="Frutiger"/>
                <a:cs typeface="Arial" panose="020B0604020202020204" pitchFamily="34" charset="0"/>
              </a:defRPr>
            </a:lvl4pPr>
            <a:lvl5pPr marL="2057400" indent="-228600">
              <a:defRPr>
                <a:solidFill>
                  <a:schemeClr val="tx1"/>
                </a:solidFill>
                <a:latin typeface="Frutiger"/>
                <a:cs typeface="Arial" panose="020B0604020202020204" pitchFamily="34" charset="0"/>
              </a:defRPr>
            </a:lvl5pPr>
            <a:lvl6pPr marL="2514600" indent="-228600" eaLnBrk="0" fontAlgn="base" hangingPunct="0">
              <a:spcBef>
                <a:spcPct val="0"/>
              </a:spcBef>
              <a:spcAft>
                <a:spcPct val="0"/>
              </a:spcAft>
              <a:defRPr>
                <a:solidFill>
                  <a:schemeClr val="tx1"/>
                </a:solidFill>
                <a:latin typeface="Frutiger"/>
                <a:cs typeface="Arial" panose="020B0604020202020204" pitchFamily="34" charset="0"/>
              </a:defRPr>
            </a:lvl6pPr>
            <a:lvl7pPr marL="2971800" indent="-228600" eaLnBrk="0" fontAlgn="base" hangingPunct="0">
              <a:spcBef>
                <a:spcPct val="0"/>
              </a:spcBef>
              <a:spcAft>
                <a:spcPct val="0"/>
              </a:spcAft>
              <a:defRPr>
                <a:solidFill>
                  <a:schemeClr val="tx1"/>
                </a:solidFill>
                <a:latin typeface="Frutiger"/>
                <a:cs typeface="Arial" panose="020B0604020202020204" pitchFamily="34" charset="0"/>
              </a:defRPr>
            </a:lvl7pPr>
            <a:lvl8pPr marL="3429000" indent="-228600" eaLnBrk="0" fontAlgn="base" hangingPunct="0">
              <a:spcBef>
                <a:spcPct val="0"/>
              </a:spcBef>
              <a:spcAft>
                <a:spcPct val="0"/>
              </a:spcAft>
              <a:defRPr>
                <a:solidFill>
                  <a:schemeClr val="tx1"/>
                </a:solidFill>
                <a:latin typeface="Frutiger"/>
                <a:cs typeface="Arial" panose="020B0604020202020204" pitchFamily="34" charset="0"/>
              </a:defRPr>
            </a:lvl8pPr>
            <a:lvl9pPr marL="3886200" indent="-228600" eaLnBrk="0" fontAlgn="base" hangingPunct="0">
              <a:spcBef>
                <a:spcPct val="0"/>
              </a:spcBef>
              <a:spcAft>
                <a:spcPct val="0"/>
              </a:spcAft>
              <a:defRPr>
                <a:solidFill>
                  <a:schemeClr val="tx1"/>
                </a:solidFill>
                <a:latin typeface="Frutiger"/>
                <a:cs typeface="Arial" panose="020B0604020202020204" pitchFamily="34" charset="0"/>
              </a:defRPr>
            </a:lvl9pPr>
          </a:lstStyle>
          <a:p>
            <a:fld id="{2400933B-1274-40ED-9CD0-4D10F87B7F03}" type="slidenum">
              <a:rPr lang="en-GB" altLang="es-ES">
                <a:solidFill>
                  <a:srgbClr val="1A647B"/>
                </a:solidFill>
                <a:latin typeface="Arial" panose="020B0604020202020204" pitchFamily="34" charset="0"/>
              </a:rPr>
              <a:pPr/>
              <a:t>15</a:t>
            </a:fld>
            <a:endParaRPr lang="en-GB" altLang="es-ES">
              <a:solidFill>
                <a:srgbClr val="1A647B"/>
              </a:solidFill>
              <a:latin typeface="Arial" panose="020B0604020202020204" pitchFamily="34" charset="0"/>
            </a:endParaRPr>
          </a:p>
        </p:txBody>
      </p:sp>
      <p:sp>
        <p:nvSpPr>
          <p:cNvPr id="26" name="Content Placeholder 8"/>
          <p:cNvSpPr>
            <a:spLocks noGrp="1"/>
          </p:cNvSpPr>
          <p:nvPr>
            <p:ph idx="4294967295"/>
          </p:nvPr>
        </p:nvSpPr>
        <p:spPr>
          <a:xfrm>
            <a:off x="681039" y="6269994"/>
            <a:ext cx="5554662" cy="233362"/>
          </a:xfrm>
          <a:prstGeom prst="rect">
            <a:avLst/>
          </a:prstGeom>
        </p:spPr>
        <p:txBody>
          <a:bodyPr vert="horz" wrap="square" lIns="0" tIns="45720" rIns="0" bIns="45720" numCol="1" anchor="ctr" anchorCtr="0" compatLnSpc="1">
            <a:prstTxWarp prst="textNoShape">
              <a:avLst/>
            </a:prstTxWarp>
          </a:bodyPr>
          <a:lstStyle/>
          <a:p>
            <a:pPr marL="0" indent="0" eaLnBrk="1" fontAlgn="auto" hangingPunct="1">
              <a:spcBef>
                <a:spcPct val="0"/>
              </a:spcBef>
              <a:spcAft>
                <a:spcPts val="0"/>
              </a:spcAft>
              <a:buNone/>
            </a:pPr>
            <a:r>
              <a:rPr lang="en-US" sz="800" dirty="0" smtClean="0">
                <a:solidFill>
                  <a:srgbClr val="1A647B"/>
                </a:solidFill>
                <a:latin typeface="Arial" panose="020B0604020202020204" pitchFamily="34" charset="0"/>
                <a:cs typeface="Arial" panose="020B0604020202020204" pitchFamily="34" charset="0"/>
              </a:rPr>
              <a:t>Fonte: Santander </a:t>
            </a:r>
            <a:r>
              <a:rPr lang="en-US" sz="800" dirty="0" err="1" smtClean="0">
                <a:solidFill>
                  <a:srgbClr val="1A647B"/>
                </a:solidFill>
                <a:latin typeface="Arial" panose="020B0604020202020204" pitchFamily="34" charset="0"/>
                <a:cs typeface="Arial" panose="020B0604020202020204" pitchFamily="34" charset="0"/>
              </a:rPr>
              <a:t>Brasil</a:t>
            </a:r>
            <a:r>
              <a:rPr lang="en-US" sz="800" dirty="0" smtClean="0">
                <a:solidFill>
                  <a:srgbClr val="1A647B"/>
                </a:solidFill>
                <a:latin typeface="Arial" panose="020B0604020202020204" pitchFamily="34" charset="0"/>
                <a:cs typeface="Arial" panose="020B0604020202020204" pitchFamily="34" charset="0"/>
              </a:rPr>
              <a:t> Asset Management e Bloomberg. </a:t>
            </a:r>
            <a:r>
              <a:rPr lang="en-US" sz="800" dirty="0" err="1" smtClean="0">
                <a:solidFill>
                  <a:srgbClr val="1A647B"/>
                </a:solidFill>
                <a:latin typeface="Arial" panose="020B0604020202020204" pitchFamily="34" charset="0"/>
                <a:cs typeface="Arial" panose="020B0604020202020204" pitchFamily="34" charset="0"/>
              </a:rPr>
              <a:t>Setor</a:t>
            </a:r>
            <a:r>
              <a:rPr lang="en-US" sz="800" dirty="0" smtClean="0">
                <a:solidFill>
                  <a:srgbClr val="1A647B"/>
                </a:solidFill>
                <a:latin typeface="Arial" panose="020B0604020202020204" pitchFamily="34" charset="0"/>
                <a:cs typeface="Arial" panose="020B0604020202020204" pitchFamily="34" charset="0"/>
              </a:rPr>
              <a:t> </a:t>
            </a:r>
            <a:r>
              <a:rPr lang="en-US" sz="800" dirty="0" err="1" smtClean="0">
                <a:solidFill>
                  <a:srgbClr val="1A647B"/>
                </a:solidFill>
                <a:latin typeface="Arial" panose="020B0604020202020204" pitchFamily="34" charset="0"/>
                <a:cs typeface="Arial" panose="020B0604020202020204" pitchFamily="34" charset="0"/>
              </a:rPr>
              <a:t>varejista</a:t>
            </a:r>
            <a:r>
              <a:rPr lang="en-US" sz="800" dirty="0" smtClean="0">
                <a:solidFill>
                  <a:srgbClr val="1A647B"/>
                </a:solidFill>
                <a:latin typeface="Arial" panose="020B0604020202020204" pitchFamily="34" charset="0"/>
                <a:cs typeface="Arial" panose="020B0604020202020204" pitchFamily="34" charset="0"/>
              </a:rPr>
              <a:t> </a:t>
            </a:r>
            <a:r>
              <a:rPr lang="en-US" sz="800" dirty="0" err="1" smtClean="0">
                <a:solidFill>
                  <a:srgbClr val="1A647B"/>
                </a:solidFill>
                <a:latin typeface="Arial" panose="020B0604020202020204" pitchFamily="34" charset="0"/>
                <a:cs typeface="Arial" panose="020B0604020202020204" pitchFamily="34" charset="0"/>
              </a:rPr>
              <a:t>inclui</a:t>
            </a:r>
            <a:r>
              <a:rPr lang="en-US" sz="800" dirty="0" smtClean="0">
                <a:solidFill>
                  <a:srgbClr val="1A647B"/>
                </a:solidFill>
                <a:latin typeface="Arial" panose="020B0604020202020204" pitchFamily="34" charset="0"/>
                <a:cs typeface="Arial" panose="020B0604020202020204" pitchFamily="34" charset="0"/>
              </a:rPr>
              <a:t> Arezzo</a:t>
            </a:r>
            <a:r>
              <a:rPr lang="en-US" sz="800" dirty="0">
                <a:solidFill>
                  <a:srgbClr val="1A647B"/>
                </a:solidFill>
                <a:latin typeface="Arial" panose="020B0604020202020204" pitchFamily="34" charset="0"/>
                <a:cs typeface="Arial" panose="020B0604020202020204" pitchFamily="34" charset="0"/>
              </a:rPr>
              <a:t>, </a:t>
            </a:r>
            <a:r>
              <a:rPr lang="en-US" sz="800" dirty="0" smtClean="0">
                <a:solidFill>
                  <a:srgbClr val="1A647B"/>
                </a:solidFill>
                <a:latin typeface="Arial" panose="020B0604020202020204" pitchFamily="34" charset="0"/>
                <a:cs typeface="Arial" panose="020B0604020202020204" pitchFamily="34" charset="0"/>
              </a:rPr>
              <a:t>B2W, </a:t>
            </a:r>
            <a:r>
              <a:rPr lang="en-US" sz="800" dirty="0">
                <a:solidFill>
                  <a:srgbClr val="1A647B"/>
                </a:solidFill>
                <a:latin typeface="Arial" panose="020B0604020202020204" pitchFamily="34" charset="0"/>
                <a:cs typeface="Arial" panose="020B0604020202020204" pitchFamily="34" charset="0"/>
              </a:rPr>
              <a:t>CVC</a:t>
            </a:r>
            <a:r>
              <a:rPr lang="en-US" sz="800" dirty="0" smtClean="0">
                <a:solidFill>
                  <a:srgbClr val="1A647B"/>
                </a:solidFill>
                <a:latin typeface="Arial" panose="020B0604020202020204" pitchFamily="34" charset="0"/>
                <a:cs typeface="Arial" panose="020B0604020202020204" pitchFamily="34" charset="0"/>
              </a:rPr>
              <a:t>, </a:t>
            </a:r>
            <a:r>
              <a:rPr lang="en-US" sz="800" dirty="0" err="1" smtClean="0">
                <a:solidFill>
                  <a:srgbClr val="1A647B"/>
                </a:solidFill>
                <a:latin typeface="Arial" panose="020B0604020202020204" pitchFamily="34" charset="0"/>
                <a:cs typeface="Arial" panose="020B0604020202020204" pitchFamily="34" charset="0"/>
              </a:rPr>
              <a:t>Hering</a:t>
            </a:r>
            <a:r>
              <a:rPr lang="en-US" sz="800" dirty="0" smtClean="0">
                <a:solidFill>
                  <a:srgbClr val="1A647B"/>
                </a:solidFill>
                <a:latin typeface="Arial" panose="020B0604020202020204" pitchFamily="34" charset="0"/>
                <a:cs typeface="Arial" panose="020B0604020202020204" pitchFamily="34" charset="0"/>
              </a:rPr>
              <a:t>, </a:t>
            </a:r>
            <a:r>
              <a:rPr lang="en-US" sz="800" dirty="0" err="1" smtClean="0">
                <a:solidFill>
                  <a:srgbClr val="1A647B"/>
                </a:solidFill>
                <a:latin typeface="Arial" panose="020B0604020202020204" pitchFamily="34" charset="0"/>
                <a:cs typeface="Arial" panose="020B0604020202020204" pitchFamily="34" charset="0"/>
              </a:rPr>
              <a:t>Lojas</a:t>
            </a:r>
            <a:r>
              <a:rPr lang="en-US" sz="800" dirty="0" smtClean="0">
                <a:solidFill>
                  <a:srgbClr val="1A647B"/>
                </a:solidFill>
                <a:latin typeface="Arial" panose="020B0604020202020204" pitchFamily="34" charset="0"/>
                <a:cs typeface="Arial" panose="020B0604020202020204" pitchFamily="34" charset="0"/>
              </a:rPr>
              <a:t> </a:t>
            </a:r>
            <a:r>
              <a:rPr lang="en-US" sz="800" dirty="0" err="1" smtClean="0">
                <a:solidFill>
                  <a:srgbClr val="1A647B"/>
                </a:solidFill>
                <a:latin typeface="Arial" panose="020B0604020202020204" pitchFamily="34" charset="0"/>
                <a:cs typeface="Arial" panose="020B0604020202020204" pitchFamily="34" charset="0"/>
              </a:rPr>
              <a:t>Americanas</a:t>
            </a:r>
            <a:r>
              <a:rPr lang="en-US" sz="800" dirty="0" smtClean="0">
                <a:solidFill>
                  <a:srgbClr val="1A647B"/>
                </a:solidFill>
                <a:latin typeface="Arial" panose="020B0604020202020204" pitchFamily="34" charset="0"/>
                <a:cs typeface="Arial" panose="020B0604020202020204" pitchFamily="34" charset="0"/>
              </a:rPr>
              <a:t>, Magazine </a:t>
            </a:r>
            <a:r>
              <a:rPr lang="en-US" sz="800" dirty="0" err="1" smtClean="0">
                <a:solidFill>
                  <a:srgbClr val="1A647B"/>
                </a:solidFill>
                <a:latin typeface="Arial" panose="020B0604020202020204" pitchFamily="34" charset="0"/>
                <a:cs typeface="Arial" panose="020B0604020202020204" pitchFamily="34" charset="0"/>
              </a:rPr>
              <a:t>Luiza</a:t>
            </a:r>
            <a:r>
              <a:rPr lang="en-US" sz="800" dirty="0">
                <a:solidFill>
                  <a:srgbClr val="1A647B"/>
                </a:solidFill>
                <a:latin typeface="Arial" panose="020B0604020202020204" pitchFamily="34" charset="0"/>
                <a:cs typeface="Arial" panose="020B0604020202020204" pitchFamily="34" charset="0"/>
              </a:rPr>
              <a:t>, Marisa, </a:t>
            </a:r>
            <a:r>
              <a:rPr lang="en-US" sz="800" dirty="0" err="1">
                <a:solidFill>
                  <a:srgbClr val="1A647B"/>
                </a:solidFill>
                <a:latin typeface="Arial" panose="020B0604020202020204" pitchFamily="34" charset="0"/>
                <a:cs typeface="Arial" panose="020B0604020202020204" pitchFamily="34" charset="0"/>
              </a:rPr>
              <a:t>Pão</a:t>
            </a:r>
            <a:r>
              <a:rPr lang="en-US" sz="800" dirty="0">
                <a:solidFill>
                  <a:srgbClr val="1A647B"/>
                </a:solidFill>
                <a:latin typeface="Arial" panose="020B0604020202020204" pitchFamily="34" charset="0"/>
                <a:cs typeface="Arial" panose="020B0604020202020204" pitchFamily="34" charset="0"/>
              </a:rPr>
              <a:t> </a:t>
            </a:r>
            <a:r>
              <a:rPr lang="en-US" sz="800" dirty="0" smtClean="0">
                <a:solidFill>
                  <a:srgbClr val="1A647B"/>
                </a:solidFill>
                <a:latin typeface="Arial" panose="020B0604020202020204" pitchFamily="34" charset="0"/>
                <a:cs typeface="Arial" panose="020B0604020202020204" pitchFamily="34" charset="0"/>
              </a:rPr>
              <a:t>de </a:t>
            </a:r>
            <a:r>
              <a:rPr lang="en-US" sz="800" dirty="0" err="1" smtClean="0">
                <a:solidFill>
                  <a:srgbClr val="1A647B"/>
                </a:solidFill>
                <a:latin typeface="Arial" panose="020B0604020202020204" pitchFamily="34" charset="0"/>
                <a:cs typeface="Arial" panose="020B0604020202020204" pitchFamily="34" charset="0"/>
              </a:rPr>
              <a:t>Açúcar</a:t>
            </a:r>
            <a:r>
              <a:rPr lang="en-US" sz="800" dirty="0" smtClean="0">
                <a:solidFill>
                  <a:srgbClr val="1A647B"/>
                </a:solidFill>
                <a:latin typeface="Arial" panose="020B0604020202020204" pitchFamily="34" charset="0"/>
                <a:cs typeface="Arial" panose="020B0604020202020204" pitchFamily="34" charset="0"/>
              </a:rPr>
              <a:t>, </a:t>
            </a:r>
            <a:r>
              <a:rPr lang="en-US" sz="800" dirty="0" err="1" smtClean="0">
                <a:solidFill>
                  <a:srgbClr val="1A647B"/>
                </a:solidFill>
                <a:latin typeface="Arial" panose="020B0604020202020204" pitchFamily="34" charset="0"/>
                <a:cs typeface="Arial" panose="020B0604020202020204" pitchFamily="34" charset="0"/>
              </a:rPr>
              <a:t>Raia</a:t>
            </a:r>
            <a:r>
              <a:rPr lang="en-US" sz="800" dirty="0" smtClean="0">
                <a:solidFill>
                  <a:srgbClr val="1A647B"/>
                </a:solidFill>
                <a:latin typeface="Arial" panose="020B0604020202020204" pitchFamily="34" charset="0"/>
                <a:cs typeface="Arial" panose="020B0604020202020204" pitchFamily="34" charset="0"/>
              </a:rPr>
              <a:t> </a:t>
            </a:r>
            <a:r>
              <a:rPr lang="en-US" sz="800" dirty="0" err="1" smtClean="0">
                <a:solidFill>
                  <a:srgbClr val="1A647B"/>
                </a:solidFill>
                <a:latin typeface="Arial" panose="020B0604020202020204" pitchFamily="34" charset="0"/>
                <a:cs typeface="Arial" panose="020B0604020202020204" pitchFamily="34" charset="0"/>
              </a:rPr>
              <a:t>Drogasil</a:t>
            </a:r>
            <a:r>
              <a:rPr lang="en-US" sz="800" dirty="0">
                <a:solidFill>
                  <a:srgbClr val="1A647B"/>
                </a:solidFill>
                <a:latin typeface="Arial" panose="020B0604020202020204" pitchFamily="34" charset="0"/>
                <a:cs typeface="Arial" panose="020B0604020202020204" pitchFamily="34" charset="0"/>
              </a:rPr>
              <a:t>, </a:t>
            </a:r>
            <a:r>
              <a:rPr lang="en-US" sz="800" dirty="0" smtClean="0">
                <a:solidFill>
                  <a:srgbClr val="1A647B"/>
                </a:solidFill>
                <a:latin typeface="Arial" panose="020B0604020202020204" pitchFamily="34" charset="0"/>
                <a:cs typeface="Arial" panose="020B0604020202020204" pitchFamily="34" charset="0"/>
              </a:rPr>
              <a:t>Renner, </a:t>
            </a:r>
            <a:r>
              <a:rPr lang="en-US" sz="800" dirty="0" err="1" smtClean="0">
                <a:solidFill>
                  <a:srgbClr val="1A647B"/>
                </a:solidFill>
                <a:latin typeface="Arial" panose="020B0604020202020204" pitchFamily="34" charset="0"/>
                <a:cs typeface="Arial" panose="020B0604020202020204" pitchFamily="34" charset="0"/>
              </a:rPr>
              <a:t>Riachuelo</a:t>
            </a:r>
            <a:r>
              <a:rPr lang="en-US" sz="800" dirty="0">
                <a:solidFill>
                  <a:srgbClr val="1A647B"/>
                </a:solidFill>
                <a:latin typeface="Arial" panose="020B0604020202020204" pitchFamily="34" charset="0"/>
                <a:cs typeface="Arial" panose="020B0604020202020204" pitchFamily="34" charset="0"/>
              </a:rPr>
              <a:t>, </a:t>
            </a:r>
            <a:r>
              <a:rPr lang="en-US" sz="800" dirty="0" smtClean="0">
                <a:solidFill>
                  <a:srgbClr val="1A647B"/>
                </a:solidFill>
                <a:latin typeface="Arial" panose="020B0604020202020204" pitchFamily="34" charset="0"/>
                <a:cs typeface="Arial" panose="020B0604020202020204" pitchFamily="34" charset="0"/>
              </a:rPr>
              <a:t>e </a:t>
            </a:r>
            <a:r>
              <a:rPr lang="en-US" sz="800" dirty="0" err="1" smtClean="0">
                <a:solidFill>
                  <a:srgbClr val="1A647B"/>
                </a:solidFill>
                <a:latin typeface="Arial" panose="020B0604020202020204" pitchFamily="34" charset="0"/>
                <a:cs typeface="Arial" panose="020B0604020202020204" pitchFamily="34" charset="0"/>
              </a:rPr>
              <a:t>ViaVarejo</a:t>
            </a:r>
            <a:r>
              <a:rPr lang="en-US" sz="800" dirty="0" smtClean="0">
                <a:solidFill>
                  <a:srgbClr val="1A647B"/>
                </a:solidFill>
                <a:latin typeface="Arial" panose="020B0604020202020204" pitchFamily="34" charset="0"/>
                <a:cs typeface="Arial" panose="020B0604020202020204" pitchFamily="34" charset="0"/>
              </a:rPr>
              <a:t>.</a:t>
            </a:r>
            <a:endParaRPr lang="en-GB" sz="800" dirty="0">
              <a:solidFill>
                <a:srgbClr val="1A647B"/>
              </a:solidFill>
              <a:latin typeface="Arial" panose="020B0604020202020204" pitchFamily="34" charset="0"/>
              <a:cs typeface="Arial" panose="020B0604020202020204" pitchFamily="34" charset="0"/>
            </a:endParaRPr>
          </a:p>
        </p:txBody>
      </p:sp>
      <p:sp>
        <p:nvSpPr>
          <p:cNvPr id="23" name="Content Placeholder 4"/>
          <p:cNvSpPr>
            <a:spLocks noGrp="1"/>
          </p:cNvSpPr>
          <p:nvPr>
            <p:ph sz="quarter" idx="4294967295"/>
          </p:nvPr>
        </p:nvSpPr>
        <p:spPr>
          <a:xfrm>
            <a:off x="236538" y="368300"/>
            <a:ext cx="855662" cy="776288"/>
          </a:xfrm>
          <a:prstGeom prst="rect">
            <a:avLst/>
          </a:prstGeom>
        </p:spPr>
        <p:txBody>
          <a:bodyPr/>
          <a:lstStyle/>
          <a:p>
            <a:pPr marL="0" indent="0" algn="ctr" eaLnBrk="1" fontAlgn="auto" hangingPunct="1">
              <a:spcAft>
                <a:spcPts val="0"/>
              </a:spcAft>
              <a:buNone/>
              <a:defRPr/>
            </a:pPr>
            <a:r>
              <a:rPr lang="en-GB" sz="4800" dirty="0">
                <a:solidFill>
                  <a:schemeClr val="bg1"/>
                </a:solidFill>
                <a:latin typeface="+mj-lt"/>
              </a:rPr>
              <a:t>2</a:t>
            </a:r>
            <a:endParaRPr lang="en-GB" sz="4800" dirty="0">
              <a:solidFill>
                <a:schemeClr val="bg1"/>
              </a:solidFill>
              <a:latin typeface="+mj-lt"/>
            </a:endParaRPr>
          </a:p>
        </p:txBody>
      </p:sp>
      <p:graphicFrame>
        <p:nvGraphicFramePr>
          <p:cNvPr id="10" name="Chart 9"/>
          <p:cNvGraphicFramePr>
            <a:graphicFrameLocks/>
          </p:cNvGraphicFramePr>
          <p:nvPr>
            <p:extLst>
              <p:ext uri="{D42A27DB-BD31-4B8C-83A1-F6EECF244321}">
                <p14:modId xmlns:p14="http://schemas.microsoft.com/office/powerpoint/2010/main" val="3454805262"/>
              </p:ext>
            </p:extLst>
          </p:nvPr>
        </p:nvGraphicFramePr>
        <p:xfrm>
          <a:off x="338510" y="2567413"/>
          <a:ext cx="4127500" cy="21995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3" name="Chart 12"/>
          <p:cNvGraphicFramePr>
            <a:graphicFrameLocks/>
          </p:cNvGraphicFramePr>
          <p:nvPr>
            <p:extLst>
              <p:ext uri="{D42A27DB-BD31-4B8C-83A1-F6EECF244321}">
                <p14:modId xmlns:p14="http://schemas.microsoft.com/office/powerpoint/2010/main" val="3974359645"/>
              </p:ext>
            </p:extLst>
          </p:nvPr>
        </p:nvGraphicFramePr>
        <p:xfrm>
          <a:off x="5340894" y="2468197"/>
          <a:ext cx="4127500" cy="2199501"/>
        </p:xfrm>
        <a:graphic>
          <a:graphicData uri="http://schemas.openxmlformats.org/drawingml/2006/chart">
            <c:chart xmlns:c="http://schemas.openxmlformats.org/drawingml/2006/chart" xmlns:r="http://schemas.openxmlformats.org/officeDocument/2006/relationships" r:id="rId3"/>
          </a:graphicData>
        </a:graphic>
      </p:graphicFrame>
      <p:sp>
        <p:nvSpPr>
          <p:cNvPr id="11" name="Rectangle 8"/>
          <p:cNvSpPr/>
          <p:nvPr/>
        </p:nvSpPr>
        <p:spPr>
          <a:xfrm>
            <a:off x="157278" y="2063283"/>
            <a:ext cx="4977645" cy="276999"/>
          </a:xfrm>
          <a:prstGeom prst="rect">
            <a:avLst/>
          </a:prstGeom>
        </p:spPr>
        <p:txBody>
          <a:bodyPr wrap="none">
            <a:spAutoFit/>
          </a:bodyPr>
          <a:lstStyle/>
          <a:p>
            <a:pPr marL="0" lvl="1" indent="-285750" algn="ctr">
              <a:buClr>
                <a:srgbClr val="C00000"/>
              </a:buClr>
              <a:defRPr/>
            </a:pPr>
            <a:r>
              <a:rPr lang="en-US" sz="1200" b="1" kern="0" dirty="0" err="1" smtClean="0">
                <a:solidFill>
                  <a:srgbClr val="C00000"/>
                </a:solidFill>
                <a:latin typeface="Arial" panose="020B0604020202020204" pitchFamily="34" charset="0"/>
              </a:rPr>
              <a:t>Esperamos</a:t>
            </a:r>
            <a:r>
              <a:rPr lang="en-US" sz="1200" b="1" kern="0" dirty="0" smtClean="0">
                <a:solidFill>
                  <a:srgbClr val="C00000"/>
                </a:solidFill>
                <a:latin typeface="Arial" panose="020B0604020202020204" pitchFamily="34" charset="0"/>
              </a:rPr>
              <a:t> que </a:t>
            </a:r>
            <a:r>
              <a:rPr lang="en-US" sz="1200" b="1" kern="0" dirty="0" err="1" smtClean="0">
                <a:solidFill>
                  <a:srgbClr val="C00000"/>
                </a:solidFill>
                <a:latin typeface="Arial" panose="020B0604020202020204" pitchFamily="34" charset="0"/>
              </a:rPr>
              <a:t>faturamento</a:t>
            </a:r>
            <a:r>
              <a:rPr lang="en-US" sz="1200" b="1" kern="0" dirty="0" smtClean="0">
                <a:solidFill>
                  <a:srgbClr val="C00000"/>
                </a:solidFill>
                <a:latin typeface="Arial" panose="020B0604020202020204" pitchFamily="34" charset="0"/>
              </a:rPr>
              <a:t> </a:t>
            </a:r>
            <a:r>
              <a:rPr lang="en-US" sz="1200" b="1" kern="0" dirty="0" smtClean="0">
                <a:solidFill>
                  <a:srgbClr val="C00000"/>
                </a:solidFill>
                <a:latin typeface="Arial" panose="020B0604020202020204" pitchFamily="34" charset="0"/>
              </a:rPr>
              <a:t>do </a:t>
            </a:r>
            <a:r>
              <a:rPr lang="en-US" sz="1200" b="1" kern="0" dirty="0" err="1" smtClean="0">
                <a:solidFill>
                  <a:srgbClr val="C00000"/>
                </a:solidFill>
                <a:latin typeface="Arial" panose="020B0604020202020204" pitchFamily="34" charset="0"/>
              </a:rPr>
              <a:t>setor</a:t>
            </a:r>
            <a:r>
              <a:rPr lang="en-US" sz="1200" b="1" kern="0" dirty="0" smtClean="0">
                <a:solidFill>
                  <a:srgbClr val="C00000"/>
                </a:solidFill>
                <a:latin typeface="Arial" panose="020B0604020202020204" pitchFamily="34" charset="0"/>
              </a:rPr>
              <a:t> continue </a:t>
            </a:r>
            <a:r>
              <a:rPr lang="en-US" sz="1200" b="1" kern="0" dirty="0" smtClean="0">
                <a:solidFill>
                  <a:srgbClr val="C00000"/>
                </a:solidFill>
                <a:latin typeface="Arial" panose="020B0604020202020204" pitchFamily="34" charset="0"/>
              </a:rPr>
              <a:t>crescendo &gt;10</a:t>
            </a:r>
            <a:r>
              <a:rPr lang="en-US" sz="1200" b="1" kern="0" dirty="0" smtClean="0">
                <a:solidFill>
                  <a:srgbClr val="C00000"/>
                </a:solidFill>
                <a:latin typeface="Arial" panose="020B0604020202020204" pitchFamily="34" charset="0"/>
              </a:rPr>
              <a:t>%...</a:t>
            </a:r>
            <a:endParaRPr lang="en-US" sz="1200" b="1" kern="0" dirty="0">
              <a:solidFill>
                <a:srgbClr val="C00000"/>
              </a:solidFill>
              <a:latin typeface="Arial" panose="020B0604020202020204" pitchFamily="34" charset="0"/>
            </a:endParaRPr>
          </a:p>
        </p:txBody>
      </p:sp>
      <p:sp>
        <p:nvSpPr>
          <p:cNvPr id="16" name="Rectangle 8"/>
          <p:cNvSpPr/>
          <p:nvPr/>
        </p:nvSpPr>
        <p:spPr>
          <a:xfrm>
            <a:off x="5726940" y="2056789"/>
            <a:ext cx="3355407" cy="276999"/>
          </a:xfrm>
          <a:prstGeom prst="rect">
            <a:avLst/>
          </a:prstGeom>
        </p:spPr>
        <p:txBody>
          <a:bodyPr wrap="none">
            <a:spAutoFit/>
          </a:bodyPr>
          <a:lstStyle/>
          <a:p>
            <a:pPr marL="0" lvl="1" indent="-285750" algn="ctr">
              <a:buClr>
                <a:srgbClr val="C00000"/>
              </a:buClr>
              <a:defRPr/>
            </a:pPr>
            <a:r>
              <a:rPr lang="en-US" sz="1200" b="1" kern="0" dirty="0" smtClean="0">
                <a:solidFill>
                  <a:srgbClr val="C00000"/>
                </a:solidFill>
                <a:latin typeface="Arial" panose="020B0604020202020204" pitchFamily="34" charset="0"/>
              </a:rPr>
              <a:t>… com </a:t>
            </a:r>
            <a:r>
              <a:rPr lang="en-US" sz="1200" b="1" kern="0" dirty="0" err="1" smtClean="0">
                <a:solidFill>
                  <a:srgbClr val="C00000"/>
                </a:solidFill>
                <a:latin typeface="Arial" panose="020B0604020202020204" pitchFamily="34" charset="0"/>
              </a:rPr>
              <a:t>lucros</a:t>
            </a:r>
            <a:r>
              <a:rPr lang="en-US" sz="1200" b="1" kern="0" dirty="0" smtClean="0">
                <a:solidFill>
                  <a:srgbClr val="C00000"/>
                </a:solidFill>
                <a:latin typeface="Arial" panose="020B0604020202020204" pitchFamily="34" charset="0"/>
              </a:rPr>
              <a:t> crescendo </a:t>
            </a:r>
            <a:r>
              <a:rPr lang="en-US" sz="1200" b="1" kern="0" dirty="0" smtClean="0">
                <a:solidFill>
                  <a:srgbClr val="C00000"/>
                </a:solidFill>
                <a:latin typeface="Arial" panose="020B0604020202020204" pitchFamily="34" charset="0"/>
              </a:rPr>
              <a:t>&gt;20%aa 2019-20e</a:t>
            </a:r>
            <a:endParaRPr lang="en-US" sz="1200" b="1" kern="0" dirty="0">
              <a:solidFill>
                <a:srgbClr val="C00000"/>
              </a:solidFill>
              <a:latin typeface="Arial" panose="020B0604020202020204" pitchFamily="34" charset="0"/>
            </a:endParaRPr>
          </a:p>
        </p:txBody>
      </p:sp>
    </p:spTree>
    <p:extLst>
      <p:ext uri="{BB962C8B-B14F-4D97-AF65-F5344CB8AC3E}">
        <p14:creationId xmlns:p14="http://schemas.microsoft.com/office/powerpoint/2010/main" val="3046869583"/>
      </p:ext>
    </p:extLst>
  </p:cSld>
  <p:clrMapOvr>
    <a:masterClrMapping/>
  </p:clrMapOvr>
  <p:transition spd="med">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0"/>
          </p:nvPr>
        </p:nvSpPr>
        <p:spPr>
          <a:xfrm>
            <a:off x="2273299" y="2317750"/>
            <a:ext cx="6922952" cy="3887788"/>
          </a:xfrm>
        </p:spPr>
        <p:txBody>
          <a:bodyPr/>
          <a:lstStyle/>
          <a:p>
            <a:pPr eaLnBrk="1" fontAlgn="auto" hangingPunct="1">
              <a:defRPr/>
            </a:pPr>
            <a:r>
              <a:rPr lang="pt-BR" dirty="0" smtClean="0"/>
              <a:t>Por que </a:t>
            </a:r>
            <a:r>
              <a:rPr lang="pt-BR" dirty="0" smtClean="0"/>
              <a:t>investir em ações agora?</a:t>
            </a:r>
            <a:endParaRPr lang="pt-BR" sz="1400" dirty="0" smtClean="0"/>
          </a:p>
          <a:p>
            <a:pPr eaLnBrk="1" fontAlgn="auto" hangingPunct="1">
              <a:defRPr/>
            </a:pPr>
            <a:r>
              <a:rPr lang="pt-BR" dirty="0" smtClean="0"/>
              <a:t>Oportunidades </a:t>
            </a:r>
            <a:r>
              <a:rPr lang="pt-BR" dirty="0"/>
              <a:t>em </a:t>
            </a:r>
            <a:r>
              <a:rPr lang="pt-BR" dirty="0" smtClean="0"/>
              <a:t>temas </a:t>
            </a:r>
            <a:r>
              <a:rPr lang="pt-BR" dirty="0" smtClean="0"/>
              <a:t>domésticos</a:t>
            </a:r>
            <a:endParaRPr lang="pt-BR" sz="1400" dirty="0" smtClean="0"/>
          </a:p>
          <a:p>
            <a:pPr eaLnBrk="1" fontAlgn="auto" hangingPunct="1">
              <a:defRPr/>
            </a:pPr>
            <a:r>
              <a:rPr lang="pt-BR" b="1" dirty="0" smtClean="0">
                <a:solidFill>
                  <a:schemeClr val="accent1"/>
                </a:solidFill>
              </a:rPr>
              <a:t>F</a:t>
            </a:r>
            <a:r>
              <a:rPr lang="pt-BR" b="1" dirty="0" smtClean="0">
                <a:solidFill>
                  <a:schemeClr val="accent1"/>
                </a:solidFill>
              </a:rPr>
              <a:t>undo Seleção: Pessoas e Performance</a:t>
            </a:r>
            <a:endParaRPr lang="en-GB" b="1" dirty="0">
              <a:solidFill>
                <a:schemeClr val="accent1"/>
              </a:solidFill>
            </a:endParaRPr>
          </a:p>
        </p:txBody>
      </p:sp>
    </p:spTree>
    <p:extLst>
      <p:ext uri="{BB962C8B-B14F-4D97-AF65-F5344CB8AC3E}">
        <p14:creationId xmlns:p14="http://schemas.microsoft.com/office/powerpoint/2010/main" val="3987438629"/>
      </p:ext>
    </p:extLst>
  </p:cSld>
  <p:clrMapOvr>
    <a:masterClrMapping/>
  </p:clrMapOvr>
  <p:transition spd="med">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Title 1"/>
          <p:cNvSpPr>
            <a:spLocks noGrp="1"/>
          </p:cNvSpPr>
          <p:nvPr>
            <p:ph type="title"/>
          </p:nvPr>
        </p:nvSpPr>
        <p:spPr bwMode="auto">
          <a:xfrm>
            <a:off x="1590674" y="357980"/>
            <a:ext cx="7771039" cy="2571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0" compatLnSpc="1">
            <a:prstTxWarp prst="textNoShape">
              <a:avLst/>
            </a:prstTxWarp>
          </a:bodyPr>
          <a:lstStyle/>
          <a:p>
            <a:r>
              <a:rPr lang="en-GB" altLang="es-ES" sz="2000" b="1" dirty="0" smtClean="0">
                <a:solidFill>
                  <a:srgbClr val="7F7F7F"/>
                </a:solidFill>
                <a:latin typeface="Arial" charset="0"/>
                <a:ea typeface="+mn-ea"/>
                <a:cs typeface="+mn-cs"/>
              </a:rPr>
              <a:t>Fundo </a:t>
            </a:r>
            <a:r>
              <a:rPr lang="en-GB" altLang="es-ES" sz="2000" b="1" dirty="0" err="1" smtClean="0">
                <a:solidFill>
                  <a:srgbClr val="7F7F7F"/>
                </a:solidFill>
                <a:latin typeface="Arial" charset="0"/>
                <a:ea typeface="+mn-ea"/>
                <a:cs typeface="+mn-cs"/>
              </a:rPr>
              <a:t>Seleção</a:t>
            </a:r>
            <a:r>
              <a:rPr lang="en-GB" altLang="es-ES" sz="2000" b="1" dirty="0" smtClean="0">
                <a:solidFill>
                  <a:srgbClr val="7F7F7F"/>
                </a:solidFill>
                <a:latin typeface="Arial" charset="0"/>
                <a:ea typeface="+mn-ea"/>
                <a:cs typeface="+mn-cs"/>
              </a:rPr>
              <a:t>:</a:t>
            </a:r>
            <a:r>
              <a:rPr lang="en-GB" altLang="es-ES" sz="2000" dirty="0" smtClean="0">
                <a:solidFill>
                  <a:srgbClr val="7F7F7F"/>
                </a:solidFill>
                <a:latin typeface="Arial" charset="0"/>
                <a:ea typeface="+mn-ea"/>
                <a:cs typeface="+mn-cs"/>
              </a:rPr>
              <a:t> </a:t>
            </a:r>
            <a:r>
              <a:rPr lang="en-GB" altLang="es-ES" sz="2000" dirty="0" err="1" smtClean="0">
                <a:solidFill>
                  <a:srgbClr val="7F7F7F"/>
                </a:solidFill>
                <a:latin typeface="Arial" charset="0"/>
                <a:ea typeface="+mn-ea"/>
                <a:cs typeface="+mn-cs"/>
              </a:rPr>
              <a:t>Processos</a:t>
            </a:r>
            <a:r>
              <a:rPr lang="en-GB" altLang="es-ES" sz="2000" dirty="0" smtClean="0">
                <a:solidFill>
                  <a:srgbClr val="7F7F7F"/>
                </a:solidFill>
                <a:latin typeface="Arial" charset="0"/>
                <a:ea typeface="+mn-ea"/>
                <a:cs typeface="+mn-cs"/>
              </a:rPr>
              <a:t> e </a:t>
            </a:r>
            <a:r>
              <a:rPr lang="en-US" altLang="es-ES" sz="2000" dirty="0" err="1" smtClean="0">
                <a:solidFill>
                  <a:srgbClr val="7F7F7F"/>
                </a:solidFill>
                <a:latin typeface="Arial" charset="0"/>
                <a:ea typeface="+mn-ea"/>
                <a:cs typeface="+mn-cs"/>
              </a:rPr>
              <a:t>Pessoas</a:t>
            </a:r>
            <a:r>
              <a:rPr lang="en-US" altLang="es-ES" sz="2000" dirty="0" smtClean="0">
                <a:solidFill>
                  <a:srgbClr val="7F7F7F"/>
                </a:solidFill>
                <a:latin typeface="Arial" charset="0"/>
                <a:ea typeface="+mn-ea"/>
                <a:cs typeface="+mn-cs"/>
              </a:rPr>
              <a:t> </a:t>
            </a:r>
            <a:r>
              <a:rPr lang="en-US" altLang="es-ES" sz="2000" dirty="0" err="1" smtClean="0">
                <a:solidFill>
                  <a:srgbClr val="7F7F7F"/>
                </a:solidFill>
                <a:latin typeface="Arial" charset="0"/>
                <a:ea typeface="+mn-ea"/>
                <a:cs typeface="+mn-cs"/>
              </a:rPr>
              <a:t>são</a:t>
            </a:r>
            <a:r>
              <a:rPr lang="en-US" altLang="es-ES" sz="2000" dirty="0" smtClean="0">
                <a:solidFill>
                  <a:srgbClr val="7F7F7F"/>
                </a:solidFill>
                <a:latin typeface="Arial" charset="0"/>
                <a:ea typeface="+mn-ea"/>
                <a:cs typeface="+mn-cs"/>
              </a:rPr>
              <a:t> </a:t>
            </a:r>
            <a:r>
              <a:rPr lang="en-US" altLang="es-ES" sz="2000" dirty="0" err="1" smtClean="0">
                <a:solidFill>
                  <a:srgbClr val="7F7F7F"/>
                </a:solidFill>
                <a:latin typeface="Arial" charset="0"/>
                <a:ea typeface="+mn-ea"/>
                <a:cs typeface="+mn-cs"/>
              </a:rPr>
              <a:t>nossos</a:t>
            </a:r>
            <a:r>
              <a:rPr lang="en-US" altLang="es-ES" sz="2000" dirty="0" smtClean="0">
                <a:solidFill>
                  <a:srgbClr val="7F7F7F"/>
                </a:solidFill>
                <a:latin typeface="Arial" charset="0"/>
                <a:ea typeface="+mn-ea"/>
                <a:cs typeface="+mn-cs"/>
              </a:rPr>
              <a:t> </a:t>
            </a:r>
            <a:r>
              <a:rPr lang="en-US" altLang="es-ES" sz="2000" dirty="0" err="1" smtClean="0">
                <a:solidFill>
                  <a:srgbClr val="7F7F7F"/>
                </a:solidFill>
                <a:latin typeface="Arial" charset="0"/>
                <a:ea typeface="+mn-ea"/>
                <a:cs typeface="+mn-cs"/>
              </a:rPr>
              <a:t>maiores</a:t>
            </a:r>
            <a:r>
              <a:rPr lang="en-US" altLang="es-ES" sz="2000" dirty="0" smtClean="0">
                <a:solidFill>
                  <a:srgbClr val="7F7F7F"/>
                </a:solidFill>
                <a:latin typeface="Arial" charset="0"/>
                <a:ea typeface="+mn-ea"/>
                <a:cs typeface="+mn-cs"/>
              </a:rPr>
              <a:t> </a:t>
            </a:r>
            <a:r>
              <a:rPr lang="en-US" altLang="es-ES" sz="2000" dirty="0" err="1" smtClean="0">
                <a:solidFill>
                  <a:srgbClr val="7F7F7F"/>
                </a:solidFill>
                <a:latin typeface="Arial" charset="0"/>
                <a:ea typeface="+mn-ea"/>
                <a:cs typeface="+mn-cs"/>
              </a:rPr>
              <a:t>ativos</a:t>
            </a:r>
            <a:endParaRPr lang="en-GB" altLang="es-ES" sz="2000" dirty="0">
              <a:solidFill>
                <a:srgbClr val="7F7F7F"/>
              </a:solidFill>
              <a:latin typeface="Arial" charset="0"/>
              <a:ea typeface="+mn-ea"/>
              <a:cs typeface="+mn-cs"/>
            </a:endParaRPr>
          </a:p>
        </p:txBody>
      </p:sp>
      <p:sp>
        <p:nvSpPr>
          <p:cNvPr id="36871" name="Slide Number Placeholder 9"/>
          <p:cNvSpPr>
            <a:spLocks noGrp="1"/>
          </p:cNvSpPr>
          <p:nvPr>
            <p:ph type="sldNum" sz="quarter" idx="17"/>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Frutiger"/>
                <a:cs typeface="Arial" panose="020B0604020202020204" pitchFamily="34" charset="0"/>
              </a:defRPr>
            </a:lvl1pPr>
            <a:lvl2pPr marL="742950" indent="-285750">
              <a:defRPr>
                <a:solidFill>
                  <a:schemeClr val="tx1"/>
                </a:solidFill>
                <a:latin typeface="Frutiger"/>
                <a:cs typeface="Arial" panose="020B0604020202020204" pitchFamily="34" charset="0"/>
              </a:defRPr>
            </a:lvl2pPr>
            <a:lvl3pPr marL="1143000" indent="-228600">
              <a:defRPr>
                <a:solidFill>
                  <a:schemeClr val="tx1"/>
                </a:solidFill>
                <a:latin typeface="Frutiger"/>
                <a:cs typeface="Arial" panose="020B0604020202020204" pitchFamily="34" charset="0"/>
              </a:defRPr>
            </a:lvl3pPr>
            <a:lvl4pPr marL="1600200" indent="-228600">
              <a:defRPr>
                <a:solidFill>
                  <a:schemeClr val="tx1"/>
                </a:solidFill>
                <a:latin typeface="Frutiger"/>
                <a:cs typeface="Arial" panose="020B0604020202020204" pitchFamily="34" charset="0"/>
              </a:defRPr>
            </a:lvl4pPr>
            <a:lvl5pPr marL="2057400" indent="-228600">
              <a:defRPr>
                <a:solidFill>
                  <a:schemeClr val="tx1"/>
                </a:solidFill>
                <a:latin typeface="Frutiger"/>
                <a:cs typeface="Arial" panose="020B0604020202020204" pitchFamily="34" charset="0"/>
              </a:defRPr>
            </a:lvl5pPr>
            <a:lvl6pPr marL="2514600" indent="-228600" eaLnBrk="0" fontAlgn="base" hangingPunct="0">
              <a:spcBef>
                <a:spcPct val="0"/>
              </a:spcBef>
              <a:spcAft>
                <a:spcPct val="0"/>
              </a:spcAft>
              <a:defRPr>
                <a:solidFill>
                  <a:schemeClr val="tx1"/>
                </a:solidFill>
                <a:latin typeface="Frutiger"/>
                <a:cs typeface="Arial" panose="020B0604020202020204" pitchFamily="34" charset="0"/>
              </a:defRPr>
            </a:lvl6pPr>
            <a:lvl7pPr marL="2971800" indent="-228600" eaLnBrk="0" fontAlgn="base" hangingPunct="0">
              <a:spcBef>
                <a:spcPct val="0"/>
              </a:spcBef>
              <a:spcAft>
                <a:spcPct val="0"/>
              </a:spcAft>
              <a:defRPr>
                <a:solidFill>
                  <a:schemeClr val="tx1"/>
                </a:solidFill>
                <a:latin typeface="Frutiger"/>
                <a:cs typeface="Arial" panose="020B0604020202020204" pitchFamily="34" charset="0"/>
              </a:defRPr>
            </a:lvl7pPr>
            <a:lvl8pPr marL="3429000" indent="-228600" eaLnBrk="0" fontAlgn="base" hangingPunct="0">
              <a:spcBef>
                <a:spcPct val="0"/>
              </a:spcBef>
              <a:spcAft>
                <a:spcPct val="0"/>
              </a:spcAft>
              <a:defRPr>
                <a:solidFill>
                  <a:schemeClr val="tx1"/>
                </a:solidFill>
                <a:latin typeface="Frutiger"/>
                <a:cs typeface="Arial" panose="020B0604020202020204" pitchFamily="34" charset="0"/>
              </a:defRPr>
            </a:lvl8pPr>
            <a:lvl9pPr marL="3886200" indent="-228600" eaLnBrk="0" fontAlgn="base" hangingPunct="0">
              <a:spcBef>
                <a:spcPct val="0"/>
              </a:spcBef>
              <a:spcAft>
                <a:spcPct val="0"/>
              </a:spcAft>
              <a:defRPr>
                <a:solidFill>
                  <a:schemeClr val="tx1"/>
                </a:solidFill>
                <a:latin typeface="Frutiger"/>
                <a:cs typeface="Arial" panose="020B0604020202020204" pitchFamily="34" charset="0"/>
              </a:defRPr>
            </a:lvl9pPr>
          </a:lstStyle>
          <a:p>
            <a:fld id="{2400933B-1274-40ED-9CD0-4D10F87B7F03}" type="slidenum">
              <a:rPr lang="en-GB" altLang="es-ES">
                <a:solidFill>
                  <a:srgbClr val="1A647B"/>
                </a:solidFill>
                <a:latin typeface="Arial" panose="020B0604020202020204" pitchFamily="34" charset="0"/>
              </a:rPr>
              <a:pPr/>
              <a:t>17</a:t>
            </a:fld>
            <a:endParaRPr lang="en-GB" altLang="es-ES">
              <a:solidFill>
                <a:srgbClr val="1A647B"/>
              </a:solidFill>
              <a:latin typeface="Arial" panose="020B0604020202020204" pitchFamily="34" charset="0"/>
            </a:endParaRPr>
          </a:p>
        </p:txBody>
      </p:sp>
      <p:sp>
        <p:nvSpPr>
          <p:cNvPr id="6" name="Content Placeholder 24"/>
          <p:cNvSpPr>
            <a:spLocks noGrp="1"/>
          </p:cNvSpPr>
          <p:nvPr>
            <p:ph idx="16"/>
          </p:nvPr>
        </p:nvSpPr>
        <p:spPr>
          <a:xfrm>
            <a:off x="681038" y="6295618"/>
            <a:ext cx="8543925" cy="199713"/>
          </a:xfrm>
        </p:spPr>
        <p:txBody>
          <a:bodyPr>
            <a:normAutofit/>
          </a:bodyPr>
          <a:lstStyle/>
          <a:p>
            <a:r>
              <a:rPr lang="en-US" dirty="0" smtClean="0">
                <a:solidFill>
                  <a:srgbClr val="1A647B"/>
                </a:solidFill>
                <a:latin typeface="Arial" panose="020B0604020202020204" pitchFamily="34" charset="0"/>
                <a:cs typeface="Arial" pitchFamily="34" charset="0"/>
              </a:rPr>
              <a:t>Fonte: </a:t>
            </a:r>
            <a:r>
              <a:rPr lang="en-US" dirty="0">
                <a:solidFill>
                  <a:srgbClr val="1A647B"/>
                </a:solidFill>
                <a:latin typeface="Arial" panose="020B0604020202020204" pitchFamily="34" charset="0"/>
                <a:cs typeface="Arial" pitchFamily="34" charset="0"/>
              </a:rPr>
              <a:t>Santander </a:t>
            </a:r>
            <a:r>
              <a:rPr lang="en-US" dirty="0" smtClean="0">
                <a:solidFill>
                  <a:srgbClr val="1A647B"/>
                </a:solidFill>
                <a:latin typeface="Arial" panose="020B0604020202020204" pitchFamily="34" charset="0"/>
                <a:cs typeface="Arial" pitchFamily="34" charset="0"/>
              </a:rPr>
              <a:t>Brasil Asset </a:t>
            </a:r>
            <a:r>
              <a:rPr lang="en-US" dirty="0">
                <a:solidFill>
                  <a:srgbClr val="1A647B"/>
                </a:solidFill>
                <a:latin typeface="Arial" panose="020B0604020202020204" pitchFamily="34" charset="0"/>
                <a:cs typeface="Arial" pitchFamily="34" charset="0"/>
              </a:rPr>
              <a:t>Management.</a:t>
            </a:r>
          </a:p>
        </p:txBody>
      </p:sp>
      <p:pic>
        <p:nvPicPr>
          <p:cNvPr id="4" name="Picture 3"/>
          <p:cNvPicPr>
            <a:picLocks noChangeAspect="1"/>
          </p:cNvPicPr>
          <p:nvPr/>
        </p:nvPicPr>
        <p:blipFill>
          <a:blip r:embed="rId2"/>
          <a:stretch>
            <a:fillRect/>
          </a:stretch>
        </p:blipFill>
        <p:spPr>
          <a:xfrm>
            <a:off x="3303679" y="1622638"/>
            <a:ext cx="800100" cy="760589"/>
          </a:xfrm>
          <a:prstGeom prst="rect">
            <a:avLst/>
          </a:prstGeom>
        </p:spPr>
      </p:pic>
      <p:pic>
        <p:nvPicPr>
          <p:cNvPr id="7" name="Picture 6"/>
          <p:cNvPicPr>
            <a:picLocks noChangeAspect="1"/>
          </p:cNvPicPr>
          <p:nvPr/>
        </p:nvPicPr>
        <p:blipFill>
          <a:blip r:embed="rId3"/>
          <a:stretch>
            <a:fillRect/>
          </a:stretch>
        </p:blipFill>
        <p:spPr>
          <a:xfrm>
            <a:off x="196530" y="2666348"/>
            <a:ext cx="805815" cy="700291"/>
          </a:xfrm>
          <a:prstGeom prst="rect">
            <a:avLst/>
          </a:prstGeom>
        </p:spPr>
      </p:pic>
      <p:pic>
        <p:nvPicPr>
          <p:cNvPr id="9" name="Picture 8"/>
          <p:cNvPicPr>
            <a:picLocks noChangeAspect="1"/>
          </p:cNvPicPr>
          <p:nvPr/>
        </p:nvPicPr>
        <p:blipFill>
          <a:blip r:embed="rId4"/>
          <a:stretch>
            <a:fillRect/>
          </a:stretch>
        </p:blipFill>
        <p:spPr>
          <a:xfrm>
            <a:off x="196530" y="3594798"/>
            <a:ext cx="828675" cy="781050"/>
          </a:xfrm>
          <a:prstGeom prst="rect">
            <a:avLst/>
          </a:prstGeom>
        </p:spPr>
      </p:pic>
      <p:pic>
        <p:nvPicPr>
          <p:cNvPr id="11" name="Picture 10"/>
          <p:cNvPicPr>
            <a:picLocks noChangeAspect="1"/>
          </p:cNvPicPr>
          <p:nvPr/>
        </p:nvPicPr>
        <p:blipFill>
          <a:blip r:embed="rId5"/>
          <a:stretch>
            <a:fillRect/>
          </a:stretch>
        </p:blipFill>
        <p:spPr>
          <a:xfrm>
            <a:off x="3303679" y="2617928"/>
            <a:ext cx="800100" cy="760589"/>
          </a:xfrm>
          <a:prstGeom prst="rect">
            <a:avLst/>
          </a:prstGeom>
        </p:spPr>
      </p:pic>
      <p:pic>
        <p:nvPicPr>
          <p:cNvPr id="12" name="Picture 11"/>
          <p:cNvPicPr>
            <a:picLocks noChangeAspect="1"/>
          </p:cNvPicPr>
          <p:nvPr/>
        </p:nvPicPr>
        <p:blipFill>
          <a:blip r:embed="rId6"/>
          <a:stretch>
            <a:fillRect/>
          </a:stretch>
        </p:blipFill>
        <p:spPr>
          <a:xfrm>
            <a:off x="6540968" y="2613488"/>
            <a:ext cx="800717" cy="752513"/>
          </a:xfrm>
          <a:prstGeom prst="rect">
            <a:avLst/>
          </a:prstGeom>
        </p:spPr>
      </p:pic>
      <p:pic>
        <p:nvPicPr>
          <p:cNvPr id="13" name="Picture 12"/>
          <p:cNvPicPr>
            <a:picLocks noChangeAspect="1"/>
          </p:cNvPicPr>
          <p:nvPr/>
        </p:nvPicPr>
        <p:blipFill>
          <a:blip r:embed="rId7"/>
          <a:stretch>
            <a:fillRect/>
          </a:stretch>
        </p:blipFill>
        <p:spPr>
          <a:xfrm>
            <a:off x="3303679" y="4576210"/>
            <a:ext cx="800100" cy="745460"/>
          </a:xfrm>
          <a:prstGeom prst="rect">
            <a:avLst/>
          </a:prstGeom>
        </p:spPr>
      </p:pic>
      <p:pic>
        <p:nvPicPr>
          <p:cNvPr id="14" name="Picture 13"/>
          <p:cNvPicPr>
            <a:picLocks noChangeAspect="1"/>
          </p:cNvPicPr>
          <p:nvPr/>
        </p:nvPicPr>
        <p:blipFill>
          <a:blip r:embed="rId8"/>
          <a:stretch>
            <a:fillRect/>
          </a:stretch>
        </p:blipFill>
        <p:spPr>
          <a:xfrm>
            <a:off x="3303678" y="3571345"/>
            <a:ext cx="800100" cy="785732"/>
          </a:xfrm>
          <a:prstGeom prst="rect">
            <a:avLst/>
          </a:prstGeom>
        </p:spPr>
      </p:pic>
      <p:pic>
        <p:nvPicPr>
          <p:cNvPr id="15" name="Picture 14"/>
          <p:cNvPicPr>
            <a:picLocks noChangeAspect="1"/>
          </p:cNvPicPr>
          <p:nvPr/>
        </p:nvPicPr>
        <p:blipFill>
          <a:blip r:embed="rId9"/>
          <a:stretch>
            <a:fillRect/>
          </a:stretch>
        </p:blipFill>
        <p:spPr>
          <a:xfrm>
            <a:off x="6540968" y="3535289"/>
            <a:ext cx="800100" cy="809272"/>
          </a:xfrm>
          <a:prstGeom prst="rect">
            <a:avLst/>
          </a:prstGeom>
        </p:spPr>
      </p:pic>
      <p:sp>
        <p:nvSpPr>
          <p:cNvPr id="19" name="Title 1"/>
          <p:cNvSpPr txBox="1">
            <a:spLocks/>
          </p:cNvSpPr>
          <p:nvPr/>
        </p:nvSpPr>
        <p:spPr>
          <a:xfrm>
            <a:off x="4103778" y="1601696"/>
            <a:ext cx="6870931" cy="2089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lvl1pPr algn="l" rtl="0" eaLnBrk="0" fontAlgn="base" hangingPunct="0">
              <a:lnSpc>
                <a:spcPct val="90000"/>
              </a:lnSpc>
              <a:spcBef>
                <a:spcPct val="0"/>
              </a:spcBef>
              <a:spcAft>
                <a:spcPct val="0"/>
              </a:spcAft>
              <a:defRPr sz="1800" kern="1200" cap="none" baseline="0">
                <a:solidFill>
                  <a:schemeClr val="accent2"/>
                </a:solidFill>
                <a:latin typeface="Arial" panose="020B0604020202020204" pitchFamily="34" charset="0"/>
                <a:ea typeface="+mj-ea"/>
                <a:cs typeface="Arial" panose="020B0604020202020204" pitchFamily="34" charset="0"/>
              </a:defRPr>
            </a:lvl1pPr>
            <a:lvl2pPr algn="l" rtl="0" eaLnBrk="0" fontAlgn="base" hangingPunct="0">
              <a:lnSpc>
                <a:spcPct val="90000"/>
              </a:lnSpc>
              <a:spcBef>
                <a:spcPct val="0"/>
              </a:spcBef>
              <a:spcAft>
                <a:spcPct val="0"/>
              </a:spcAft>
              <a:defRPr sz="4400">
                <a:solidFill>
                  <a:schemeClr val="tx1"/>
                </a:solidFill>
                <a:latin typeface="Frutiger 45 Light" charset="0"/>
              </a:defRPr>
            </a:lvl2pPr>
            <a:lvl3pPr algn="l" rtl="0" eaLnBrk="0" fontAlgn="base" hangingPunct="0">
              <a:lnSpc>
                <a:spcPct val="90000"/>
              </a:lnSpc>
              <a:spcBef>
                <a:spcPct val="0"/>
              </a:spcBef>
              <a:spcAft>
                <a:spcPct val="0"/>
              </a:spcAft>
              <a:defRPr sz="4400">
                <a:solidFill>
                  <a:schemeClr val="tx1"/>
                </a:solidFill>
                <a:latin typeface="Frutiger 45 Light" charset="0"/>
              </a:defRPr>
            </a:lvl3pPr>
            <a:lvl4pPr algn="l" rtl="0" eaLnBrk="0" fontAlgn="base" hangingPunct="0">
              <a:lnSpc>
                <a:spcPct val="90000"/>
              </a:lnSpc>
              <a:spcBef>
                <a:spcPct val="0"/>
              </a:spcBef>
              <a:spcAft>
                <a:spcPct val="0"/>
              </a:spcAft>
              <a:defRPr sz="4400">
                <a:solidFill>
                  <a:schemeClr val="tx1"/>
                </a:solidFill>
                <a:latin typeface="Frutiger 45 Light" charset="0"/>
              </a:defRPr>
            </a:lvl4pPr>
            <a:lvl5pPr algn="l" rtl="0" eaLnBrk="0" fontAlgn="base" hangingPunct="0">
              <a:lnSpc>
                <a:spcPct val="90000"/>
              </a:lnSpc>
              <a:spcBef>
                <a:spcPct val="0"/>
              </a:spcBef>
              <a:spcAft>
                <a:spcPct val="0"/>
              </a:spcAft>
              <a:defRPr sz="4400">
                <a:solidFill>
                  <a:schemeClr val="tx1"/>
                </a:solidFill>
                <a:latin typeface="Frutiger 45 Light" charset="0"/>
              </a:defRPr>
            </a:lvl5pPr>
            <a:lvl6pPr marL="457200" algn="l" rtl="0" eaLnBrk="1" fontAlgn="base" hangingPunct="1">
              <a:lnSpc>
                <a:spcPct val="90000"/>
              </a:lnSpc>
              <a:spcBef>
                <a:spcPct val="0"/>
              </a:spcBef>
              <a:spcAft>
                <a:spcPct val="0"/>
              </a:spcAft>
              <a:defRPr sz="4400">
                <a:solidFill>
                  <a:schemeClr val="tx1"/>
                </a:solidFill>
                <a:latin typeface="Frutiger 45 Light" charset="0"/>
              </a:defRPr>
            </a:lvl6pPr>
            <a:lvl7pPr marL="914400" algn="l" rtl="0" eaLnBrk="1" fontAlgn="base" hangingPunct="1">
              <a:lnSpc>
                <a:spcPct val="90000"/>
              </a:lnSpc>
              <a:spcBef>
                <a:spcPct val="0"/>
              </a:spcBef>
              <a:spcAft>
                <a:spcPct val="0"/>
              </a:spcAft>
              <a:defRPr sz="4400">
                <a:solidFill>
                  <a:schemeClr val="tx1"/>
                </a:solidFill>
                <a:latin typeface="Frutiger 45 Light" charset="0"/>
              </a:defRPr>
            </a:lvl7pPr>
            <a:lvl8pPr marL="1371600" algn="l" rtl="0" eaLnBrk="1" fontAlgn="base" hangingPunct="1">
              <a:lnSpc>
                <a:spcPct val="90000"/>
              </a:lnSpc>
              <a:spcBef>
                <a:spcPct val="0"/>
              </a:spcBef>
              <a:spcAft>
                <a:spcPct val="0"/>
              </a:spcAft>
              <a:defRPr sz="4400">
                <a:solidFill>
                  <a:schemeClr val="tx1"/>
                </a:solidFill>
                <a:latin typeface="Frutiger 45 Light" charset="0"/>
              </a:defRPr>
            </a:lvl8pPr>
            <a:lvl9pPr marL="1828800" algn="l" rtl="0" eaLnBrk="1" fontAlgn="base" hangingPunct="1">
              <a:lnSpc>
                <a:spcPct val="90000"/>
              </a:lnSpc>
              <a:spcBef>
                <a:spcPct val="0"/>
              </a:spcBef>
              <a:spcAft>
                <a:spcPct val="0"/>
              </a:spcAft>
              <a:defRPr sz="4400">
                <a:solidFill>
                  <a:schemeClr val="tx1"/>
                </a:solidFill>
                <a:latin typeface="Frutiger 45 Light" charset="0"/>
              </a:defRPr>
            </a:lvl9pPr>
          </a:lstStyle>
          <a:p>
            <a:r>
              <a:rPr lang="pt-BR" b="1" dirty="0" smtClean="0">
                <a:solidFill>
                  <a:srgbClr val="7F7F7F"/>
                </a:solidFill>
                <a:latin typeface="Arial" charset="0"/>
                <a:ea typeface="+mn-ea"/>
                <a:cs typeface="+mn-cs"/>
              </a:rPr>
              <a:t>Alexandre Cancherini</a:t>
            </a:r>
          </a:p>
          <a:p>
            <a:r>
              <a:rPr lang="pt-BR" sz="1400" dirty="0" smtClean="0">
                <a:solidFill>
                  <a:srgbClr val="7F7F7F"/>
                </a:solidFill>
                <a:latin typeface="Arial" charset="0"/>
                <a:ea typeface="+mn-ea"/>
                <a:cs typeface="+mn-cs"/>
              </a:rPr>
              <a:t>Head of Equities &amp; </a:t>
            </a:r>
          </a:p>
          <a:p>
            <a:r>
              <a:rPr lang="pt-BR" sz="1400" dirty="0" smtClean="0">
                <a:solidFill>
                  <a:srgbClr val="7F7F7F"/>
                </a:solidFill>
                <a:latin typeface="Arial" charset="0"/>
                <a:ea typeface="+mn-ea"/>
                <a:cs typeface="+mn-cs"/>
              </a:rPr>
              <a:t>Analista de Bancos</a:t>
            </a:r>
            <a:endParaRPr lang="pt-BR" sz="1400" dirty="0">
              <a:solidFill>
                <a:srgbClr val="7F7F7F"/>
              </a:solidFill>
              <a:latin typeface="Arial" charset="0"/>
              <a:ea typeface="+mn-ea"/>
              <a:cs typeface="+mn-cs"/>
            </a:endParaRPr>
          </a:p>
        </p:txBody>
      </p:sp>
      <p:sp>
        <p:nvSpPr>
          <p:cNvPr id="20" name="Title 1"/>
          <p:cNvSpPr txBox="1">
            <a:spLocks/>
          </p:cNvSpPr>
          <p:nvPr/>
        </p:nvSpPr>
        <p:spPr>
          <a:xfrm>
            <a:off x="1025205" y="2625368"/>
            <a:ext cx="6870931" cy="2089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lvl1pPr algn="l" rtl="0" eaLnBrk="0" fontAlgn="base" hangingPunct="0">
              <a:lnSpc>
                <a:spcPct val="90000"/>
              </a:lnSpc>
              <a:spcBef>
                <a:spcPct val="0"/>
              </a:spcBef>
              <a:spcAft>
                <a:spcPct val="0"/>
              </a:spcAft>
              <a:defRPr sz="1800" kern="1200" cap="none" baseline="0">
                <a:solidFill>
                  <a:schemeClr val="accent2"/>
                </a:solidFill>
                <a:latin typeface="Arial" panose="020B0604020202020204" pitchFamily="34" charset="0"/>
                <a:ea typeface="+mj-ea"/>
                <a:cs typeface="Arial" panose="020B0604020202020204" pitchFamily="34" charset="0"/>
              </a:defRPr>
            </a:lvl1pPr>
            <a:lvl2pPr algn="l" rtl="0" eaLnBrk="0" fontAlgn="base" hangingPunct="0">
              <a:lnSpc>
                <a:spcPct val="90000"/>
              </a:lnSpc>
              <a:spcBef>
                <a:spcPct val="0"/>
              </a:spcBef>
              <a:spcAft>
                <a:spcPct val="0"/>
              </a:spcAft>
              <a:defRPr sz="4400">
                <a:solidFill>
                  <a:schemeClr val="tx1"/>
                </a:solidFill>
                <a:latin typeface="Frutiger 45 Light" charset="0"/>
              </a:defRPr>
            </a:lvl2pPr>
            <a:lvl3pPr algn="l" rtl="0" eaLnBrk="0" fontAlgn="base" hangingPunct="0">
              <a:lnSpc>
                <a:spcPct val="90000"/>
              </a:lnSpc>
              <a:spcBef>
                <a:spcPct val="0"/>
              </a:spcBef>
              <a:spcAft>
                <a:spcPct val="0"/>
              </a:spcAft>
              <a:defRPr sz="4400">
                <a:solidFill>
                  <a:schemeClr val="tx1"/>
                </a:solidFill>
                <a:latin typeface="Frutiger 45 Light" charset="0"/>
              </a:defRPr>
            </a:lvl3pPr>
            <a:lvl4pPr algn="l" rtl="0" eaLnBrk="0" fontAlgn="base" hangingPunct="0">
              <a:lnSpc>
                <a:spcPct val="90000"/>
              </a:lnSpc>
              <a:spcBef>
                <a:spcPct val="0"/>
              </a:spcBef>
              <a:spcAft>
                <a:spcPct val="0"/>
              </a:spcAft>
              <a:defRPr sz="4400">
                <a:solidFill>
                  <a:schemeClr val="tx1"/>
                </a:solidFill>
                <a:latin typeface="Frutiger 45 Light" charset="0"/>
              </a:defRPr>
            </a:lvl4pPr>
            <a:lvl5pPr algn="l" rtl="0" eaLnBrk="0" fontAlgn="base" hangingPunct="0">
              <a:lnSpc>
                <a:spcPct val="90000"/>
              </a:lnSpc>
              <a:spcBef>
                <a:spcPct val="0"/>
              </a:spcBef>
              <a:spcAft>
                <a:spcPct val="0"/>
              </a:spcAft>
              <a:defRPr sz="4400">
                <a:solidFill>
                  <a:schemeClr val="tx1"/>
                </a:solidFill>
                <a:latin typeface="Frutiger 45 Light" charset="0"/>
              </a:defRPr>
            </a:lvl5pPr>
            <a:lvl6pPr marL="457200" algn="l" rtl="0" eaLnBrk="1" fontAlgn="base" hangingPunct="1">
              <a:lnSpc>
                <a:spcPct val="90000"/>
              </a:lnSpc>
              <a:spcBef>
                <a:spcPct val="0"/>
              </a:spcBef>
              <a:spcAft>
                <a:spcPct val="0"/>
              </a:spcAft>
              <a:defRPr sz="4400">
                <a:solidFill>
                  <a:schemeClr val="tx1"/>
                </a:solidFill>
                <a:latin typeface="Frutiger 45 Light" charset="0"/>
              </a:defRPr>
            </a:lvl6pPr>
            <a:lvl7pPr marL="914400" algn="l" rtl="0" eaLnBrk="1" fontAlgn="base" hangingPunct="1">
              <a:lnSpc>
                <a:spcPct val="90000"/>
              </a:lnSpc>
              <a:spcBef>
                <a:spcPct val="0"/>
              </a:spcBef>
              <a:spcAft>
                <a:spcPct val="0"/>
              </a:spcAft>
              <a:defRPr sz="4400">
                <a:solidFill>
                  <a:schemeClr val="tx1"/>
                </a:solidFill>
                <a:latin typeface="Frutiger 45 Light" charset="0"/>
              </a:defRPr>
            </a:lvl7pPr>
            <a:lvl8pPr marL="1371600" algn="l" rtl="0" eaLnBrk="1" fontAlgn="base" hangingPunct="1">
              <a:lnSpc>
                <a:spcPct val="90000"/>
              </a:lnSpc>
              <a:spcBef>
                <a:spcPct val="0"/>
              </a:spcBef>
              <a:spcAft>
                <a:spcPct val="0"/>
              </a:spcAft>
              <a:defRPr sz="4400">
                <a:solidFill>
                  <a:schemeClr val="tx1"/>
                </a:solidFill>
                <a:latin typeface="Frutiger 45 Light" charset="0"/>
              </a:defRPr>
            </a:lvl8pPr>
            <a:lvl9pPr marL="1828800" algn="l" rtl="0" eaLnBrk="1" fontAlgn="base" hangingPunct="1">
              <a:lnSpc>
                <a:spcPct val="90000"/>
              </a:lnSpc>
              <a:spcBef>
                <a:spcPct val="0"/>
              </a:spcBef>
              <a:spcAft>
                <a:spcPct val="0"/>
              </a:spcAft>
              <a:defRPr sz="4400">
                <a:solidFill>
                  <a:schemeClr val="tx1"/>
                </a:solidFill>
                <a:latin typeface="Frutiger 45 Light" charset="0"/>
              </a:defRPr>
            </a:lvl9pPr>
          </a:lstStyle>
          <a:p>
            <a:r>
              <a:rPr lang="pt-BR" b="1" dirty="0" smtClean="0">
                <a:solidFill>
                  <a:srgbClr val="7F7F7F"/>
                </a:solidFill>
                <a:latin typeface="Arial" charset="0"/>
                <a:ea typeface="+mn-ea"/>
                <a:cs typeface="+mn-cs"/>
              </a:rPr>
              <a:t>Alexandre Cruz</a:t>
            </a:r>
          </a:p>
          <a:p>
            <a:r>
              <a:rPr lang="pt-BR" sz="1400" dirty="0" smtClean="0">
                <a:solidFill>
                  <a:srgbClr val="7F7F7F"/>
                </a:solidFill>
                <a:latin typeface="Arial" charset="0"/>
                <a:ea typeface="+mn-ea"/>
                <a:cs typeface="+mn-cs"/>
              </a:rPr>
              <a:t>Portfolio Manager</a:t>
            </a:r>
            <a:endParaRPr lang="pt-BR" sz="1400" dirty="0">
              <a:solidFill>
                <a:srgbClr val="7F7F7F"/>
              </a:solidFill>
              <a:latin typeface="Arial" charset="0"/>
              <a:ea typeface="+mn-ea"/>
              <a:cs typeface="+mn-cs"/>
            </a:endParaRPr>
          </a:p>
        </p:txBody>
      </p:sp>
      <p:sp>
        <p:nvSpPr>
          <p:cNvPr id="21" name="Title 1"/>
          <p:cNvSpPr txBox="1">
            <a:spLocks/>
          </p:cNvSpPr>
          <p:nvPr/>
        </p:nvSpPr>
        <p:spPr>
          <a:xfrm>
            <a:off x="1025206" y="3610451"/>
            <a:ext cx="6493968" cy="197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lvl1pPr algn="l" rtl="0" eaLnBrk="0" fontAlgn="base" hangingPunct="0">
              <a:lnSpc>
                <a:spcPct val="90000"/>
              </a:lnSpc>
              <a:spcBef>
                <a:spcPct val="0"/>
              </a:spcBef>
              <a:spcAft>
                <a:spcPct val="0"/>
              </a:spcAft>
              <a:defRPr sz="1800" kern="1200" cap="none" baseline="0">
                <a:solidFill>
                  <a:schemeClr val="accent2"/>
                </a:solidFill>
                <a:latin typeface="Arial" panose="020B0604020202020204" pitchFamily="34" charset="0"/>
                <a:ea typeface="+mj-ea"/>
                <a:cs typeface="Arial" panose="020B0604020202020204" pitchFamily="34" charset="0"/>
              </a:defRPr>
            </a:lvl1pPr>
            <a:lvl2pPr algn="l" rtl="0" eaLnBrk="0" fontAlgn="base" hangingPunct="0">
              <a:lnSpc>
                <a:spcPct val="90000"/>
              </a:lnSpc>
              <a:spcBef>
                <a:spcPct val="0"/>
              </a:spcBef>
              <a:spcAft>
                <a:spcPct val="0"/>
              </a:spcAft>
              <a:defRPr sz="4400">
                <a:solidFill>
                  <a:schemeClr val="tx1"/>
                </a:solidFill>
                <a:latin typeface="Frutiger 45 Light" charset="0"/>
              </a:defRPr>
            </a:lvl2pPr>
            <a:lvl3pPr algn="l" rtl="0" eaLnBrk="0" fontAlgn="base" hangingPunct="0">
              <a:lnSpc>
                <a:spcPct val="90000"/>
              </a:lnSpc>
              <a:spcBef>
                <a:spcPct val="0"/>
              </a:spcBef>
              <a:spcAft>
                <a:spcPct val="0"/>
              </a:spcAft>
              <a:defRPr sz="4400">
                <a:solidFill>
                  <a:schemeClr val="tx1"/>
                </a:solidFill>
                <a:latin typeface="Frutiger 45 Light" charset="0"/>
              </a:defRPr>
            </a:lvl3pPr>
            <a:lvl4pPr algn="l" rtl="0" eaLnBrk="0" fontAlgn="base" hangingPunct="0">
              <a:lnSpc>
                <a:spcPct val="90000"/>
              </a:lnSpc>
              <a:spcBef>
                <a:spcPct val="0"/>
              </a:spcBef>
              <a:spcAft>
                <a:spcPct val="0"/>
              </a:spcAft>
              <a:defRPr sz="4400">
                <a:solidFill>
                  <a:schemeClr val="tx1"/>
                </a:solidFill>
                <a:latin typeface="Frutiger 45 Light" charset="0"/>
              </a:defRPr>
            </a:lvl4pPr>
            <a:lvl5pPr algn="l" rtl="0" eaLnBrk="0" fontAlgn="base" hangingPunct="0">
              <a:lnSpc>
                <a:spcPct val="90000"/>
              </a:lnSpc>
              <a:spcBef>
                <a:spcPct val="0"/>
              </a:spcBef>
              <a:spcAft>
                <a:spcPct val="0"/>
              </a:spcAft>
              <a:defRPr sz="4400">
                <a:solidFill>
                  <a:schemeClr val="tx1"/>
                </a:solidFill>
                <a:latin typeface="Frutiger 45 Light" charset="0"/>
              </a:defRPr>
            </a:lvl5pPr>
            <a:lvl6pPr marL="457200" algn="l" rtl="0" eaLnBrk="1" fontAlgn="base" hangingPunct="1">
              <a:lnSpc>
                <a:spcPct val="90000"/>
              </a:lnSpc>
              <a:spcBef>
                <a:spcPct val="0"/>
              </a:spcBef>
              <a:spcAft>
                <a:spcPct val="0"/>
              </a:spcAft>
              <a:defRPr sz="4400">
                <a:solidFill>
                  <a:schemeClr val="tx1"/>
                </a:solidFill>
                <a:latin typeface="Frutiger 45 Light" charset="0"/>
              </a:defRPr>
            </a:lvl6pPr>
            <a:lvl7pPr marL="914400" algn="l" rtl="0" eaLnBrk="1" fontAlgn="base" hangingPunct="1">
              <a:lnSpc>
                <a:spcPct val="90000"/>
              </a:lnSpc>
              <a:spcBef>
                <a:spcPct val="0"/>
              </a:spcBef>
              <a:spcAft>
                <a:spcPct val="0"/>
              </a:spcAft>
              <a:defRPr sz="4400">
                <a:solidFill>
                  <a:schemeClr val="tx1"/>
                </a:solidFill>
                <a:latin typeface="Frutiger 45 Light" charset="0"/>
              </a:defRPr>
            </a:lvl7pPr>
            <a:lvl8pPr marL="1371600" algn="l" rtl="0" eaLnBrk="1" fontAlgn="base" hangingPunct="1">
              <a:lnSpc>
                <a:spcPct val="90000"/>
              </a:lnSpc>
              <a:spcBef>
                <a:spcPct val="0"/>
              </a:spcBef>
              <a:spcAft>
                <a:spcPct val="0"/>
              </a:spcAft>
              <a:defRPr sz="4400">
                <a:solidFill>
                  <a:schemeClr val="tx1"/>
                </a:solidFill>
                <a:latin typeface="Frutiger 45 Light" charset="0"/>
              </a:defRPr>
            </a:lvl8pPr>
            <a:lvl9pPr marL="1828800" algn="l" rtl="0" eaLnBrk="1" fontAlgn="base" hangingPunct="1">
              <a:lnSpc>
                <a:spcPct val="90000"/>
              </a:lnSpc>
              <a:spcBef>
                <a:spcPct val="0"/>
              </a:spcBef>
              <a:spcAft>
                <a:spcPct val="0"/>
              </a:spcAft>
              <a:defRPr sz="4400">
                <a:solidFill>
                  <a:schemeClr val="tx1"/>
                </a:solidFill>
                <a:latin typeface="Frutiger 45 Light" charset="0"/>
              </a:defRPr>
            </a:lvl9pPr>
          </a:lstStyle>
          <a:p>
            <a:r>
              <a:rPr lang="pt-BR" b="1" dirty="0" smtClean="0">
                <a:solidFill>
                  <a:srgbClr val="7F7F7F"/>
                </a:solidFill>
                <a:latin typeface="Arial" charset="0"/>
                <a:ea typeface="+mn-ea"/>
                <a:cs typeface="+mn-cs"/>
              </a:rPr>
              <a:t>Renato Kechichian</a:t>
            </a:r>
          </a:p>
          <a:p>
            <a:r>
              <a:rPr lang="pt-BR" sz="1400" dirty="0" smtClean="0">
                <a:solidFill>
                  <a:srgbClr val="7F7F7F"/>
                </a:solidFill>
                <a:latin typeface="Arial" charset="0"/>
                <a:ea typeface="+mn-ea"/>
                <a:cs typeface="+mn-cs"/>
              </a:rPr>
              <a:t>Trader</a:t>
            </a:r>
            <a:endParaRPr lang="pt-BR" sz="1400" dirty="0">
              <a:solidFill>
                <a:srgbClr val="7F7F7F"/>
              </a:solidFill>
              <a:latin typeface="Arial" charset="0"/>
              <a:ea typeface="+mn-ea"/>
              <a:cs typeface="+mn-cs"/>
            </a:endParaRPr>
          </a:p>
        </p:txBody>
      </p:sp>
      <p:sp>
        <p:nvSpPr>
          <p:cNvPr id="22" name="Title 1"/>
          <p:cNvSpPr txBox="1">
            <a:spLocks/>
          </p:cNvSpPr>
          <p:nvPr/>
        </p:nvSpPr>
        <p:spPr>
          <a:xfrm>
            <a:off x="1025205" y="4583193"/>
            <a:ext cx="6493968" cy="197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lvl1pPr algn="l" rtl="0" eaLnBrk="0" fontAlgn="base" hangingPunct="0">
              <a:lnSpc>
                <a:spcPct val="90000"/>
              </a:lnSpc>
              <a:spcBef>
                <a:spcPct val="0"/>
              </a:spcBef>
              <a:spcAft>
                <a:spcPct val="0"/>
              </a:spcAft>
              <a:defRPr sz="1800" kern="1200" cap="none" baseline="0">
                <a:solidFill>
                  <a:schemeClr val="accent2"/>
                </a:solidFill>
                <a:latin typeface="Arial" panose="020B0604020202020204" pitchFamily="34" charset="0"/>
                <a:ea typeface="+mj-ea"/>
                <a:cs typeface="Arial" panose="020B0604020202020204" pitchFamily="34" charset="0"/>
              </a:defRPr>
            </a:lvl1pPr>
            <a:lvl2pPr algn="l" rtl="0" eaLnBrk="0" fontAlgn="base" hangingPunct="0">
              <a:lnSpc>
                <a:spcPct val="90000"/>
              </a:lnSpc>
              <a:spcBef>
                <a:spcPct val="0"/>
              </a:spcBef>
              <a:spcAft>
                <a:spcPct val="0"/>
              </a:spcAft>
              <a:defRPr sz="4400">
                <a:solidFill>
                  <a:schemeClr val="tx1"/>
                </a:solidFill>
                <a:latin typeface="Frutiger 45 Light" charset="0"/>
              </a:defRPr>
            </a:lvl2pPr>
            <a:lvl3pPr algn="l" rtl="0" eaLnBrk="0" fontAlgn="base" hangingPunct="0">
              <a:lnSpc>
                <a:spcPct val="90000"/>
              </a:lnSpc>
              <a:spcBef>
                <a:spcPct val="0"/>
              </a:spcBef>
              <a:spcAft>
                <a:spcPct val="0"/>
              </a:spcAft>
              <a:defRPr sz="4400">
                <a:solidFill>
                  <a:schemeClr val="tx1"/>
                </a:solidFill>
                <a:latin typeface="Frutiger 45 Light" charset="0"/>
              </a:defRPr>
            </a:lvl3pPr>
            <a:lvl4pPr algn="l" rtl="0" eaLnBrk="0" fontAlgn="base" hangingPunct="0">
              <a:lnSpc>
                <a:spcPct val="90000"/>
              </a:lnSpc>
              <a:spcBef>
                <a:spcPct val="0"/>
              </a:spcBef>
              <a:spcAft>
                <a:spcPct val="0"/>
              </a:spcAft>
              <a:defRPr sz="4400">
                <a:solidFill>
                  <a:schemeClr val="tx1"/>
                </a:solidFill>
                <a:latin typeface="Frutiger 45 Light" charset="0"/>
              </a:defRPr>
            </a:lvl4pPr>
            <a:lvl5pPr algn="l" rtl="0" eaLnBrk="0" fontAlgn="base" hangingPunct="0">
              <a:lnSpc>
                <a:spcPct val="90000"/>
              </a:lnSpc>
              <a:spcBef>
                <a:spcPct val="0"/>
              </a:spcBef>
              <a:spcAft>
                <a:spcPct val="0"/>
              </a:spcAft>
              <a:defRPr sz="4400">
                <a:solidFill>
                  <a:schemeClr val="tx1"/>
                </a:solidFill>
                <a:latin typeface="Frutiger 45 Light" charset="0"/>
              </a:defRPr>
            </a:lvl5pPr>
            <a:lvl6pPr marL="457200" algn="l" rtl="0" eaLnBrk="1" fontAlgn="base" hangingPunct="1">
              <a:lnSpc>
                <a:spcPct val="90000"/>
              </a:lnSpc>
              <a:spcBef>
                <a:spcPct val="0"/>
              </a:spcBef>
              <a:spcAft>
                <a:spcPct val="0"/>
              </a:spcAft>
              <a:defRPr sz="4400">
                <a:solidFill>
                  <a:schemeClr val="tx1"/>
                </a:solidFill>
                <a:latin typeface="Frutiger 45 Light" charset="0"/>
              </a:defRPr>
            </a:lvl6pPr>
            <a:lvl7pPr marL="914400" algn="l" rtl="0" eaLnBrk="1" fontAlgn="base" hangingPunct="1">
              <a:lnSpc>
                <a:spcPct val="90000"/>
              </a:lnSpc>
              <a:spcBef>
                <a:spcPct val="0"/>
              </a:spcBef>
              <a:spcAft>
                <a:spcPct val="0"/>
              </a:spcAft>
              <a:defRPr sz="4400">
                <a:solidFill>
                  <a:schemeClr val="tx1"/>
                </a:solidFill>
                <a:latin typeface="Frutiger 45 Light" charset="0"/>
              </a:defRPr>
            </a:lvl7pPr>
            <a:lvl8pPr marL="1371600" algn="l" rtl="0" eaLnBrk="1" fontAlgn="base" hangingPunct="1">
              <a:lnSpc>
                <a:spcPct val="90000"/>
              </a:lnSpc>
              <a:spcBef>
                <a:spcPct val="0"/>
              </a:spcBef>
              <a:spcAft>
                <a:spcPct val="0"/>
              </a:spcAft>
              <a:defRPr sz="4400">
                <a:solidFill>
                  <a:schemeClr val="tx1"/>
                </a:solidFill>
                <a:latin typeface="Frutiger 45 Light" charset="0"/>
              </a:defRPr>
            </a:lvl8pPr>
            <a:lvl9pPr marL="1828800" algn="l" rtl="0" eaLnBrk="1" fontAlgn="base" hangingPunct="1">
              <a:lnSpc>
                <a:spcPct val="90000"/>
              </a:lnSpc>
              <a:spcBef>
                <a:spcPct val="0"/>
              </a:spcBef>
              <a:spcAft>
                <a:spcPct val="0"/>
              </a:spcAft>
              <a:defRPr sz="4400">
                <a:solidFill>
                  <a:schemeClr val="tx1"/>
                </a:solidFill>
                <a:latin typeface="Frutiger 45 Light" charset="0"/>
              </a:defRPr>
            </a:lvl9pPr>
          </a:lstStyle>
          <a:p>
            <a:r>
              <a:rPr lang="pt-BR" sz="1400" b="1" dirty="0" smtClean="0">
                <a:solidFill>
                  <a:srgbClr val="7F7F7F"/>
                </a:solidFill>
                <a:latin typeface="Arial" charset="0"/>
                <a:ea typeface="+mn-ea"/>
                <a:cs typeface="+mn-cs"/>
              </a:rPr>
              <a:t>Fabrício Larguesa</a:t>
            </a:r>
          </a:p>
          <a:p>
            <a:r>
              <a:rPr lang="pt-BR" sz="1400" dirty="0" smtClean="0">
                <a:solidFill>
                  <a:srgbClr val="7F7F7F"/>
                </a:solidFill>
                <a:latin typeface="Arial" charset="0"/>
                <a:ea typeface="+mn-ea"/>
                <a:cs typeface="+mn-cs"/>
              </a:rPr>
              <a:t>Trader</a:t>
            </a:r>
            <a:endParaRPr lang="pt-BR" sz="1400" dirty="0">
              <a:solidFill>
                <a:srgbClr val="7F7F7F"/>
              </a:solidFill>
              <a:latin typeface="Arial" charset="0"/>
              <a:ea typeface="+mn-ea"/>
              <a:cs typeface="+mn-cs"/>
            </a:endParaRPr>
          </a:p>
        </p:txBody>
      </p:sp>
      <p:sp>
        <p:nvSpPr>
          <p:cNvPr id="23" name="Title 1"/>
          <p:cNvSpPr txBox="1">
            <a:spLocks/>
          </p:cNvSpPr>
          <p:nvPr/>
        </p:nvSpPr>
        <p:spPr>
          <a:xfrm>
            <a:off x="4103779" y="2614160"/>
            <a:ext cx="6870931" cy="2089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lvl1pPr algn="l" rtl="0" eaLnBrk="0" fontAlgn="base" hangingPunct="0">
              <a:lnSpc>
                <a:spcPct val="90000"/>
              </a:lnSpc>
              <a:spcBef>
                <a:spcPct val="0"/>
              </a:spcBef>
              <a:spcAft>
                <a:spcPct val="0"/>
              </a:spcAft>
              <a:defRPr sz="1800" kern="1200" cap="none" baseline="0">
                <a:solidFill>
                  <a:schemeClr val="accent2"/>
                </a:solidFill>
                <a:latin typeface="Arial" panose="020B0604020202020204" pitchFamily="34" charset="0"/>
                <a:ea typeface="+mj-ea"/>
                <a:cs typeface="Arial" panose="020B0604020202020204" pitchFamily="34" charset="0"/>
              </a:defRPr>
            </a:lvl1pPr>
            <a:lvl2pPr algn="l" rtl="0" eaLnBrk="0" fontAlgn="base" hangingPunct="0">
              <a:lnSpc>
                <a:spcPct val="90000"/>
              </a:lnSpc>
              <a:spcBef>
                <a:spcPct val="0"/>
              </a:spcBef>
              <a:spcAft>
                <a:spcPct val="0"/>
              </a:spcAft>
              <a:defRPr sz="4400">
                <a:solidFill>
                  <a:schemeClr val="tx1"/>
                </a:solidFill>
                <a:latin typeface="Frutiger 45 Light" charset="0"/>
              </a:defRPr>
            </a:lvl2pPr>
            <a:lvl3pPr algn="l" rtl="0" eaLnBrk="0" fontAlgn="base" hangingPunct="0">
              <a:lnSpc>
                <a:spcPct val="90000"/>
              </a:lnSpc>
              <a:spcBef>
                <a:spcPct val="0"/>
              </a:spcBef>
              <a:spcAft>
                <a:spcPct val="0"/>
              </a:spcAft>
              <a:defRPr sz="4400">
                <a:solidFill>
                  <a:schemeClr val="tx1"/>
                </a:solidFill>
                <a:latin typeface="Frutiger 45 Light" charset="0"/>
              </a:defRPr>
            </a:lvl3pPr>
            <a:lvl4pPr algn="l" rtl="0" eaLnBrk="0" fontAlgn="base" hangingPunct="0">
              <a:lnSpc>
                <a:spcPct val="90000"/>
              </a:lnSpc>
              <a:spcBef>
                <a:spcPct val="0"/>
              </a:spcBef>
              <a:spcAft>
                <a:spcPct val="0"/>
              </a:spcAft>
              <a:defRPr sz="4400">
                <a:solidFill>
                  <a:schemeClr val="tx1"/>
                </a:solidFill>
                <a:latin typeface="Frutiger 45 Light" charset="0"/>
              </a:defRPr>
            </a:lvl4pPr>
            <a:lvl5pPr algn="l" rtl="0" eaLnBrk="0" fontAlgn="base" hangingPunct="0">
              <a:lnSpc>
                <a:spcPct val="90000"/>
              </a:lnSpc>
              <a:spcBef>
                <a:spcPct val="0"/>
              </a:spcBef>
              <a:spcAft>
                <a:spcPct val="0"/>
              </a:spcAft>
              <a:defRPr sz="4400">
                <a:solidFill>
                  <a:schemeClr val="tx1"/>
                </a:solidFill>
                <a:latin typeface="Frutiger 45 Light" charset="0"/>
              </a:defRPr>
            </a:lvl5pPr>
            <a:lvl6pPr marL="457200" algn="l" rtl="0" eaLnBrk="1" fontAlgn="base" hangingPunct="1">
              <a:lnSpc>
                <a:spcPct val="90000"/>
              </a:lnSpc>
              <a:spcBef>
                <a:spcPct val="0"/>
              </a:spcBef>
              <a:spcAft>
                <a:spcPct val="0"/>
              </a:spcAft>
              <a:defRPr sz="4400">
                <a:solidFill>
                  <a:schemeClr val="tx1"/>
                </a:solidFill>
                <a:latin typeface="Frutiger 45 Light" charset="0"/>
              </a:defRPr>
            </a:lvl6pPr>
            <a:lvl7pPr marL="914400" algn="l" rtl="0" eaLnBrk="1" fontAlgn="base" hangingPunct="1">
              <a:lnSpc>
                <a:spcPct val="90000"/>
              </a:lnSpc>
              <a:spcBef>
                <a:spcPct val="0"/>
              </a:spcBef>
              <a:spcAft>
                <a:spcPct val="0"/>
              </a:spcAft>
              <a:defRPr sz="4400">
                <a:solidFill>
                  <a:schemeClr val="tx1"/>
                </a:solidFill>
                <a:latin typeface="Frutiger 45 Light" charset="0"/>
              </a:defRPr>
            </a:lvl7pPr>
            <a:lvl8pPr marL="1371600" algn="l" rtl="0" eaLnBrk="1" fontAlgn="base" hangingPunct="1">
              <a:lnSpc>
                <a:spcPct val="90000"/>
              </a:lnSpc>
              <a:spcBef>
                <a:spcPct val="0"/>
              </a:spcBef>
              <a:spcAft>
                <a:spcPct val="0"/>
              </a:spcAft>
              <a:defRPr sz="4400">
                <a:solidFill>
                  <a:schemeClr val="tx1"/>
                </a:solidFill>
                <a:latin typeface="Frutiger 45 Light" charset="0"/>
              </a:defRPr>
            </a:lvl8pPr>
            <a:lvl9pPr marL="1828800" algn="l" rtl="0" eaLnBrk="1" fontAlgn="base" hangingPunct="1">
              <a:lnSpc>
                <a:spcPct val="90000"/>
              </a:lnSpc>
              <a:spcBef>
                <a:spcPct val="0"/>
              </a:spcBef>
              <a:spcAft>
                <a:spcPct val="0"/>
              </a:spcAft>
              <a:defRPr sz="4400">
                <a:solidFill>
                  <a:schemeClr val="tx1"/>
                </a:solidFill>
                <a:latin typeface="Frutiger 45 Light" charset="0"/>
              </a:defRPr>
            </a:lvl9pPr>
          </a:lstStyle>
          <a:p>
            <a:r>
              <a:rPr lang="pt-BR" b="1" dirty="0" smtClean="0">
                <a:solidFill>
                  <a:srgbClr val="7F7F7F"/>
                </a:solidFill>
                <a:latin typeface="Arial" charset="0"/>
                <a:ea typeface="+mn-ea"/>
                <a:cs typeface="+mn-cs"/>
              </a:rPr>
              <a:t>Lucas Stella</a:t>
            </a:r>
          </a:p>
          <a:p>
            <a:r>
              <a:rPr lang="pt-BR" sz="1400" dirty="0" smtClean="0">
                <a:solidFill>
                  <a:srgbClr val="7F7F7F"/>
                </a:solidFill>
                <a:latin typeface="Arial" charset="0"/>
                <a:ea typeface="+mn-ea"/>
                <a:cs typeface="+mn-cs"/>
              </a:rPr>
              <a:t>Analista de Consumo, </a:t>
            </a:r>
          </a:p>
          <a:p>
            <a:r>
              <a:rPr lang="pt-BR" sz="1400" dirty="0" smtClean="0">
                <a:solidFill>
                  <a:srgbClr val="7F7F7F"/>
                </a:solidFill>
                <a:latin typeface="Arial" charset="0"/>
                <a:ea typeface="+mn-ea"/>
                <a:cs typeface="+mn-cs"/>
              </a:rPr>
              <a:t>Varejo e Alimentos</a:t>
            </a:r>
            <a:endParaRPr lang="pt-BR" sz="1400" dirty="0">
              <a:solidFill>
                <a:srgbClr val="7F7F7F"/>
              </a:solidFill>
              <a:latin typeface="Arial" charset="0"/>
              <a:ea typeface="+mn-ea"/>
              <a:cs typeface="+mn-cs"/>
            </a:endParaRPr>
          </a:p>
        </p:txBody>
      </p:sp>
      <p:sp>
        <p:nvSpPr>
          <p:cNvPr id="24" name="Title 1"/>
          <p:cNvSpPr txBox="1">
            <a:spLocks/>
          </p:cNvSpPr>
          <p:nvPr/>
        </p:nvSpPr>
        <p:spPr>
          <a:xfrm>
            <a:off x="7341067" y="2603457"/>
            <a:ext cx="2556000" cy="2089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lvl1pPr algn="l" rtl="0" eaLnBrk="0" fontAlgn="base" hangingPunct="0">
              <a:lnSpc>
                <a:spcPct val="90000"/>
              </a:lnSpc>
              <a:spcBef>
                <a:spcPct val="0"/>
              </a:spcBef>
              <a:spcAft>
                <a:spcPct val="0"/>
              </a:spcAft>
              <a:defRPr sz="1800" kern="1200" cap="none" baseline="0">
                <a:solidFill>
                  <a:schemeClr val="accent2"/>
                </a:solidFill>
                <a:latin typeface="Arial" panose="020B0604020202020204" pitchFamily="34" charset="0"/>
                <a:ea typeface="+mj-ea"/>
                <a:cs typeface="Arial" panose="020B0604020202020204" pitchFamily="34" charset="0"/>
              </a:defRPr>
            </a:lvl1pPr>
            <a:lvl2pPr algn="l" rtl="0" eaLnBrk="0" fontAlgn="base" hangingPunct="0">
              <a:lnSpc>
                <a:spcPct val="90000"/>
              </a:lnSpc>
              <a:spcBef>
                <a:spcPct val="0"/>
              </a:spcBef>
              <a:spcAft>
                <a:spcPct val="0"/>
              </a:spcAft>
              <a:defRPr sz="4400">
                <a:solidFill>
                  <a:schemeClr val="tx1"/>
                </a:solidFill>
                <a:latin typeface="Frutiger 45 Light" charset="0"/>
              </a:defRPr>
            </a:lvl2pPr>
            <a:lvl3pPr algn="l" rtl="0" eaLnBrk="0" fontAlgn="base" hangingPunct="0">
              <a:lnSpc>
                <a:spcPct val="90000"/>
              </a:lnSpc>
              <a:spcBef>
                <a:spcPct val="0"/>
              </a:spcBef>
              <a:spcAft>
                <a:spcPct val="0"/>
              </a:spcAft>
              <a:defRPr sz="4400">
                <a:solidFill>
                  <a:schemeClr val="tx1"/>
                </a:solidFill>
                <a:latin typeface="Frutiger 45 Light" charset="0"/>
              </a:defRPr>
            </a:lvl3pPr>
            <a:lvl4pPr algn="l" rtl="0" eaLnBrk="0" fontAlgn="base" hangingPunct="0">
              <a:lnSpc>
                <a:spcPct val="90000"/>
              </a:lnSpc>
              <a:spcBef>
                <a:spcPct val="0"/>
              </a:spcBef>
              <a:spcAft>
                <a:spcPct val="0"/>
              </a:spcAft>
              <a:defRPr sz="4400">
                <a:solidFill>
                  <a:schemeClr val="tx1"/>
                </a:solidFill>
                <a:latin typeface="Frutiger 45 Light" charset="0"/>
              </a:defRPr>
            </a:lvl4pPr>
            <a:lvl5pPr algn="l" rtl="0" eaLnBrk="0" fontAlgn="base" hangingPunct="0">
              <a:lnSpc>
                <a:spcPct val="90000"/>
              </a:lnSpc>
              <a:spcBef>
                <a:spcPct val="0"/>
              </a:spcBef>
              <a:spcAft>
                <a:spcPct val="0"/>
              </a:spcAft>
              <a:defRPr sz="4400">
                <a:solidFill>
                  <a:schemeClr val="tx1"/>
                </a:solidFill>
                <a:latin typeface="Frutiger 45 Light" charset="0"/>
              </a:defRPr>
            </a:lvl5pPr>
            <a:lvl6pPr marL="457200" algn="l" rtl="0" eaLnBrk="1" fontAlgn="base" hangingPunct="1">
              <a:lnSpc>
                <a:spcPct val="90000"/>
              </a:lnSpc>
              <a:spcBef>
                <a:spcPct val="0"/>
              </a:spcBef>
              <a:spcAft>
                <a:spcPct val="0"/>
              </a:spcAft>
              <a:defRPr sz="4400">
                <a:solidFill>
                  <a:schemeClr val="tx1"/>
                </a:solidFill>
                <a:latin typeface="Frutiger 45 Light" charset="0"/>
              </a:defRPr>
            </a:lvl6pPr>
            <a:lvl7pPr marL="914400" algn="l" rtl="0" eaLnBrk="1" fontAlgn="base" hangingPunct="1">
              <a:lnSpc>
                <a:spcPct val="90000"/>
              </a:lnSpc>
              <a:spcBef>
                <a:spcPct val="0"/>
              </a:spcBef>
              <a:spcAft>
                <a:spcPct val="0"/>
              </a:spcAft>
              <a:defRPr sz="4400">
                <a:solidFill>
                  <a:schemeClr val="tx1"/>
                </a:solidFill>
                <a:latin typeface="Frutiger 45 Light" charset="0"/>
              </a:defRPr>
            </a:lvl7pPr>
            <a:lvl8pPr marL="1371600" algn="l" rtl="0" eaLnBrk="1" fontAlgn="base" hangingPunct="1">
              <a:lnSpc>
                <a:spcPct val="90000"/>
              </a:lnSpc>
              <a:spcBef>
                <a:spcPct val="0"/>
              </a:spcBef>
              <a:spcAft>
                <a:spcPct val="0"/>
              </a:spcAft>
              <a:defRPr sz="4400">
                <a:solidFill>
                  <a:schemeClr val="tx1"/>
                </a:solidFill>
                <a:latin typeface="Frutiger 45 Light" charset="0"/>
              </a:defRPr>
            </a:lvl8pPr>
            <a:lvl9pPr marL="1828800" algn="l" rtl="0" eaLnBrk="1" fontAlgn="base" hangingPunct="1">
              <a:lnSpc>
                <a:spcPct val="90000"/>
              </a:lnSpc>
              <a:spcBef>
                <a:spcPct val="0"/>
              </a:spcBef>
              <a:spcAft>
                <a:spcPct val="0"/>
              </a:spcAft>
              <a:defRPr sz="4400">
                <a:solidFill>
                  <a:schemeClr val="tx1"/>
                </a:solidFill>
                <a:latin typeface="Frutiger 45 Light" charset="0"/>
              </a:defRPr>
            </a:lvl9pPr>
          </a:lstStyle>
          <a:p>
            <a:r>
              <a:rPr lang="pt-BR" b="1" dirty="0" smtClean="0">
                <a:solidFill>
                  <a:srgbClr val="7F7F7F"/>
                </a:solidFill>
                <a:latin typeface="Arial" charset="0"/>
                <a:ea typeface="+mn-ea"/>
                <a:cs typeface="+mn-cs"/>
              </a:rPr>
              <a:t>Tales Freire</a:t>
            </a:r>
          </a:p>
          <a:p>
            <a:r>
              <a:rPr lang="pt-BR" sz="1400" dirty="0" smtClean="0">
                <a:solidFill>
                  <a:srgbClr val="7F7F7F"/>
                </a:solidFill>
                <a:latin typeface="Arial" charset="0"/>
                <a:ea typeface="+mn-ea"/>
                <a:cs typeface="+mn-cs"/>
              </a:rPr>
              <a:t>Analista de Utilities,</a:t>
            </a:r>
          </a:p>
          <a:p>
            <a:r>
              <a:rPr lang="pt-BR" sz="1400" dirty="0" smtClean="0">
                <a:solidFill>
                  <a:srgbClr val="7F7F7F"/>
                </a:solidFill>
                <a:latin typeface="Arial" charset="0"/>
                <a:ea typeface="+mn-ea"/>
                <a:cs typeface="+mn-cs"/>
              </a:rPr>
              <a:t>Telecom e Educação</a:t>
            </a:r>
            <a:endParaRPr lang="pt-BR" sz="1400" dirty="0">
              <a:solidFill>
                <a:srgbClr val="7F7F7F"/>
              </a:solidFill>
              <a:latin typeface="Arial" charset="0"/>
              <a:ea typeface="+mn-ea"/>
              <a:cs typeface="+mn-cs"/>
            </a:endParaRPr>
          </a:p>
        </p:txBody>
      </p:sp>
      <p:sp>
        <p:nvSpPr>
          <p:cNvPr id="25" name="Title 1"/>
          <p:cNvSpPr txBox="1">
            <a:spLocks/>
          </p:cNvSpPr>
          <p:nvPr/>
        </p:nvSpPr>
        <p:spPr>
          <a:xfrm>
            <a:off x="4103778" y="4571985"/>
            <a:ext cx="6870931" cy="2089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lvl1pPr algn="l" rtl="0" eaLnBrk="0" fontAlgn="base" hangingPunct="0">
              <a:lnSpc>
                <a:spcPct val="90000"/>
              </a:lnSpc>
              <a:spcBef>
                <a:spcPct val="0"/>
              </a:spcBef>
              <a:spcAft>
                <a:spcPct val="0"/>
              </a:spcAft>
              <a:defRPr sz="1800" kern="1200" cap="none" baseline="0">
                <a:solidFill>
                  <a:schemeClr val="accent2"/>
                </a:solidFill>
                <a:latin typeface="Arial" panose="020B0604020202020204" pitchFamily="34" charset="0"/>
                <a:ea typeface="+mj-ea"/>
                <a:cs typeface="Arial" panose="020B0604020202020204" pitchFamily="34" charset="0"/>
              </a:defRPr>
            </a:lvl1pPr>
            <a:lvl2pPr algn="l" rtl="0" eaLnBrk="0" fontAlgn="base" hangingPunct="0">
              <a:lnSpc>
                <a:spcPct val="90000"/>
              </a:lnSpc>
              <a:spcBef>
                <a:spcPct val="0"/>
              </a:spcBef>
              <a:spcAft>
                <a:spcPct val="0"/>
              </a:spcAft>
              <a:defRPr sz="4400">
                <a:solidFill>
                  <a:schemeClr val="tx1"/>
                </a:solidFill>
                <a:latin typeface="Frutiger 45 Light" charset="0"/>
              </a:defRPr>
            </a:lvl2pPr>
            <a:lvl3pPr algn="l" rtl="0" eaLnBrk="0" fontAlgn="base" hangingPunct="0">
              <a:lnSpc>
                <a:spcPct val="90000"/>
              </a:lnSpc>
              <a:spcBef>
                <a:spcPct val="0"/>
              </a:spcBef>
              <a:spcAft>
                <a:spcPct val="0"/>
              </a:spcAft>
              <a:defRPr sz="4400">
                <a:solidFill>
                  <a:schemeClr val="tx1"/>
                </a:solidFill>
                <a:latin typeface="Frutiger 45 Light" charset="0"/>
              </a:defRPr>
            </a:lvl3pPr>
            <a:lvl4pPr algn="l" rtl="0" eaLnBrk="0" fontAlgn="base" hangingPunct="0">
              <a:lnSpc>
                <a:spcPct val="90000"/>
              </a:lnSpc>
              <a:spcBef>
                <a:spcPct val="0"/>
              </a:spcBef>
              <a:spcAft>
                <a:spcPct val="0"/>
              </a:spcAft>
              <a:defRPr sz="4400">
                <a:solidFill>
                  <a:schemeClr val="tx1"/>
                </a:solidFill>
                <a:latin typeface="Frutiger 45 Light" charset="0"/>
              </a:defRPr>
            </a:lvl4pPr>
            <a:lvl5pPr algn="l" rtl="0" eaLnBrk="0" fontAlgn="base" hangingPunct="0">
              <a:lnSpc>
                <a:spcPct val="90000"/>
              </a:lnSpc>
              <a:spcBef>
                <a:spcPct val="0"/>
              </a:spcBef>
              <a:spcAft>
                <a:spcPct val="0"/>
              </a:spcAft>
              <a:defRPr sz="4400">
                <a:solidFill>
                  <a:schemeClr val="tx1"/>
                </a:solidFill>
                <a:latin typeface="Frutiger 45 Light" charset="0"/>
              </a:defRPr>
            </a:lvl5pPr>
            <a:lvl6pPr marL="457200" algn="l" rtl="0" eaLnBrk="1" fontAlgn="base" hangingPunct="1">
              <a:lnSpc>
                <a:spcPct val="90000"/>
              </a:lnSpc>
              <a:spcBef>
                <a:spcPct val="0"/>
              </a:spcBef>
              <a:spcAft>
                <a:spcPct val="0"/>
              </a:spcAft>
              <a:defRPr sz="4400">
                <a:solidFill>
                  <a:schemeClr val="tx1"/>
                </a:solidFill>
                <a:latin typeface="Frutiger 45 Light" charset="0"/>
              </a:defRPr>
            </a:lvl6pPr>
            <a:lvl7pPr marL="914400" algn="l" rtl="0" eaLnBrk="1" fontAlgn="base" hangingPunct="1">
              <a:lnSpc>
                <a:spcPct val="90000"/>
              </a:lnSpc>
              <a:spcBef>
                <a:spcPct val="0"/>
              </a:spcBef>
              <a:spcAft>
                <a:spcPct val="0"/>
              </a:spcAft>
              <a:defRPr sz="4400">
                <a:solidFill>
                  <a:schemeClr val="tx1"/>
                </a:solidFill>
                <a:latin typeface="Frutiger 45 Light" charset="0"/>
              </a:defRPr>
            </a:lvl7pPr>
            <a:lvl8pPr marL="1371600" algn="l" rtl="0" eaLnBrk="1" fontAlgn="base" hangingPunct="1">
              <a:lnSpc>
                <a:spcPct val="90000"/>
              </a:lnSpc>
              <a:spcBef>
                <a:spcPct val="0"/>
              </a:spcBef>
              <a:spcAft>
                <a:spcPct val="0"/>
              </a:spcAft>
              <a:defRPr sz="4400">
                <a:solidFill>
                  <a:schemeClr val="tx1"/>
                </a:solidFill>
                <a:latin typeface="Frutiger 45 Light" charset="0"/>
              </a:defRPr>
            </a:lvl8pPr>
            <a:lvl9pPr marL="1828800" algn="l" rtl="0" eaLnBrk="1" fontAlgn="base" hangingPunct="1">
              <a:lnSpc>
                <a:spcPct val="90000"/>
              </a:lnSpc>
              <a:spcBef>
                <a:spcPct val="0"/>
              </a:spcBef>
              <a:spcAft>
                <a:spcPct val="0"/>
              </a:spcAft>
              <a:defRPr sz="4400">
                <a:solidFill>
                  <a:schemeClr val="tx1"/>
                </a:solidFill>
                <a:latin typeface="Frutiger 45 Light" charset="0"/>
              </a:defRPr>
            </a:lvl9pPr>
          </a:lstStyle>
          <a:p>
            <a:r>
              <a:rPr lang="pt-BR" b="1" dirty="0" smtClean="0">
                <a:solidFill>
                  <a:srgbClr val="7F7F7F"/>
                </a:solidFill>
                <a:latin typeface="Arial" charset="0"/>
                <a:ea typeface="+mn-ea"/>
                <a:cs typeface="+mn-cs"/>
              </a:rPr>
              <a:t>Luzia Hirata</a:t>
            </a:r>
          </a:p>
          <a:p>
            <a:r>
              <a:rPr lang="pt-BR" sz="1400" dirty="0" smtClean="0">
                <a:solidFill>
                  <a:srgbClr val="7F7F7F"/>
                </a:solidFill>
                <a:latin typeface="Arial" charset="0"/>
                <a:ea typeface="+mn-ea"/>
                <a:cs typeface="+mn-cs"/>
              </a:rPr>
              <a:t>Analista de </a:t>
            </a:r>
          </a:p>
          <a:p>
            <a:r>
              <a:rPr lang="pt-BR" sz="1400" dirty="0" smtClean="0">
                <a:solidFill>
                  <a:srgbClr val="7F7F7F"/>
                </a:solidFill>
                <a:latin typeface="Arial" charset="0"/>
                <a:ea typeface="+mn-ea"/>
                <a:cs typeface="+mn-cs"/>
              </a:rPr>
              <a:t>Sustentabilidade</a:t>
            </a:r>
            <a:endParaRPr lang="pt-BR" sz="1400" dirty="0">
              <a:solidFill>
                <a:srgbClr val="7F7F7F"/>
              </a:solidFill>
              <a:latin typeface="Arial" charset="0"/>
              <a:ea typeface="+mn-ea"/>
              <a:cs typeface="+mn-cs"/>
            </a:endParaRPr>
          </a:p>
        </p:txBody>
      </p:sp>
      <p:sp>
        <p:nvSpPr>
          <p:cNvPr id="26" name="Title 1"/>
          <p:cNvSpPr txBox="1">
            <a:spLocks/>
          </p:cNvSpPr>
          <p:nvPr/>
        </p:nvSpPr>
        <p:spPr>
          <a:xfrm>
            <a:off x="4103778" y="3552474"/>
            <a:ext cx="6870931" cy="2089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lvl1pPr algn="l" rtl="0" eaLnBrk="0" fontAlgn="base" hangingPunct="0">
              <a:lnSpc>
                <a:spcPct val="90000"/>
              </a:lnSpc>
              <a:spcBef>
                <a:spcPct val="0"/>
              </a:spcBef>
              <a:spcAft>
                <a:spcPct val="0"/>
              </a:spcAft>
              <a:defRPr sz="1800" kern="1200" cap="none" baseline="0">
                <a:solidFill>
                  <a:schemeClr val="accent2"/>
                </a:solidFill>
                <a:latin typeface="Arial" panose="020B0604020202020204" pitchFamily="34" charset="0"/>
                <a:ea typeface="+mj-ea"/>
                <a:cs typeface="Arial" panose="020B0604020202020204" pitchFamily="34" charset="0"/>
              </a:defRPr>
            </a:lvl1pPr>
            <a:lvl2pPr algn="l" rtl="0" eaLnBrk="0" fontAlgn="base" hangingPunct="0">
              <a:lnSpc>
                <a:spcPct val="90000"/>
              </a:lnSpc>
              <a:spcBef>
                <a:spcPct val="0"/>
              </a:spcBef>
              <a:spcAft>
                <a:spcPct val="0"/>
              </a:spcAft>
              <a:defRPr sz="4400">
                <a:solidFill>
                  <a:schemeClr val="tx1"/>
                </a:solidFill>
                <a:latin typeface="Frutiger 45 Light" charset="0"/>
              </a:defRPr>
            </a:lvl2pPr>
            <a:lvl3pPr algn="l" rtl="0" eaLnBrk="0" fontAlgn="base" hangingPunct="0">
              <a:lnSpc>
                <a:spcPct val="90000"/>
              </a:lnSpc>
              <a:spcBef>
                <a:spcPct val="0"/>
              </a:spcBef>
              <a:spcAft>
                <a:spcPct val="0"/>
              </a:spcAft>
              <a:defRPr sz="4400">
                <a:solidFill>
                  <a:schemeClr val="tx1"/>
                </a:solidFill>
                <a:latin typeface="Frutiger 45 Light" charset="0"/>
              </a:defRPr>
            </a:lvl3pPr>
            <a:lvl4pPr algn="l" rtl="0" eaLnBrk="0" fontAlgn="base" hangingPunct="0">
              <a:lnSpc>
                <a:spcPct val="90000"/>
              </a:lnSpc>
              <a:spcBef>
                <a:spcPct val="0"/>
              </a:spcBef>
              <a:spcAft>
                <a:spcPct val="0"/>
              </a:spcAft>
              <a:defRPr sz="4400">
                <a:solidFill>
                  <a:schemeClr val="tx1"/>
                </a:solidFill>
                <a:latin typeface="Frutiger 45 Light" charset="0"/>
              </a:defRPr>
            </a:lvl4pPr>
            <a:lvl5pPr algn="l" rtl="0" eaLnBrk="0" fontAlgn="base" hangingPunct="0">
              <a:lnSpc>
                <a:spcPct val="90000"/>
              </a:lnSpc>
              <a:spcBef>
                <a:spcPct val="0"/>
              </a:spcBef>
              <a:spcAft>
                <a:spcPct val="0"/>
              </a:spcAft>
              <a:defRPr sz="4400">
                <a:solidFill>
                  <a:schemeClr val="tx1"/>
                </a:solidFill>
                <a:latin typeface="Frutiger 45 Light" charset="0"/>
              </a:defRPr>
            </a:lvl5pPr>
            <a:lvl6pPr marL="457200" algn="l" rtl="0" eaLnBrk="1" fontAlgn="base" hangingPunct="1">
              <a:lnSpc>
                <a:spcPct val="90000"/>
              </a:lnSpc>
              <a:spcBef>
                <a:spcPct val="0"/>
              </a:spcBef>
              <a:spcAft>
                <a:spcPct val="0"/>
              </a:spcAft>
              <a:defRPr sz="4400">
                <a:solidFill>
                  <a:schemeClr val="tx1"/>
                </a:solidFill>
                <a:latin typeface="Frutiger 45 Light" charset="0"/>
              </a:defRPr>
            </a:lvl6pPr>
            <a:lvl7pPr marL="914400" algn="l" rtl="0" eaLnBrk="1" fontAlgn="base" hangingPunct="1">
              <a:lnSpc>
                <a:spcPct val="90000"/>
              </a:lnSpc>
              <a:spcBef>
                <a:spcPct val="0"/>
              </a:spcBef>
              <a:spcAft>
                <a:spcPct val="0"/>
              </a:spcAft>
              <a:defRPr sz="4400">
                <a:solidFill>
                  <a:schemeClr val="tx1"/>
                </a:solidFill>
                <a:latin typeface="Frutiger 45 Light" charset="0"/>
              </a:defRPr>
            </a:lvl7pPr>
            <a:lvl8pPr marL="1371600" algn="l" rtl="0" eaLnBrk="1" fontAlgn="base" hangingPunct="1">
              <a:lnSpc>
                <a:spcPct val="90000"/>
              </a:lnSpc>
              <a:spcBef>
                <a:spcPct val="0"/>
              </a:spcBef>
              <a:spcAft>
                <a:spcPct val="0"/>
              </a:spcAft>
              <a:defRPr sz="4400">
                <a:solidFill>
                  <a:schemeClr val="tx1"/>
                </a:solidFill>
                <a:latin typeface="Frutiger 45 Light" charset="0"/>
              </a:defRPr>
            </a:lvl8pPr>
            <a:lvl9pPr marL="1828800" algn="l" rtl="0" eaLnBrk="1" fontAlgn="base" hangingPunct="1">
              <a:lnSpc>
                <a:spcPct val="90000"/>
              </a:lnSpc>
              <a:spcBef>
                <a:spcPct val="0"/>
              </a:spcBef>
              <a:spcAft>
                <a:spcPct val="0"/>
              </a:spcAft>
              <a:defRPr sz="4400">
                <a:solidFill>
                  <a:schemeClr val="tx1"/>
                </a:solidFill>
                <a:latin typeface="Frutiger 45 Light" charset="0"/>
              </a:defRPr>
            </a:lvl9pPr>
          </a:lstStyle>
          <a:p>
            <a:r>
              <a:rPr lang="pt-BR" b="1" dirty="0" smtClean="0">
                <a:solidFill>
                  <a:srgbClr val="7F7F7F"/>
                </a:solidFill>
                <a:latin typeface="Arial" charset="0"/>
                <a:ea typeface="+mn-ea"/>
                <a:cs typeface="+mn-cs"/>
              </a:rPr>
              <a:t>Rodrigo Rombalde</a:t>
            </a:r>
          </a:p>
          <a:p>
            <a:r>
              <a:rPr lang="pt-BR" sz="1400" dirty="0" smtClean="0">
                <a:solidFill>
                  <a:srgbClr val="7F7F7F"/>
                </a:solidFill>
                <a:latin typeface="Arial" charset="0"/>
                <a:ea typeface="+mn-ea"/>
                <a:cs typeface="+mn-cs"/>
              </a:rPr>
              <a:t>Analista de Shoppings,</a:t>
            </a:r>
          </a:p>
          <a:p>
            <a:r>
              <a:rPr lang="pt-BR" sz="1400" dirty="0" smtClean="0">
                <a:solidFill>
                  <a:srgbClr val="7F7F7F"/>
                </a:solidFill>
                <a:latin typeface="Arial" charset="0"/>
                <a:ea typeface="+mn-ea"/>
                <a:cs typeface="+mn-cs"/>
              </a:rPr>
              <a:t>Transportes e Combustíveis</a:t>
            </a:r>
            <a:endParaRPr lang="pt-BR" sz="1400" dirty="0">
              <a:solidFill>
                <a:srgbClr val="7F7F7F"/>
              </a:solidFill>
              <a:latin typeface="Arial" charset="0"/>
              <a:ea typeface="+mn-ea"/>
              <a:cs typeface="+mn-cs"/>
            </a:endParaRPr>
          </a:p>
        </p:txBody>
      </p:sp>
      <p:sp>
        <p:nvSpPr>
          <p:cNvPr id="27" name="Title 1"/>
          <p:cNvSpPr txBox="1">
            <a:spLocks/>
          </p:cNvSpPr>
          <p:nvPr/>
        </p:nvSpPr>
        <p:spPr>
          <a:xfrm>
            <a:off x="7341067" y="3529043"/>
            <a:ext cx="2556000" cy="2089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lvl1pPr algn="l" rtl="0" eaLnBrk="0" fontAlgn="base" hangingPunct="0">
              <a:lnSpc>
                <a:spcPct val="90000"/>
              </a:lnSpc>
              <a:spcBef>
                <a:spcPct val="0"/>
              </a:spcBef>
              <a:spcAft>
                <a:spcPct val="0"/>
              </a:spcAft>
              <a:defRPr sz="1800" kern="1200" cap="none" baseline="0">
                <a:solidFill>
                  <a:schemeClr val="accent2"/>
                </a:solidFill>
                <a:latin typeface="Arial" panose="020B0604020202020204" pitchFamily="34" charset="0"/>
                <a:ea typeface="+mj-ea"/>
                <a:cs typeface="Arial" panose="020B0604020202020204" pitchFamily="34" charset="0"/>
              </a:defRPr>
            </a:lvl1pPr>
            <a:lvl2pPr algn="l" rtl="0" eaLnBrk="0" fontAlgn="base" hangingPunct="0">
              <a:lnSpc>
                <a:spcPct val="90000"/>
              </a:lnSpc>
              <a:spcBef>
                <a:spcPct val="0"/>
              </a:spcBef>
              <a:spcAft>
                <a:spcPct val="0"/>
              </a:spcAft>
              <a:defRPr sz="4400">
                <a:solidFill>
                  <a:schemeClr val="tx1"/>
                </a:solidFill>
                <a:latin typeface="Frutiger 45 Light" charset="0"/>
              </a:defRPr>
            </a:lvl2pPr>
            <a:lvl3pPr algn="l" rtl="0" eaLnBrk="0" fontAlgn="base" hangingPunct="0">
              <a:lnSpc>
                <a:spcPct val="90000"/>
              </a:lnSpc>
              <a:spcBef>
                <a:spcPct val="0"/>
              </a:spcBef>
              <a:spcAft>
                <a:spcPct val="0"/>
              </a:spcAft>
              <a:defRPr sz="4400">
                <a:solidFill>
                  <a:schemeClr val="tx1"/>
                </a:solidFill>
                <a:latin typeface="Frutiger 45 Light" charset="0"/>
              </a:defRPr>
            </a:lvl3pPr>
            <a:lvl4pPr algn="l" rtl="0" eaLnBrk="0" fontAlgn="base" hangingPunct="0">
              <a:lnSpc>
                <a:spcPct val="90000"/>
              </a:lnSpc>
              <a:spcBef>
                <a:spcPct val="0"/>
              </a:spcBef>
              <a:spcAft>
                <a:spcPct val="0"/>
              </a:spcAft>
              <a:defRPr sz="4400">
                <a:solidFill>
                  <a:schemeClr val="tx1"/>
                </a:solidFill>
                <a:latin typeface="Frutiger 45 Light" charset="0"/>
              </a:defRPr>
            </a:lvl4pPr>
            <a:lvl5pPr algn="l" rtl="0" eaLnBrk="0" fontAlgn="base" hangingPunct="0">
              <a:lnSpc>
                <a:spcPct val="90000"/>
              </a:lnSpc>
              <a:spcBef>
                <a:spcPct val="0"/>
              </a:spcBef>
              <a:spcAft>
                <a:spcPct val="0"/>
              </a:spcAft>
              <a:defRPr sz="4400">
                <a:solidFill>
                  <a:schemeClr val="tx1"/>
                </a:solidFill>
                <a:latin typeface="Frutiger 45 Light" charset="0"/>
              </a:defRPr>
            </a:lvl5pPr>
            <a:lvl6pPr marL="457200" algn="l" rtl="0" eaLnBrk="1" fontAlgn="base" hangingPunct="1">
              <a:lnSpc>
                <a:spcPct val="90000"/>
              </a:lnSpc>
              <a:spcBef>
                <a:spcPct val="0"/>
              </a:spcBef>
              <a:spcAft>
                <a:spcPct val="0"/>
              </a:spcAft>
              <a:defRPr sz="4400">
                <a:solidFill>
                  <a:schemeClr val="tx1"/>
                </a:solidFill>
                <a:latin typeface="Frutiger 45 Light" charset="0"/>
              </a:defRPr>
            </a:lvl6pPr>
            <a:lvl7pPr marL="914400" algn="l" rtl="0" eaLnBrk="1" fontAlgn="base" hangingPunct="1">
              <a:lnSpc>
                <a:spcPct val="90000"/>
              </a:lnSpc>
              <a:spcBef>
                <a:spcPct val="0"/>
              </a:spcBef>
              <a:spcAft>
                <a:spcPct val="0"/>
              </a:spcAft>
              <a:defRPr sz="4400">
                <a:solidFill>
                  <a:schemeClr val="tx1"/>
                </a:solidFill>
                <a:latin typeface="Frutiger 45 Light" charset="0"/>
              </a:defRPr>
            </a:lvl7pPr>
            <a:lvl8pPr marL="1371600" algn="l" rtl="0" eaLnBrk="1" fontAlgn="base" hangingPunct="1">
              <a:lnSpc>
                <a:spcPct val="90000"/>
              </a:lnSpc>
              <a:spcBef>
                <a:spcPct val="0"/>
              </a:spcBef>
              <a:spcAft>
                <a:spcPct val="0"/>
              </a:spcAft>
              <a:defRPr sz="4400">
                <a:solidFill>
                  <a:schemeClr val="tx1"/>
                </a:solidFill>
                <a:latin typeface="Frutiger 45 Light" charset="0"/>
              </a:defRPr>
            </a:lvl8pPr>
            <a:lvl9pPr marL="1828800" algn="l" rtl="0" eaLnBrk="1" fontAlgn="base" hangingPunct="1">
              <a:lnSpc>
                <a:spcPct val="90000"/>
              </a:lnSpc>
              <a:spcBef>
                <a:spcPct val="0"/>
              </a:spcBef>
              <a:spcAft>
                <a:spcPct val="0"/>
              </a:spcAft>
              <a:defRPr sz="4400">
                <a:solidFill>
                  <a:schemeClr val="tx1"/>
                </a:solidFill>
                <a:latin typeface="Frutiger 45 Light" charset="0"/>
              </a:defRPr>
            </a:lvl9pPr>
          </a:lstStyle>
          <a:p>
            <a:r>
              <a:rPr lang="pt-BR" b="1" dirty="0" smtClean="0">
                <a:solidFill>
                  <a:srgbClr val="7F7F7F"/>
                </a:solidFill>
                <a:latin typeface="Arial" charset="0"/>
                <a:ea typeface="+mn-ea"/>
                <a:cs typeface="+mn-cs"/>
              </a:rPr>
              <a:t>Davi Malveira</a:t>
            </a:r>
          </a:p>
          <a:p>
            <a:r>
              <a:rPr lang="pt-BR" sz="1400" dirty="0" smtClean="0">
                <a:solidFill>
                  <a:srgbClr val="7F7F7F"/>
                </a:solidFill>
                <a:latin typeface="Arial" charset="0"/>
                <a:ea typeface="+mn-ea"/>
                <a:cs typeface="+mn-cs"/>
              </a:rPr>
              <a:t>Analista de Saúde, </a:t>
            </a:r>
          </a:p>
          <a:p>
            <a:r>
              <a:rPr lang="pt-BR" sz="1400" dirty="0" smtClean="0">
                <a:solidFill>
                  <a:srgbClr val="7F7F7F"/>
                </a:solidFill>
                <a:latin typeface="Arial" charset="0"/>
                <a:ea typeface="+mn-ea"/>
                <a:cs typeface="+mn-cs"/>
              </a:rPr>
              <a:t>Const. Civil e Bens de Capital</a:t>
            </a:r>
          </a:p>
          <a:p>
            <a:endParaRPr lang="pt-BR" sz="1400" dirty="0">
              <a:solidFill>
                <a:srgbClr val="7F7F7F"/>
              </a:solidFill>
              <a:latin typeface="Arial" charset="0"/>
              <a:ea typeface="+mn-ea"/>
              <a:cs typeface="+mn-cs"/>
            </a:endParaRPr>
          </a:p>
        </p:txBody>
      </p:sp>
      <p:pic>
        <p:nvPicPr>
          <p:cNvPr id="16" name="Picture 15"/>
          <p:cNvPicPr>
            <a:picLocks noChangeAspect="1"/>
          </p:cNvPicPr>
          <p:nvPr/>
        </p:nvPicPr>
        <p:blipFill>
          <a:blip r:embed="rId10"/>
          <a:stretch>
            <a:fillRect/>
          </a:stretch>
        </p:blipFill>
        <p:spPr>
          <a:xfrm>
            <a:off x="221547" y="4604007"/>
            <a:ext cx="780798" cy="712995"/>
          </a:xfrm>
          <a:prstGeom prst="rect">
            <a:avLst/>
          </a:prstGeom>
        </p:spPr>
      </p:pic>
    </p:spTree>
    <p:extLst>
      <p:ext uri="{BB962C8B-B14F-4D97-AF65-F5344CB8AC3E}">
        <p14:creationId xmlns:p14="http://schemas.microsoft.com/office/powerpoint/2010/main" val="3935149996"/>
      </p:ext>
    </p:extLst>
  </p:cSld>
  <p:clrMapOvr>
    <a:masterClrMapping/>
  </p:clrMapOvr>
  <p:transition spd="med">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a:spLocks noGrp="1"/>
          </p:cNvSpPr>
          <p:nvPr>
            <p:ph type="title"/>
          </p:nvPr>
        </p:nvSpPr>
        <p:spPr>
          <a:xfrm>
            <a:off x="1605993" y="377107"/>
            <a:ext cx="6870931" cy="20895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p>
            <a:r>
              <a:rPr lang="pt-BR" sz="2000" b="1" dirty="0" smtClean="0">
                <a:solidFill>
                  <a:srgbClr val="7F7F7F"/>
                </a:solidFill>
                <a:latin typeface="Arial" charset="0"/>
                <a:ea typeface="+mn-ea"/>
                <a:cs typeface="+mn-cs"/>
              </a:rPr>
              <a:t>Fundo Seleção </a:t>
            </a:r>
            <a:r>
              <a:rPr lang="pt-BR" sz="2000" dirty="0" smtClean="0">
                <a:solidFill>
                  <a:srgbClr val="7F7F7F"/>
                </a:solidFill>
                <a:latin typeface="Arial" charset="0"/>
                <a:ea typeface="+mn-ea"/>
                <a:cs typeface="+mn-cs"/>
              </a:rPr>
              <a:t>– Performance</a:t>
            </a:r>
            <a:endParaRPr lang="pt-BR" sz="2000" dirty="0">
              <a:solidFill>
                <a:srgbClr val="7F7F7F"/>
              </a:solidFill>
              <a:latin typeface="Arial" charset="0"/>
              <a:ea typeface="+mn-ea"/>
              <a:cs typeface="+mn-cs"/>
            </a:endParaRPr>
          </a:p>
        </p:txBody>
      </p:sp>
      <p:sp>
        <p:nvSpPr>
          <p:cNvPr id="9" name="Content Placeholder 2"/>
          <p:cNvSpPr>
            <a:spLocks noGrp="1"/>
          </p:cNvSpPr>
          <p:nvPr>
            <p:ph idx="13"/>
          </p:nvPr>
        </p:nvSpPr>
        <p:spPr>
          <a:xfrm>
            <a:off x="681038" y="6178020"/>
            <a:ext cx="6941939" cy="289306"/>
          </a:xfrm>
        </p:spPr>
        <p:txBody>
          <a:bodyPr vert="horz" lIns="0" tIns="45720" rIns="0" bIns="45720" rtlCol="0" anchor="ctr">
            <a:normAutofit/>
          </a:bodyPr>
          <a:lstStyle/>
          <a:p>
            <a:pPr fontAlgn="auto">
              <a:spcAft>
                <a:spcPts val="0"/>
              </a:spcAft>
            </a:pPr>
            <a:r>
              <a:rPr lang="pt-BR" sz="800" dirty="0">
                <a:solidFill>
                  <a:srgbClr val="1A647B"/>
                </a:solidFill>
                <a:latin typeface="Arial" panose="020B0604020202020204" pitchFamily="34" charset="0"/>
                <a:cs typeface="Arial" panose="020B0604020202020204" pitchFamily="34" charset="0"/>
              </a:rPr>
              <a:t>Fonte: Santander Asset Management. Nota: Performance até </a:t>
            </a:r>
            <a:r>
              <a:rPr lang="pt-BR" sz="800" dirty="0" smtClean="0">
                <a:solidFill>
                  <a:srgbClr val="1A647B"/>
                </a:solidFill>
                <a:latin typeface="Arial" panose="020B0604020202020204" pitchFamily="34" charset="0"/>
                <a:cs typeface="Arial" panose="020B0604020202020204" pitchFamily="34" charset="0"/>
              </a:rPr>
              <a:t>24/06/19</a:t>
            </a:r>
            <a:r>
              <a:rPr lang="pt-BR" sz="800" dirty="0">
                <a:solidFill>
                  <a:srgbClr val="1A647B"/>
                </a:solidFill>
                <a:latin typeface="Arial" panose="020B0604020202020204" pitchFamily="34" charset="0"/>
                <a:cs typeface="Arial" panose="020B0604020202020204" pitchFamily="34" charset="0"/>
              </a:rPr>
              <a:t>. Retornos líquidos</a:t>
            </a:r>
          </a:p>
        </p:txBody>
      </p:sp>
      <p:sp>
        <p:nvSpPr>
          <p:cNvPr id="7" name="Slide Number Placeholder 6"/>
          <p:cNvSpPr>
            <a:spLocks noGrp="1"/>
          </p:cNvSpPr>
          <p:nvPr>
            <p:ph type="sldNum" sz="quarter" idx="17"/>
          </p:nvPr>
        </p:nvSpPr>
        <p:spPr/>
        <p:txBody>
          <a:bodyPr/>
          <a:lstStyle/>
          <a:p>
            <a:pPr>
              <a:defRPr/>
            </a:pPr>
            <a:fld id="{ACC95429-0700-4EB5-B16A-B4A7467009D4}" type="slidenum">
              <a:rPr lang="en-GB" smtClean="0">
                <a:solidFill>
                  <a:prstClr val="black">
                    <a:tint val="75000"/>
                  </a:prstClr>
                </a:solidFill>
              </a:rPr>
              <a:pPr>
                <a:defRPr/>
              </a:pPr>
              <a:t>18</a:t>
            </a:fld>
            <a:endParaRPr lang="en-GB">
              <a:solidFill>
                <a:prstClr val="black">
                  <a:tint val="75000"/>
                </a:prstClr>
              </a:solidFill>
            </a:endParaRPr>
          </a:p>
        </p:txBody>
      </p:sp>
      <p:graphicFrame>
        <p:nvGraphicFramePr>
          <p:cNvPr id="11" name="Chart 10"/>
          <p:cNvGraphicFramePr>
            <a:graphicFrameLocks/>
          </p:cNvGraphicFramePr>
          <p:nvPr>
            <p:extLst>
              <p:ext uri="{D42A27DB-BD31-4B8C-83A1-F6EECF244321}">
                <p14:modId xmlns:p14="http://schemas.microsoft.com/office/powerpoint/2010/main" val="1526204265"/>
              </p:ext>
            </p:extLst>
          </p:nvPr>
        </p:nvGraphicFramePr>
        <p:xfrm>
          <a:off x="681038" y="1723346"/>
          <a:ext cx="8566479" cy="4381500"/>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Box 11"/>
          <p:cNvSpPr txBox="1"/>
          <p:nvPr/>
        </p:nvSpPr>
        <p:spPr>
          <a:xfrm>
            <a:off x="9051996" y="2992839"/>
            <a:ext cx="731290" cy="323165"/>
          </a:xfrm>
          <a:prstGeom prst="rect">
            <a:avLst/>
          </a:prstGeom>
          <a:noFill/>
        </p:spPr>
        <p:txBody>
          <a:bodyPr wrap="none" rtlCol="0">
            <a:spAutoFit/>
          </a:bodyPr>
          <a:lstStyle/>
          <a:p>
            <a:r>
              <a:rPr lang="pt-BR" sz="1500" dirty="0" smtClean="0">
                <a:solidFill>
                  <a:schemeClr val="tx1">
                    <a:lumMod val="65000"/>
                    <a:lumOff val="35000"/>
                  </a:schemeClr>
                </a:solidFill>
                <a:latin typeface="Arial" panose="020B0604020202020204" pitchFamily="34" charset="0"/>
              </a:rPr>
              <a:t>79.8%</a:t>
            </a:r>
            <a:endParaRPr lang="pt-BR" sz="1500" dirty="0">
              <a:solidFill>
                <a:schemeClr val="tx1">
                  <a:lumMod val="65000"/>
                  <a:lumOff val="35000"/>
                </a:schemeClr>
              </a:solidFill>
              <a:latin typeface="Arial" panose="020B0604020202020204" pitchFamily="34" charset="0"/>
            </a:endParaRPr>
          </a:p>
        </p:txBody>
      </p:sp>
      <p:sp>
        <p:nvSpPr>
          <p:cNvPr id="13" name="TextBox 12"/>
          <p:cNvSpPr txBox="1"/>
          <p:nvPr/>
        </p:nvSpPr>
        <p:spPr>
          <a:xfrm>
            <a:off x="8998296" y="1561763"/>
            <a:ext cx="838691" cy="323165"/>
          </a:xfrm>
          <a:prstGeom prst="rect">
            <a:avLst/>
          </a:prstGeom>
          <a:noFill/>
        </p:spPr>
        <p:txBody>
          <a:bodyPr wrap="none" rtlCol="0">
            <a:spAutoFit/>
          </a:bodyPr>
          <a:lstStyle/>
          <a:p>
            <a:r>
              <a:rPr lang="pt-BR" sz="1500" dirty="0" smtClean="0">
                <a:solidFill>
                  <a:srgbClr val="9C1915"/>
                </a:solidFill>
                <a:latin typeface="Arial" panose="020B0604020202020204" pitchFamily="34" charset="0"/>
              </a:rPr>
              <a:t>168.6%</a:t>
            </a:r>
            <a:endParaRPr lang="pt-BR" sz="1500" dirty="0">
              <a:solidFill>
                <a:srgbClr val="9C1915"/>
              </a:solidFill>
              <a:latin typeface="Arial" panose="020B0604020202020204" pitchFamily="34" charset="0"/>
            </a:endParaRPr>
          </a:p>
        </p:txBody>
      </p:sp>
    </p:spTree>
    <p:extLst>
      <p:ext uri="{BB962C8B-B14F-4D97-AF65-F5344CB8AC3E}">
        <p14:creationId xmlns:p14="http://schemas.microsoft.com/office/powerpoint/2010/main" val="1323858900"/>
      </p:ext>
    </p:extLst>
  </p:cSld>
  <p:clrMapOvr>
    <a:masterClrMapping/>
  </p:clrMapOvr>
  <p:transition spd="med">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ransition spd="slow">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0"/>
          </p:nvPr>
        </p:nvSpPr>
        <p:spPr>
          <a:xfrm>
            <a:off x="2273299" y="2317750"/>
            <a:ext cx="6922952" cy="3887788"/>
          </a:xfrm>
        </p:spPr>
        <p:txBody>
          <a:bodyPr/>
          <a:lstStyle/>
          <a:p>
            <a:pPr eaLnBrk="1" fontAlgn="auto" hangingPunct="1">
              <a:defRPr/>
            </a:pPr>
            <a:r>
              <a:rPr lang="pt-BR" b="1" dirty="0" smtClean="0"/>
              <a:t>Por que </a:t>
            </a:r>
            <a:r>
              <a:rPr lang="pt-BR" b="1" dirty="0" smtClean="0"/>
              <a:t>investir em </a:t>
            </a:r>
            <a:r>
              <a:rPr lang="pt-BR" b="1" dirty="0" smtClean="0"/>
              <a:t>ações </a:t>
            </a:r>
            <a:r>
              <a:rPr lang="pt-BR" b="1" dirty="0" smtClean="0"/>
              <a:t>agora?</a:t>
            </a:r>
            <a:endParaRPr lang="pt-BR" sz="1400" b="1" dirty="0" smtClean="0"/>
          </a:p>
          <a:p>
            <a:pPr eaLnBrk="1" fontAlgn="auto" hangingPunct="1">
              <a:defRPr/>
            </a:pPr>
            <a:r>
              <a:rPr lang="pt-BR" b="1" dirty="0" smtClean="0"/>
              <a:t>Oportunidades </a:t>
            </a:r>
            <a:r>
              <a:rPr lang="pt-BR" b="1" dirty="0"/>
              <a:t>em </a:t>
            </a:r>
            <a:r>
              <a:rPr lang="pt-BR" b="1" dirty="0" smtClean="0"/>
              <a:t>temas </a:t>
            </a:r>
            <a:r>
              <a:rPr lang="pt-BR" b="1" dirty="0" smtClean="0"/>
              <a:t>domésticos</a:t>
            </a:r>
            <a:endParaRPr lang="pt-BR" sz="1400" b="1" dirty="0" smtClean="0"/>
          </a:p>
          <a:p>
            <a:pPr eaLnBrk="1" fontAlgn="auto" hangingPunct="1">
              <a:defRPr/>
            </a:pPr>
            <a:r>
              <a:rPr lang="pt-BR" b="1" dirty="0" smtClean="0"/>
              <a:t>Fundo Seleção – Pessoas e Performance</a:t>
            </a:r>
            <a:endParaRPr lang="en-GB" b="1" dirty="0"/>
          </a:p>
        </p:txBody>
      </p:sp>
      <p:sp>
        <p:nvSpPr>
          <p:cNvPr id="4" name="Title 2"/>
          <p:cNvSpPr txBox="1">
            <a:spLocks/>
          </p:cNvSpPr>
          <p:nvPr/>
        </p:nvSpPr>
        <p:spPr>
          <a:xfrm>
            <a:off x="895004" y="1162415"/>
            <a:ext cx="3415738" cy="686860"/>
          </a:xfrm>
          <a:prstGeom prst="rect">
            <a:avLst/>
          </a:prstGeom>
        </p:spPr>
        <p:txBody>
          <a:bodyPr>
            <a:noAutofit/>
          </a:bodyPr>
          <a:lst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Frutiger 45 Light" charset="0"/>
              </a:defRPr>
            </a:lvl2pPr>
            <a:lvl3pPr algn="l" rtl="0" eaLnBrk="0" fontAlgn="base" hangingPunct="0">
              <a:lnSpc>
                <a:spcPct val="90000"/>
              </a:lnSpc>
              <a:spcBef>
                <a:spcPct val="0"/>
              </a:spcBef>
              <a:spcAft>
                <a:spcPct val="0"/>
              </a:spcAft>
              <a:defRPr sz="4400">
                <a:solidFill>
                  <a:schemeClr val="tx1"/>
                </a:solidFill>
                <a:latin typeface="Frutiger 45 Light" charset="0"/>
              </a:defRPr>
            </a:lvl3pPr>
            <a:lvl4pPr algn="l" rtl="0" eaLnBrk="0" fontAlgn="base" hangingPunct="0">
              <a:lnSpc>
                <a:spcPct val="90000"/>
              </a:lnSpc>
              <a:spcBef>
                <a:spcPct val="0"/>
              </a:spcBef>
              <a:spcAft>
                <a:spcPct val="0"/>
              </a:spcAft>
              <a:defRPr sz="4400">
                <a:solidFill>
                  <a:schemeClr val="tx1"/>
                </a:solidFill>
                <a:latin typeface="Frutiger 45 Light" charset="0"/>
              </a:defRPr>
            </a:lvl4pPr>
            <a:lvl5pPr algn="l" rtl="0" eaLnBrk="0" fontAlgn="base" hangingPunct="0">
              <a:lnSpc>
                <a:spcPct val="90000"/>
              </a:lnSpc>
              <a:spcBef>
                <a:spcPct val="0"/>
              </a:spcBef>
              <a:spcAft>
                <a:spcPct val="0"/>
              </a:spcAft>
              <a:defRPr sz="4400">
                <a:solidFill>
                  <a:schemeClr val="tx1"/>
                </a:solidFill>
                <a:latin typeface="Frutiger 45 Light" charset="0"/>
              </a:defRPr>
            </a:lvl5pPr>
            <a:lvl6pPr marL="457200" algn="l" rtl="0" eaLnBrk="1" fontAlgn="base" hangingPunct="1">
              <a:lnSpc>
                <a:spcPct val="90000"/>
              </a:lnSpc>
              <a:spcBef>
                <a:spcPct val="0"/>
              </a:spcBef>
              <a:spcAft>
                <a:spcPct val="0"/>
              </a:spcAft>
              <a:defRPr sz="4400">
                <a:solidFill>
                  <a:schemeClr val="tx1"/>
                </a:solidFill>
                <a:latin typeface="Frutiger 45 Light" charset="0"/>
              </a:defRPr>
            </a:lvl6pPr>
            <a:lvl7pPr marL="914400" algn="l" rtl="0" eaLnBrk="1" fontAlgn="base" hangingPunct="1">
              <a:lnSpc>
                <a:spcPct val="90000"/>
              </a:lnSpc>
              <a:spcBef>
                <a:spcPct val="0"/>
              </a:spcBef>
              <a:spcAft>
                <a:spcPct val="0"/>
              </a:spcAft>
              <a:defRPr sz="4400">
                <a:solidFill>
                  <a:schemeClr val="tx1"/>
                </a:solidFill>
                <a:latin typeface="Frutiger 45 Light" charset="0"/>
              </a:defRPr>
            </a:lvl7pPr>
            <a:lvl8pPr marL="1371600" algn="l" rtl="0" eaLnBrk="1" fontAlgn="base" hangingPunct="1">
              <a:lnSpc>
                <a:spcPct val="90000"/>
              </a:lnSpc>
              <a:spcBef>
                <a:spcPct val="0"/>
              </a:spcBef>
              <a:spcAft>
                <a:spcPct val="0"/>
              </a:spcAft>
              <a:defRPr sz="4400">
                <a:solidFill>
                  <a:schemeClr val="tx1"/>
                </a:solidFill>
                <a:latin typeface="Frutiger 45 Light" charset="0"/>
              </a:defRPr>
            </a:lvl8pPr>
            <a:lvl9pPr marL="1828800" algn="l" rtl="0" eaLnBrk="1" fontAlgn="base" hangingPunct="1">
              <a:lnSpc>
                <a:spcPct val="90000"/>
              </a:lnSpc>
              <a:spcBef>
                <a:spcPct val="0"/>
              </a:spcBef>
              <a:spcAft>
                <a:spcPct val="0"/>
              </a:spcAft>
              <a:defRPr sz="4400">
                <a:solidFill>
                  <a:schemeClr val="tx1"/>
                </a:solidFill>
                <a:latin typeface="Frutiger 45 Light" charset="0"/>
              </a:defRPr>
            </a:lvl9pPr>
          </a:lstStyle>
          <a:p>
            <a:r>
              <a:rPr lang="en-US" sz="2000" b="1" dirty="0" smtClean="0">
                <a:solidFill>
                  <a:schemeClr val="bg1"/>
                </a:solidFill>
                <a:latin typeface="Arial" panose="020B0604020202020204" pitchFamily="34" charset="0"/>
                <a:cs typeface="Arial" panose="020B0604020202020204" pitchFamily="34" charset="0"/>
              </a:rPr>
              <a:t>Agenda</a:t>
            </a:r>
            <a:br>
              <a:rPr lang="en-US" sz="2000" b="1" dirty="0" smtClean="0">
                <a:solidFill>
                  <a:schemeClr val="bg1"/>
                </a:solidFill>
                <a:latin typeface="Arial" panose="020B0604020202020204" pitchFamily="34" charset="0"/>
                <a:cs typeface="Arial" panose="020B0604020202020204" pitchFamily="34" charset="0"/>
              </a:rPr>
            </a:br>
            <a:r>
              <a:rPr lang="en-US" sz="2000" dirty="0" smtClean="0">
                <a:solidFill>
                  <a:schemeClr val="bg1"/>
                </a:solidFill>
                <a:latin typeface="Arial" panose="020B0604020202020204" pitchFamily="34" charset="0"/>
                <a:cs typeface="Arial" panose="020B0604020202020204" pitchFamily="34" charset="0"/>
              </a:rPr>
              <a:t/>
            </a:r>
            <a:br>
              <a:rPr lang="en-US" sz="2000" dirty="0" smtClean="0">
                <a:solidFill>
                  <a:schemeClr val="bg1"/>
                </a:solidFill>
                <a:latin typeface="Arial" panose="020B0604020202020204" pitchFamily="34" charset="0"/>
                <a:cs typeface="Arial" panose="020B0604020202020204" pitchFamily="34" charset="0"/>
              </a:rPr>
            </a:br>
            <a:r>
              <a:rPr lang="en-US" sz="2000" dirty="0" smtClean="0">
                <a:solidFill>
                  <a:schemeClr val="bg1"/>
                </a:solidFill>
                <a:latin typeface="Arial" panose="020B0604020202020204" pitchFamily="34" charset="0"/>
                <a:cs typeface="Arial" panose="020B0604020202020204" pitchFamily="34" charset="0"/>
              </a:rPr>
              <a:t/>
            </a:r>
            <a:br>
              <a:rPr lang="en-US" sz="2000" dirty="0" smtClean="0">
                <a:solidFill>
                  <a:schemeClr val="bg1"/>
                </a:solidFill>
                <a:latin typeface="Arial" panose="020B0604020202020204" pitchFamily="34" charset="0"/>
                <a:cs typeface="Arial" panose="020B0604020202020204" pitchFamily="34" charset="0"/>
              </a:rPr>
            </a:br>
            <a:r>
              <a:rPr lang="en-US" sz="2000" dirty="0" smtClean="0">
                <a:solidFill>
                  <a:schemeClr val="bg1"/>
                </a:solidFill>
                <a:latin typeface="Arial" panose="020B0604020202020204" pitchFamily="34" charset="0"/>
                <a:cs typeface="Arial" panose="020B0604020202020204" pitchFamily="34" charset="0"/>
              </a:rPr>
              <a:t/>
            </a:r>
            <a:br>
              <a:rPr lang="en-US" sz="2000" dirty="0" smtClean="0">
                <a:solidFill>
                  <a:schemeClr val="bg1"/>
                </a:solidFill>
                <a:latin typeface="Arial" panose="020B0604020202020204" pitchFamily="34" charset="0"/>
                <a:cs typeface="Arial" panose="020B0604020202020204" pitchFamily="34" charset="0"/>
              </a:rPr>
            </a:br>
            <a:r>
              <a:rPr lang="en-US" sz="2000" dirty="0" smtClean="0">
                <a:solidFill>
                  <a:schemeClr val="bg1"/>
                </a:solidFill>
                <a:latin typeface="Arial" panose="020B0604020202020204" pitchFamily="34" charset="0"/>
                <a:cs typeface="Arial" panose="020B0604020202020204" pitchFamily="34" charset="0"/>
              </a:rPr>
              <a:t/>
            </a:r>
            <a:br>
              <a:rPr lang="en-US" sz="2000" dirty="0" smtClean="0">
                <a:solidFill>
                  <a:schemeClr val="bg1"/>
                </a:solidFill>
                <a:latin typeface="Arial" panose="020B0604020202020204" pitchFamily="34" charset="0"/>
                <a:cs typeface="Arial" panose="020B0604020202020204" pitchFamily="34" charset="0"/>
              </a:rPr>
            </a:br>
            <a:endParaRPr lang="en-US" sz="2000" i="1" dirty="0">
              <a:solidFill>
                <a:schemeClr val="bg1"/>
              </a:solidFill>
              <a:latin typeface="Arial" panose="020B0604020202020204" pitchFamily="34" charset="0"/>
              <a:cs typeface="Arial" panose="020B0604020202020204" pitchFamily="34" charset="0"/>
            </a:endParaRPr>
          </a:p>
        </p:txBody>
      </p:sp>
    </p:spTree>
  </p:cSld>
  <p:clrMapOvr>
    <a:masterClrMapping/>
  </p:clrMapOvr>
  <p:transition spd="med">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4222825" y="861004"/>
            <a:ext cx="5016425" cy="5262979"/>
          </a:xfrm>
          <a:prstGeom prst="rect">
            <a:avLst/>
          </a:prstGeom>
          <a:noFill/>
        </p:spPr>
        <p:txBody>
          <a:bodyPr wrap="square" rtlCol="0">
            <a:spAutoFit/>
          </a:bodyPr>
          <a:lstStyle/>
          <a:p>
            <a:pPr algn="just"/>
            <a:r>
              <a:rPr lang="en-US" sz="800" dirty="0">
                <a:solidFill>
                  <a:schemeClr val="bg2"/>
                </a:solidFill>
                <a:latin typeface="Arial" panose="020B0604020202020204" pitchFamily="34" charset="0"/>
              </a:rPr>
              <a:t>This material was prepared on behalf of Santander Asset Management </a:t>
            </a:r>
            <a:r>
              <a:rPr lang="en-US" sz="800" dirty="0" err="1">
                <a:solidFill>
                  <a:schemeClr val="bg2"/>
                </a:solidFill>
                <a:latin typeface="Arial" panose="020B0604020202020204" pitchFamily="34" charset="0"/>
              </a:rPr>
              <a:t>Brasil</a:t>
            </a:r>
            <a:r>
              <a:rPr lang="en-US" sz="800" dirty="0">
                <a:solidFill>
                  <a:schemeClr val="bg2"/>
                </a:solidFill>
                <a:latin typeface="Arial" panose="020B0604020202020204" pitchFamily="34" charset="0"/>
              </a:rPr>
              <a:t> This material does not constitute an offer or solicitation to sell stocks, securities or investment funds, or an offer to provide investment advisory services or other services referred to on this document, to any person from a jurisdiction in which such an offer, solicitation, or distribution would be illegal, or in which the person making such offer or solicitation is not authorized to do so, or to any other person to whom it is illegal to make such offer or solicitation. Information included in this material is not directed at investors who, according to applicable laws and regulations, are not permitted to acquire, distribute, commercialize or be the addressees of an offer of the products mentioned on this website. This is why investors are required to previously inform themselves on the legal requirements, terms and conditions for the acquisition, distribution or commercialization of such products.</a:t>
            </a:r>
          </a:p>
          <a:p>
            <a:pPr algn="just"/>
            <a:r>
              <a:rPr lang="en-US" sz="800" dirty="0">
                <a:solidFill>
                  <a:schemeClr val="bg2"/>
                </a:solidFill>
                <a:latin typeface="Arial" panose="020B0604020202020204" pitchFamily="34" charset="0"/>
              </a:rPr>
              <a:t>This is not an Equity Research Report as defined by ICVM 483, and may not be </a:t>
            </a:r>
            <a:r>
              <a:rPr lang="en-US" sz="800" dirty="0" err="1">
                <a:solidFill>
                  <a:schemeClr val="bg2"/>
                </a:solidFill>
                <a:latin typeface="Arial" panose="020B0604020202020204" pitchFamily="34" charset="0"/>
              </a:rPr>
              <a:t>redistribuited</a:t>
            </a:r>
            <a:r>
              <a:rPr lang="en-US" sz="800" dirty="0">
                <a:solidFill>
                  <a:schemeClr val="bg2"/>
                </a:solidFill>
                <a:latin typeface="Arial" panose="020B0604020202020204" pitchFamily="34" charset="0"/>
              </a:rPr>
              <a:t> or published in whole or part. Information included in this document is published only to support users, and they may not be adequate for specific investment purposes, financial position or individual needs of receivers, and should not be considered as a substitute for the investor’s own and independent judgment. </a:t>
            </a:r>
          </a:p>
          <a:p>
            <a:pPr algn="just"/>
            <a:r>
              <a:rPr lang="en-US" sz="800" dirty="0">
                <a:solidFill>
                  <a:schemeClr val="bg2"/>
                </a:solidFill>
                <a:latin typeface="Arial" panose="020B0604020202020204" pitchFamily="34" charset="0"/>
              </a:rPr>
              <a:t>As it was based in information deemed to be reliable and in good faith, there is no assurance that it is accurate, complete, impartial or correct.  The opinions, projections, assumptions, estimates, assessment and possible target price(s) included in this material refer to the date mentioned and are subject to changes at any time without prior notice. Neither Santander Asset Management </a:t>
            </a:r>
            <a:r>
              <a:rPr lang="en-US" sz="800" dirty="0" err="1">
                <a:solidFill>
                  <a:schemeClr val="bg2"/>
                </a:solidFill>
                <a:latin typeface="Arial" panose="020B0604020202020204" pitchFamily="34" charset="0"/>
              </a:rPr>
              <a:t>Brasil</a:t>
            </a:r>
            <a:r>
              <a:rPr lang="en-US" sz="800" dirty="0">
                <a:solidFill>
                  <a:schemeClr val="bg2"/>
                </a:solidFill>
                <a:latin typeface="Arial" panose="020B0604020202020204" pitchFamily="34" charset="0"/>
              </a:rPr>
              <a:t>, nor associated company may be subject to any direct, indirect, special, secondary, significant, punitive or exemplary damage, including losses arising from any way whatsoever, from information included herein.  </a:t>
            </a:r>
          </a:p>
          <a:p>
            <a:pPr algn="just"/>
            <a:r>
              <a:rPr lang="en-US" sz="800" dirty="0">
                <a:solidFill>
                  <a:schemeClr val="bg2"/>
                </a:solidFill>
                <a:latin typeface="Arial" panose="020B0604020202020204" pitchFamily="34" charset="0"/>
              </a:rPr>
              <a:t>This material is subject to the rules and supervision of the Brazilian Securities Commission (CVM) and the Central Bank of Brazil. The products and services mentioned on this material shall not be provided to US Persons, as defined under the United States Securities Act of 1933, as amended (hereinafter the "Securities Act"). The investment fund described on this material shall not be registered under the Securities Act or any other applicable United States securities laws (including, without limitation, any applicable law of any of the states of the United States). Such investment fund may not be offered or sold in the United States or any of its territories and possessions or areas subject to its jurisdiction or to or for the benefit of a US Person. </a:t>
            </a:r>
          </a:p>
          <a:p>
            <a:pPr algn="just"/>
            <a:r>
              <a:rPr lang="en-US" sz="800" dirty="0">
                <a:solidFill>
                  <a:schemeClr val="bg2"/>
                </a:solidFill>
                <a:latin typeface="Arial" panose="020B0604020202020204" pitchFamily="34" charset="0"/>
              </a:rPr>
              <a:t>These documents can be found at www.santander.com.br &gt; Investments&gt; Funds &gt; legal documents. Investment funds do not rely on the guarantee of the Fund Administrator, the Manager, any insurance mechanism, or of the credit guarantee fund-FGC. (a) Securities Exchange Commission-CVM; and (b) Citizen Services at www.cvm.gov.br. </a:t>
            </a:r>
          </a:p>
          <a:p>
            <a:pPr algn="just"/>
            <a:r>
              <a:rPr lang="en-US" sz="800" dirty="0">
                <a:solidFill>
                  <a:schemeClr val="bg2"/>
                </a:solidFill>
                <a:latin typeface="Arial" panose="020B0604020202020204" pitchFamily="34" charset="0"/>
              </a:rPr>
              <a:t>The return obtained in the past does not in any way represent a guarantee of future profitability. The return published is not free of taxes. The investments presented may not be suited to your objectives, financial situation or individual needs. The API Form (Investor profile analysis) is essential to ensure the adequacy of the client profile to the investment product chosen. Read the conditions of each product before investing. Economic indicators used in this material should be considered as a mere reference, it is not a goal or profit performance parameter. </a:t>
            </a:r>
          </a:p>
          <a:p>
            <a:pPr algn="just"/>
            <a:r>
              <a:rPr lang="en-US" sz="800" b="1" dirty="0">
                <a:solidFill>
                  <a:schemeClr val="bg2"/>
                </a:solidFill>
                <a:latin typeface="Arial" panose="020B0604020202020204" pitchFamily="34" charset="0"/>
              </a:rPr>
              <a:t>Advertising Material. </a:t>
            </a:r>
            <a:r>
              <a:rPr lang="en-US" sz="800" b="1" dirty="0" smtClean="0">
                <a:solidFill>
                  <a:schemeClr val="bg2"/>
                </a:solidFill>
                <a:latin typeface="Arial" panose="020B0604020202020204" pitchFamily="34" charset="0"/>
              </a:rPr>
              <a:t>October/2018.</a:t>
            </a:r>
            <a:endParaRPr lang="en-US" sz="800" b="1" dirty="0">
              <a:solidFill>
                <a:schemeClr val="bg2"/>
              </a:solidFill>
              <a:latin typeface="Arial" panose="020B0604020202020204" pitchFamily="34" charset="0"/>
            </a:endParaRPr>
          </a:p>
          <a:p>
            <a:pPr algn="just"/>
            <a:r>
              <a:rPr lang="en-US" sz="800" b="1" dirty="0">
                <a:solidFill>
                  <a:schemeClr val="bg2"/>
                </a:solidFill>
                <a:latin typeface="Arial" panose="020B0604020202020204" pitchFamily="34" charset="0"/>
              </a:rPr>
              <a:t>SAC - Client Service 0800 762 7777*. Ombudsman 0800 726 0322*. *Assists hearing impaired and speaks.</a:t>
            </a:r>
          </a:p>
          <a:p>
            <a:r>
              <a:rPr lang="en-US" sz="800" dirty="0"/>
              <a:t> </a:t>
            </a:r>
          </a:p>
        </p:txBody>
      </p:sp>
      <p:sp>
        <p:nvSpPr>
          <p:cNvPr id="8" name="Text Box 126"/>
          <p:cNvSpPr txBox="1">
            <a:spLocks noChangeArrowheads="1"/>
          </p:cNvSpPr>
          <p:nvPr/>
        </p:nvSpPr>
        <p:spPr bwMode="auto">
          <a:xfrm>
            <a:off x="4222825" y="583284"/>
            <a:ext cx="3536512" cy="313932"/>
          </a:xfrm>
          <a:prstGeom prst="rect">
            <a:avLst/>
          </a:prstGeom>
          <a:noFill/>
          <a:ln w="9525">
            <a:noFill/>
            <a:miter lim="800000"/>
            <a:headEnd/>
            <a:tailEnd/>
          </a:ln>
        </p:spPr>
        <p:txBody>
          <a:bodyPr wrap="square">
            <a:spAutoFit/>
          </a:bodyPr>
          <a:lstStyle/>
          <a:p>
            <a:pPr eaLnBrk="1" hangingPunct="1">
              <a:lnSpc>
                <a:spcPct val="80000"/>
              </a:lnSpc>
            </a:pPr>
            <a:r>
              <a:rPr lang="en-US" b="1" dirty="0" smtClean="0">
                <a:solidFill>
                  <a:schemeClr val="bg2"/>
                </a:solidFill>
                <a:latin typeface="Arial" panose="020B0604020202020204" pitchFamily="34" charset="0"/>
              </a:rPr>
              <a:t>MATERIAL INFORMATION</a:t>
            </a:r>
            <a:endParaRPr lang="en-US" b="1" dirty="0">
              <a:solidFill>
                <a:schemeClr val="bg2"/>
              </a:solidFill>
              <a:latin typeface="Arial" panose="020B0604020202020204" pitchFamily="34" charset="0"/>
            </a:endParaRPr>
          </a:p>
        </p:txBody>
      </p:sp>
      <p:sp>
        <p:nvSpPr>
          <p:cNvPr id="4" name="Rectangle 3"/>
          <p:cNvSpPr/>
          <p:nvPr/>
        </p:nvSpPr>
        <p:spPr>
          <a:xfrm>
            <a:off x="4430296" y="5875351"/>
            <a:ext cx="4808954" cy="480131"/>
          </a:xfrm>
          <a:prstGeom prst="rect">
            <a:avLst/>
          </a:prstGeom>
          <a:noFill/>
        </p:spPr>
        <p:txBody>
          <a:bodyPr wrap="square">
            <a:spAutoFit/>
          </a:bodyPr>
          <a:lstStyle/>
          <a:p>
            <a:pPr algn="r" fontAlgn="auto">
              <a:spcBef>
                <a:spcPct val="10000"/>
              </a:spcBef>
              <a:spcAft>
                <a:spcPts val="0"/>
              </a:spcAft>
              <a:buClr>
                <a:srgbClr val="FFFFFF"/>
              </a:buClr>
              <a:buSzPct val="25000"/>
              <a:defRPr/>
            </a:pPr>
            <a:r>
              <a:rPr lang="en-US" sz="1200" kern="0" dirty="0" smtClean="0">
                <a:solidFill>
                  <a:schemeClr val="accent3"/>
                </a:solidFill>
                <a:latin typeface="Arial" panose="020B0604020202020204" pitchFamily="34" charset="0"/>
              </a:rPr>
              <a:t>E-mail</a:t>
            </a:r>
            <a:r>
              <a:rPr lang="en-US" sz="1200" kern="0" dirty="0">
                <a:solidFill>
                  <a:schemeClr val="accent3"/>
                </a:solidFill>
                <a:latin typeface="Arial" panose="020B0604020202020204" pitchFamily="34" charset="0"/>
              </a:rPr>
              <a:t>: </a:t>
            </a:r>
            <a:r>
              <a:rPr lang="pt-BR" sz="1200" kern="0" dirty="0" smtClean="0">
                <a:solidFill>
                  <a:schemeClr val="accent3"/>
                </a:solidFill>
                <a:latin typeface="Arial" panose="020B0604020202020204" pitchFamily="34" charset="0"/>
              </a:rPr>
              <a:t>asset.atendimento@santanderam.com</a:t>
            </a:r>
            <a:endParaRPr lang="pt-BR" sz="1200" kern="0" dirty="0">
              <a:solidFill>
                <a:schemeClr val="accent3"/>
              </a:solidFill>
              <a:latin typeface="Arial" panose="020B0604020202020204" pitchFamily="34" charset="0"/>
            </a:endParaRPr>
          </a:p>
          <a:p>
            <a:pPr algn="r" fontAlgn="auto">
              <a:spcBef>
                <a:spcPct val="10000"/>
              </a:spcBef>
              <a:spcAft>
                <a:spcPts val="0"/>
              </a:spcAft>
              <a:buClr>
                <a:srgbClr val="FFFFFF"/>
              </a:buClr>
              <a:buSzPct val="25000"/>
              <a:defRPr/>
            </a:pPr>
            <a:r>
              <a:rPr lang="en-US" sz="1200" kern="0" dirty="0" smtClean="0">
                <a:solidFill>
                  <a:schemeClr val="accent3"/>
                </a:solidFill>
                <a:latin typeface="Arial" panose="020B0604020202020204" pitchFamily="34" charset="0"/>
              </a:rPr>
              <a:t>www.santanderassetmanagement.com.br</a:t>
            </a:r>
            <a:endParaRPr lang="en-US" sz="1200" kern="0" dirty="0">
              <a:solidFill>
                <a:schemeClr val="accent3"/>
              </a:solidFill>
              <a:latin typeface="Arial" panose="020B0604020202020204" pitchFamily="34" charset="0"/>
            </a:endParaRPr>
          </a:p>
        </p:txBody>
      </p:sp>
      <p:pic>
        <p:nvPicPr>
          <p:cNvPr id="37" name="Picture 29" descr="SeloAnbima.jpg"/>
          <p:cNvPicPr>
            <a:picLocks noChangeAspect="1"/>
          </p:cNvPicPr>
          <p:nvPr/>
        </p:nvPicPr>
        <p:blipFill>
          <a:blip r:embed="rId2" cstate="print"/>
          <a:srcRect/>
          <a:stretch>
            <a:fillRect/>
          </a:stretch>
        </p:blipFill>
        <p:spPr bwMode="auto">
          <a:xfrm>
            <a:off x="193637" y="6227494"/>
            <a:ext cx="1111973" cy="413804"/>
          </a:xfrm>
          <a:prstGeom prst="rect">
            <a:avLst/>
          </a:prstGeom>
          <a:noFill/>
          <a:ln w="9525">
            <a:noFill/>
            <a:miter lim="800000"/>
            <a:headEnd/>
            <a:tailEnd/>
          </a:ln>
        </p:spPr>
      </p:pic>
      <p:pic>
        <p:nvPicPr>
          <p:cNvPr id="38" name="Picture 4" descr="C:\Documents and Settings\t690512\Desktop\moodys logo.png"/>
          <p:cNvPicPr>
            <a:picLocks noChangeAspect="1" noChangeArrowheads="1"/>
          </p:cNvPicPr>
          <p:nvPr/>
        </p:nvPicPr>
        <p:blipFill>
          <a:blip r:embed="rId3"/>
          <a:srcRect/>
          <a:stretch>
            <a:fillRect/>
          </a:stretch>
        </p:blipFill>
        <p:spPr bwMode="auto">
          <a:xfrm>
            <a:off x="1518380" y="6227494"/>
            <a:ext cx="1169811" cy="421628"/>
          </a:xfrm>
          <a:prstGeom prst="rect">
            <a:avLst/>
          </a:prstGeom>
          <a:noFill/>
          <a:ln w="9525">
            <a:noFill/>
            <a:miter lim="800000"/>
            <a:headEnd/>
            <a:tailEnd/>
          </a:ln>
        </p:spPr>
      </p:pic>
      <p:pic>
        <p:nvPicPr>
          <p:cNvPr id="39" name="Picture 3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840105" y="6115417"/>
            <a:ext cx="1438275" cy="533705"/>
          </a:xfrm>
          <a:prstGeom prst="rect">
            <a:avLst/>
          </a:prstGeom>
        </p:spPr>
      </p:pic>
      <p:pic>
        <p:nvPicPr>
          <p:cNvPr id="10" name="Imagem 9"/>
          <p:cNvPicPr>
            <a:picLocks noChangeAspect="1"/>
          </p:cNvPicPr>
          <p:nvPr/>
        </p:nvPicPr>
        <p:blipFill>
          <a:blip r:embed="rId5"/>
          <a:stretch>
            <a:fillRect/>
          </a:stretch>
        </p:blipFill>
        <p:spPr>
          <a:xfrm>
            <a:off x="6532391" y="6355482"/>
            <a:ext cx="2706859" cy="475529"/>
          </a:xfrm>
          <a:prstGeom prst="rect">
            <a:avLst/>
          </a:prstGeom>
        </p:spPr>
      </p:pic>
    </p:spTree>
    <p:extLst>
      <p:ext uri="{BB962C8B-B14F-4D97-AF65-F5344CB8AC3E}">
        <p14:creationId xmlns:p14="http://schemas.microsoft.com/office/powerpoint/2010/main" val="1059638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0"/>
          </p:nvPr>
        </p:nvSpPr>
        <p:spPr>
          <a:xfrm>
            <a:off x="2273299" y="2317750"/>
            <a:ext cx="6922952" cy="3887788"/>
          </a:xfrm>
        </p:spPr>
        <p:txBody>
          <a:bodyPr/>
          <a:lstStyle/>
          <a:p>
            <a:pPr eaLnBrk="1" fontAlgn="auto" hangingPunct="1">
              <a:defRPr/>
            </a:pPr>
            <a:r>
              <a:rPr lang="pt-BR" b="1" dirty="0" smtClean="0">
                <a:solidFill>
                  <a:schemeClr val="accent1"/>
                </a:solidFill>
              </a:rPr>
              <a:t>Por que </a:t>
            </a:r>
            <a:r>
              <a:rPr lang="pt-BR" b="1" dirty="0" smtClean="0">
                <a:solidFill>
                  <a:schemeClr val="accent1"/>
                </a:solidFill>
              </a:rPr>
              <a:t>investir em ações agora?</a:t>
            </a:r>
            <a:endParaRPr lang="pt-BR" sz="1400" b="1" dirty="0" smtClean="0">
              <a:solidFill>
                <a:schemeClr val="accent1"/>
              </a:solidFill>
            </a:endParaRPr>
          </a:p>
          <a:p>
            <a:pPr eaLnBrk="1" fontAlgn="auto" hangingPunct="1">
              <a:defRPr/>
            </a:pPr>
            <a:r>
              <a:rPr lang="pt-BR" dirty="0" smtClean="0"/>
              <a:t>Oportunidades </a:t>
            </a:r>
            <a:r>
              <a:rPr lang="pt-BR" dirty="0"/>
              <a:t>em </a:t>
            </a:r>
            <a:r>
              <a:rPr lang="pt-BR" dirty="0" smtClean="0"/>
              <a:t>temas </a:t>
            </a:r>
            <a:r>
              <a:rPr lang="pt-BR" dirty="0" smtClean="0"/>
              <a:t>domésticos</a:t>
            </a:r>
            <a:endParaRPr lang="pt-BR" sz="1400" dirty="0" smtClean="0"/>
          </a:p>
          <a:p>
            <a:pPr eaLnBrk="1" fontAlgn="auto" hangingPunct="1">
              <a:defRPr/>
            </a:pPr>
            <a:r>
              <a:rPr lang="pt-BR" dirty="0" smtClean="0"/>
              <a:t>Fundo Seleção – Pessoas e Performance</a:t>
            </a:r>
            <a:endParaRPr lang="en-GB" dirty="0"/>
          </a:p>
        </p:txBody>
      </p:sp>
    </p:spTree>
    <p:extLst>
      <p:ext uri="{BB962C8B-B14F-4D97-AF65-F5344CB8AC3E}">
        <p14:creationId xmlns:p14="http://schemas.microsoft.com/office/powerpoint/2010/main" val="86755895"/>
      </p:ext>
    </p:extLst>
  </p:cSld>
  <p:clrMapOvr>
    <a:masterClrMapping/>
  </p:clrMapOvr>
  <p:transition spd="med">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Title 1"/>
          <p:cNvSpPr>
            <a:spLocks noGrp="1"/>
          </p:cNvSpPr>
          <p:nvPr>
            <p:ph type="title"/>
          </p:nvPr>
        </p:nvSpPr>
        <p:spPr bwMode="auto">
          <a:xfrm>
            <a:off x="1590674" y="204826"/>
            <a:ext cx="8315326" cy="49652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0" compatLnSpc="1">
            <a:prstTxWarp prst="textNoShape">
              <a:avLst/>
            </a:prstTxWarp>
          </a:bodyPr>
          <a:lstStyle/>
          <a:p>
            <a:pPr eaLnBrk="1" hangingPunct="1"/>
            <a:r>
              <a:rPr lang="pt-BR" altLang="es-ES" sz="2000" b="1" dirty="0" smtClean="0"/>
              <a:t>Juros baixos e reformas estruturais estimularão crescimento da economia e dos lucros das empresas, impulsionando o Ibovespa.</a:t>
            </a:r>
            <a:endParaRPr lang="pt-BR" altLang="es-ES" sz="2000" dirty="0"/>
          </a:p>
        </p:txBody>
      </p:sp>
      <p:sp>
        <p:nvSpPr>
          <p:cNvPr id="36871" name="Slide Number Placeholder 9"/>
          <p:cNvSpPr>
            <a:spLocks noGrp="1"/>
          </p:cNvSpPr>
          <p:nvPr>
            <p:ph type="sldNum" sz="quarter" idx="17"/>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Frutiger"/>
                <a:cs typeface="Arial" panose="020B0604020202020204" pitchFamily="34" charset="0"/>
              </a:defRPr>
            </a:lvl1pPr>
            <a:lvl2pPr marL="742950" indent="-285750">
              <a:defRPr>
                <a:solidFill>
                  <a:schemeClr val="tx1"/>
                </a:solidFill>
                <a:latin typeface="Frutiger"/>
                <a:cs typeface="Arial" panose="020B0604020202020204" pitchFamily="34" charset="0"/>
              </a:defRPr>
            </a:lvl2pPr>
            <a:lvl3pPr marL="1143000" indent="-228600">
              <a:defRPr>
                <a:solidFill>
                  <a:schemeClr val="tx1"/>
                </a:solidFill>
                <a:latin typeface="Frutiger"/>
                <a:cs typeface="Arial" panose="020B0604020202020204" pitchFamily="34" charset="0"/>
              </a:defRPr>
            </a:lvl3pPr>
            <a:lvl4pPr marL="1600200" indent="-228600">
              <a:defRPr>
                <a:solidFill>
                  <a:schemeClr val="tx1"/>
                </a:solidFill>
                <a:latin typeface="Frutiger"/>
                <a:cs typeface="Arial" panose="020B0604020202020204" pitchFamily="34" charset="0"/>
              </a:defRPr>
            </a:lvl4pPr>
            <a:lvl5pPr marL="2057400" indent="-228600">
              <a:defRPr>
                <a:solidFill>
                  <a:schemeClr val="tx1"/>
                </a:solidFill>
                <a:latin typeface="Frutiger"/>
                <a:cs typeface="Arial" panose="020B0604020202020204" pitchFamily="34" charset="0"/>
              </a:defRPr>
            </a:lvl5pPr>
            <a:lvl6pPr marL="2514600" indent="-228600" eaLnBrk="0" fontAlgn="base" hangingPunct="0">
              <a:spcBef>
                <a:spcPct val="0"/>
              </a:spcBef>
              <a:spcAft>
                <a:spcPct val="0"/>
              </a:spcAft>
              <a:defRPr>
                <a:solidFill>
                  <a:schemeClr val="tx1"/>
                </a:solidFill>
                <a:latin typeface="Frutiger"/>
                <a:cs typeface="Arial" panose="020B0604020202020204" pitchFamily="34" charset="0"/>
              </a:defRPr>
            </a:lvl6pPr>
            <a:lvl7pPr marL="2971800" indent="-228600" eaLnBrk="0" fontAlgn="base" hangingPunct="0">
              <a:spcBef>
                <a:spcPct val="0"/>
              </a:spcBef>
              <a:spcAft>
                <a:spcPct val="0"/>
              </a:spcAft>
              <a:defRPr>
                <a:solidFill>
                  <a:schemeClr val="tx1"/>
                </a:solidFill>
                <a:latin typeface="Frutiger"/>
                <a:cs typeface="Arial" panose="020B0604020202020204" pitchFamily="34" charset="0"/>
              </a:defRPr>
            </a:lvl7pPr>
            <a:lvl8pPr marL="3429000" indent="-228600" eaLnBrk="0" fontAlgn="base" hangingPunct="0">
              <a:spcBef>
                <a:spcPct val="0"/>
              </a:spcBef>
              <a:spcAft>
                <a:spcPct val="0"/>
              </a:spcAft>
              <a:defRPr>
                <a:solidFill>
                  <a:schemeClr val="tx1"/>
                </a:solidFill>
                <a:latin typeface="Frutiger"/>
                <a:cs typeface="Arial" panose="020B0604020202020204" pitchFamily="34" charset="0"/>
              </a:defRPr>
            </a:lvl8pPr>
            <a:lvl9pPr marL="3886200" indent="-228600" eaLnBrk="0" fontAlgn="base" hangingPunct="0">
              <a:spcBef>
                <a:spcPct val="0"/>
              </a:spcBef>
              <a:spcAft>
                <a:spcPct val="0"/>
              </a:spcAft>
              <a:defRPr>
                <a:solidFill>
                  <a:schemeClr val="tx1"/>
                </a:solidFill>
                <a:latin typeface="Frutiger"/>
                <a:cs typeface="Arial" panose="020B0604020202020204" pitchFamily="34" charset="0"/>
              </a:defRPr>
            </a:lvl9pPr>
          </a:lstStyle>
          <a:p>
            <a:fld id="{2400933B-1274-40ED-9CD0-4D10F87B7F03}" type="slidenum">
              <a:rPr lang="en-GB" altLang="es-ES">
                <a:solidFill>
                  <a:srgbClr val="1A647B"/>
                </a:solidFill>
                <a:latin typeface="Arial" panose="020B0604020202020204" pitchFamily="34" charset="0"/>
              </a:rPr>
              <a:pPr/>
              <a:t>4</a:t>
            </a:fld>
            <a:endParaRPr lang="en-GB" altLang="es-ES">
              <a:solidFill>
                <a:srgbClr val="1A647B"/>
              </a:solidFill>
              <a:latin typeface="Arial" panose="020B0604020202020204" pitchFamily="34" charset="0"/>
            </a:endParaRPr>
          </a:p>
        </p:txBody>
      </p:sp>
      <p:sp>
        <p:nvSpPr>
          <p:cNvPr id="26" name="Content Placeholder 8"/>
          <p:cNvSpPr>
            <a:spLocks noGrp="1"/>
          </p:cNvSpPr>
          <p:nvPr>
            <p:ph idx="4294967295"/>
          </p:nvPr>
        </p:nvSpPr>
        <p:spPr>
          <a:xfrm>
            <a:off x="681039" y="6269994"/>
            <a:ext cx="5391957" cy="233362"/>
          </a:xfrm>
          <a:prstGeom prst="rect">
            <a:avLst/>
          </a:prstGeom>
        </p:spPr>
        <p:txBody>
          <a:bodyPr vert="horz" wrap="square" lIns="0" tIns="45720" rIns="0" bIns="45720" numCol="1" anchor="ctr" anchorCtr="0" compatLnSpc="1">
            <a:prstTxWarp prst="textNoShape">
              <a:avLst/>
            </a:prstTxWarp>
          </a:bodyPr>
          <a:lstStyle/>
          <a:p>
            <a:pPr marL="0" indent="0" eaLnBrk="1" fontAlgn="auto" hangingPunct="1">
              <a:spcBef>
                <a:spcPct val="0"/>
              </a:spcBef>
              <a:spcAft>
                <a:spcPts val="0"/>
              </a:spcAft>
              <a:buNone/>
            </a:pPr>
            <a:r>
              <a:rPr lang="pt-BR" sz="800" dirty="0" smtClean="0">
                <a:solidFill>
                  <a:srgbClr val="1A647B"/>
                </a:solidFill>
                <a:latin typeface="Arial" panose="020B0604020202020204" pitchFamily="34" charset="0"/>
                <a:cs typeface="Arial" panose="020B0604020202020204" pitchFamily="34" charset="0"/>
              </a:rPr>
              <a:t>Fonte: </a:t>
            </a:r>
            <a:r>
              <a:rPr lang="pt-BR" sz="800" dirty="0" smtClean="0">
                <a:solidFill>
                  <a:srgbClr val="1A647B"/>
                </a:solidFill>
                <a:latin typeface="Arial" panose="020B0604020202020204" pitchFamily="34" charset="0"/>
                <a:cs typeface="Arial" panose="020B0604020202020204" pitchFamily="34" charset="0"/>
              </a:rPr>
              <a:t>Banco Central do Brasil, Ministério da Economia, </a:t>
            </a:r>
            <a:r>
              <a:rPr lang="pt-BR" sz="800" dirty="0" err="1" smtClean="0">
                <a:solidFill>
                  <a:srgbClr val="1A647B"/>
                </a:solidFill>
                <a:latin typeface="Arial" panose="020B0604020202020204" pitchFamily="34" charset="0"/>
                <a:cs typeface="Arial" panose="020B0604020202020204" pitchFamily="34" charset="0"/>
              </a:rPr>
              <a:t>Bloomberg</a:t>
            </a:r>
            <a:r>
              <a:rPr lang="pt-BR" sz="800" dirty="0" smtClean="0">
                <a:solidFill>
                  <a:srgbClr val="1A647B"/>
                </a:solidFill>
                <a:latin typeface="Arial" panose="020B0604020202020204" pitchFamily="34" charset="0"/>
                <a:cs typeface="Arial" panose="020B0604020202020204" pitchFamily="34" charset="0"/>
              </a:rPr>
              <a:t>.</a:t>
            </a:r>
            <a:r>
              <a:rPr lang="pt-BR" sz="800" dirty="0" smtClean="0">
                <a:solidFill>
                  <a:srgbClr val="1A647B"/>
                </a:solidFill>
                <a:latin typeface="Arial" panose="020B0604020202020204" pitchFamily="34" charset="0"/>
                <a:cs typeface="Arial" panose="020B0604020202020204" pitchFamily="34" charset="0"/>
              </a:rPr>
              <a:t> </a:t>
            </a:r>
            <a:r>
              <a:rPr lang="pt-BR" sz="800" dirty="0" smtClean="0">
                <a:solidFill>
                  <a:srgbClr val="1A647B"/>
                </a:solidFill>
                <a:latin typeface="Arial" panose="020B0604020202020204" pitchFamily="34" charset="0"/>
                <a:cs typeface="Arial" panose="020B0604020202020204" pitchFamily="34" charset="0"/>
              </a:rPr>
              <a:t> </a:t>
            </a:r>
            <a:endParaRPr lang="pt-BR" sz="800" dirty="0">
              <a:solidFill>
                <a:srgbClr val="1A647B"/>
              </a:solidFill>
              <a:latin typeface="Arial" panose="020B0604020202020204" pitchFamily="34" charset="0"/>
              <a:cs typeface="Arial" panose="020B0604020202020204" pitchFamily="34" charset="0"/>
            </a:endParaRPr>
          </a:p>
        </p:txBody>
      </p:sp>
      <p:cxnSp>
        <p:nvCxnSpPr>
          <p:cNvPr id="42" name="31 Conector recto"/>
          <p:cNvCxnSpPr/>
          <p:nvPr/>
        </p:nvCxnSpPr>
        <p:spPr bwMode="auto">
          <a:xfrm>
            <a:off x="236538" y="2231239"/>
            <a:ext cx="2662460" cy="0"/>
          </a:xfrm>
          <a:prstGeom prst="line">
            <a:avLst/>
          </a:prstGeom>
          <a:solidFill>
            <a:srgbClr val="525252"/>
          </a:solidFill>
          <a:ln w="9525" cap="flat" cmpd="sng" algn="ctr">
            <a:solidFill>
              <a:srgbClr val="FFFFFF">
                <a:lumMod val="75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5" name="Content Placeholder 4"/>
          <p:cNvSpPr>
            <a:spLocks noGrp="1"/>
          </p:cNvSpPr>
          <p:nvPr>
            <p:ph sz="quarter" idx="4294967295"/>
          </p:nvPr>
        </p:nvSpPr>
        <p:spPr>
          <a:xfrm>
            <a:off x="236538" y="368300"/>
            <a:ext cx="855662" cy="776288"/>
          </a:xfrm>
          <a:prstGeom prst="rect">
            <a:avLst/>
          </a:prstGeom>
        </p:spPr>
        <p:txBody>
          <a:bodyPr/>
          <a:lstStyle/>
          <a:p>
            <a:pPr marL="0" indent="0" algn="ctr" eaLnBrk="1" fontAlgn="auto" hangingPunct="1">
              <a:spcAft>
                <a:spcPts val="0"/>
              </a:spcAft>
              <a:buNone/>
              <a:defRPr/>
            </a:pPr>
            <a:r>
              <a:rPr lang="en-GB" sz="4800" dirty="0">
                <a:solidFill>
                  <a:schemeClr val="bg1"/>
                </a:solidFill>
                <a:latin typeface="+mj-lt"/>
              </a:rPr>
              <a:t>1</a:t>
            </a:r>
          </a:p>
        </p:txBody>
      </p:sp>
      <p:graphicFrame>
        <p:nvGraphicFramePr>
          <p:cNvPr id="20" name="Chart 19"/>
          <p:cNvGraphicFramePr>
            <a:graphicFrameLocks/>
          </p:cNvGraphicFramePr>
          <p:nvPr>
            <p:extLst>
              <p:ext uri="{D42A27DB-BD31-4B8C-83A1-F6EECF244321}">
                <p14:modId xmlns:p14="http://schemas.microsoft.com/office/powerpoint/2010/main" val="2655977864"/>
              </p:ext>
            </p:extLst>
          </p:nvPr>
        </p:nvGraphicFramePr>
        <p:xfrm>
          <a:off x="0" y="2435210"/>
          <a:ext cx="3135718" cy="2528676"/>
        </p:xfrm>
        <a:graphic>
          <a:graphicData uri="http://schemas.openxmlformats.org/drawingml/2006/chart">
            <c:chart xmlns:c="http://schemas.openxmlformats.org/drawingml/2006/chart" xmlns:r="http://schemas.openxmlformats.org/officeDocument/2006/relationships" r:id="rId3"/>
          </a:graphicData>
        </a:graphic>
      </p:graphicFrame>
      <p:sp>
        <p:nvSpPr>
          <p:cNvPr id="4" name="Rectangle 3"/>
          <p:cNvSpPr/>
          <p:nvPr/>
        </p:nvSpPr>
        <p:spPr>
          <a:xfrm>
            <a:off x="174991" y="1908807"/>
            <a:ext cx="2864887" cy="338554"/>
          </a:xfrm>
          <a:prstGeom prst="rect">
            <a:avLst/>
          </a:prstGeom>
        </p:spPr>
        <p:txBody>
          <a:bodyPr wrap="none">
            <a:spAutoFit/>
          </a:bodyPr>
          <a:lstStyle/>
          <a:p>
            <a:r>
              <a:rPr lang="pt-BR" sz="1600" b="1" dirty="0" smtClean="0">
                <a:solidFill>
                  <a:srgbClr val="9C1915"/>
                </a:solidFill>
                <a:latin typeface="Arial" panose="020B0604020202020204" pitchFamily="34" charset="0"/>
              </a:rPr>
              <a:t>Juros </a:t>
            </a:r>
            <a:r>
              <a:rPr lang="pt-BR" sz="1600" dirty="0" smtClean="0">
                <a:solidFill>
                  <a:srgbClr val="575756"/>
                </a:solidFill>
                <a:latin typeface="Arial" panose="020B0604020202020204" pitchFamily="34" charset="0"/>
              </a:rPr>
              <a:t>baixos por mais tempo</a:t>
            </a:r>
            <a:endParaRPr lang="en-US" sz="1600" dirty="0"/>
          </a:p>
        </p:txBody>
      </p:sp>
      <p:cxnSp>
        <p:nvCxnSpPr>
          <p:cNvPr id="27" name="31 Conector recto"/>
          <p:cNvCxnSpPr/>
          <p:nvPr/>
        </p:nvCxnSpPr>
        <p:spPr bwMode="auto">
          <a:xfrm>
            <a:off x="3135718" y="2226880"/>
            <a:ext cx="2856709" cy="0"/>
          </a:xfrm>
          <a:prstGeom prst="line">
            <a:avLst/>
          </a:prstGeom>
          <a:solidFill>
            <a:srgbClr val="525252"/>
          </a:solidFill>
          <a:ln w="9525" cap="flat" cmpd="sng" algn="ctr">
            <a:solidFill>
              <a:srgbClr val="FFFFFF">
                <a:lumMod val="75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8" name="Rectangle 27"/>
          <p:cNvSpPr/>
          <p:nvPr/>
        </p:nvSpPr>
        <p:spPr>
          <a:xfrm>
            <a:off x="3208212" y="1908807"/>
            <a:ext cx="2693366" cy="338554"/>
          </a:xfrm>
          <a:prstGeom prst="rect">
            <a:avLst/>
          </a:prstGeom>
        </p:spPr>
        <p:txBody>
          <a:bodyPr wrap="none">
            <a:spAutoFit/>
          </a:bodyPr>
          <a:lstStyle/>
          <a:p>
            <a:r>
              <a:rPr lang="pt-BR" sz="1600" b="1" dirty="0" smtClean="0">
                <a:solidFill>
                  <a:srgbClr val="9C1915"/>
                </a:solidFill>
                <a:latin typeface="Arial" panose="020B0604020202020204" pitchFamily="34" charset="0"/>
              </a:rPr>
              <a:t>Reformas &amp; Crescimento</a:t>
            </a:r>
            <a:endParaRPr lang="en-US" sz="1600" dirty="0"/>
          </a:p>
        </p:txBody>
      </p:sp>
      <p:pic>
        <p:nvPicPr>
          <p:cNvPr id="29" name="Picture 28"/>
          <p:cNvPicPr>
            <a:picLocks noChangeAspect="1"/>
          </p:cNvPicPr>
          <p:nvPr/>
        </p:nvPicPr>
        <p:blipFill>
          <a:blip r:embed="rId4"/>
          <a:stretch>
            <a:fillRect/>
          </a:stretch>
        </p:blipFill>
        <p:spPr>
          <a:xfrm>
            <a:off x="3039878" y="2433240"/>
            <a:ext cx="3057668" cy="2530645"/>
          </a:xfrm>
          <a:prstGeom prst="rect">
            <a:avLst/>
          </a:prstGeom>
        </p:spPr>
      </p:pic>
      <p:cxnSp>
        <p:nvCxnSpPr>
          <p:cNvPr id="30" name="31 Conector recto"/>
          <p:cNvCxnSpPr/>
          <p:nvPr/>
        </p:nvCxnSpPr>
        <p:spPr bwMode="auto">
          <a:xfrm>
            <a:off x="6175596" y="2226880"/>
            <a:ext cx="3545453" cy="0"/>
          </a:xfrm>
          <a:prstGeom prst="line">
            <a:avLst/>
          </a:prstGeom>
          <a:solidFill>
            <a:srgbClr val="525252"/>
          </a:solidFill>
          <a:ln w="9525" cap="flat" cmpd="sng" algn="ctr">
            <a:solidFill>
              <a:srgbClr val="FFFFFF">
                <a:lumMod val="75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1" name="Rectangle 30"/>
          <p:cNvSpPr/>
          <p:nvPr/>
        </p:nvSpPr>
        <p:spPr>
          <a:xfrm>
            <a:off x="5953065" y="1904448"/>
            <a:ext cx="4046301" cy="338554"/>
          </a:xfrm>
          <a:prstGeom prst="rect">
            <a:avLst/>
          </a:prstGeom>
        </p:spPr>
        <p:txBody>
          <a:bodyPr wrap="none">
            <a:spAutoFit/>
          </a:bodyPr>
          <a:lstStyle/>
          <a:p>
            <a:r>
              <a:rPr lang="pt-BR" sz="1600" b="1" dirty="0" smtClean="0">
                <a:solidFill>
                  <a:srgbClr val="9C1915"/>
                </a:solidFill>
                <a:latin typeface="Arial" panose="020B0604020202020204" pitchFamily="34" charset="0"/>
              </a:rPr>
              <a:t>Revisão de positiva de lucros </a:t>
            </a:r>
            <a:r>
              <a:rPr lang="pt-BR" sz="1600" dirty="0" smtClean="0">
                <a:solidFill>
                  <a:srgbClr val="575756"/>
                </a:solidFill>
                <a:latin typeface="Arial" panose="020B0604020202020204" pitchFamily="34" charset="0"/>
              </a:rPr>
              <a:t>em 2020</a:t>
            </a:r>
            <a:endParaRPr lang="en-US" sz="1600" dirty="0">
              <a:solidFill>
                <a:srgbClr val="575756"/>
              </a:solidFill>
              <a:latin typeface="Arial" panose="020B0604020202020204" pitchFamily="34" charset="0"/>
            </a:endParaRPr>
          </a:p>
        </p:txBody>
      </p:sp>
      <p:graphicFrame>
        <p:nvGraphicFramePr>
          <p:cNvPr id="32" name="Chart 31"/>
          <p:cNvGraphicFramePr>
            <a:graphicFrameLocks/>
          </p:cNvGraphicFramePr>
          <p:nvPr>
            <p:extLst>
              <p:ext uri="{D42A27DB-BD31-4B8C-83A1-F6EECF244321}">
                <p14:modId xmlns:p14="http://schemas.microsoft.com/office/powerpoint/2010/main" val="2211719920"/>
              </p:ext>
            </p:extLst>
          </p:nvPr>
        </p:nvGraphicFramePr>
        <p:xfrm>
          <a:off x="6254719" y="2243001"/>
          <a:ext cx="3442991" cy="2720884"/>
        </p:xfrm>
        <a:graphic>
          <a:graphicData uri="http://schemas.openxmlformats.org/drawingml/2006/chart">
            <c:chart xmlns:c="http://schemas.openxmlformats.org/drawingml/2006/chart" xmlns:r="http://schemas.openxmlformats.org/officeDocument/2006/relationships" r:id="rId5"/>
          </a:graphicData>
        </a:graphic>
      </p:graphicFrame>
      <p:cxnSp>
        <p:nvCxnSpPr>
          <p:cNvPr id="6" name="Straight Arrow Connector 5"/>
          <p:cNvCxnSpPr/>
          <p:nvPr/>
        </p:nvCxnSpPr>
        <p:spPr>
          <a:xfrm flipV="1">
            <a:off x="9370969" y="3762271"/>
            <a:ext cx="0" cy="426720"/>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21257015"/>
      </p:ext>
    </p:extLst>
  </p:cSld>
  <p:clrMapOvr>
    <a:masterClrMapping/>
  </p:clrMapOvr>
  <p:transition spd="med">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Title 1"/>
          <p:cNvSpPr>
            <a:spLocks noGrp="1"/>
          </p:cNvSpPr>
          <p:nvPr>
            <p:ph type="title"/>
          </p:nvPr>
        </p:nvSpPr>
        <p:spPr bwMode="auto">
          <a:xfrm>
            <a:off x="1590674" y="305729"/>
            <a:ext cx="8315326" cy="2571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0" compatLnSpc="1">
            <a:prstTxWarp prst="textNoShape">
              <a:avLst/>
            </a:prstTxWarp>
          </a:bodyPr>
          <a:lstStyle/>
          <a:p>
            <a:pPr eaLnBrk="1" hangingPunct="1"/>
            <a:r>
              <a:rPr lang="pt-BR" altLang="es-ES" sz="2000" b="1" dirty="0" smtClean="0"/>
              <a:t>O Índice IBOVESPA não está caro</a:t>
            </a:r>
            <a:r>
              <a:rPr lang="pt-BR" altLang="es-ES" sz="2000" dirty="0" smtClean="0"/>
              <a:t> pois sua alta foi acompanhada pelo </a:t>
            </a:r>
            <a:r>
              <a:rPr lang="pt-BR" altLang="es-ES" sz="2000" b="1" dirty="0" smtClean="0"/>
              <a:t>crescimento dos lucros das empresas.</a:t>
            </a:r>
            <a:endParaRPr lang="pt-BR" altLang="es-ES" sz="2000" b="1" dirty="0"/>
          </a:p>
        </p:txBody>
      </p:sp>
      <p:sp>
        <p:nvSpPr>
          <p:cNvPr id="36871" name="Slide Number Placeholder 9"/>
          <p:cNvSpPr>
            <a:spLocks noGrp="1"/>
          </p:cNvSpPr>
          <p:nvPr>
            <p:ph type="sldNum" sz="quarter" idx="17"/>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Frutiger"/>
                <a:cs typeface="Arial" panose="020B0604020202020204" pitchFamily="34" charset="0"/>
              </a:defRPr>
            </a:lvl1pPr>
            <a:lvl2pPr marL="742950" indent="-285750">
              <a:defRPr>
                <a:solidFill>
                  <a:schemeClr val="tx1"/>
                </a:solidFill>
                <a:latin typeface="Frutiger"/>
                <a:cs typeface="Arial" panose="020B0604020202020204" pitchFamily="34" charset="0"/>
              </a:defRPr>
            </a:lvl2pPr>
            <a:lvl3pPr marL="1143000" indent="-228600">
              <a:defRPr>
                <a:solidFill>
                  <a:schemeClr val="tx1"/>
                </a:solidFill>
                <a:latin typeface="Frutiger"/>
                <a:cs typeface="Arial" panose="020B0604020202020204" pitchFamily="34" charset="0"/>
              </a:defRPr>
            </a:lvl3pPr>
            <a:lvl4pPr marL="1600200" indent="-228600">
              <a:defRPr>
                <a:solidFill>
                  <a:schemeClr val="tx1"/>
                </a:solidFill>
                <a:latin typeface="Frutiger"/>
                <a:cs typeface="Arial" panose="020B0604020202020204" pitchFamily="34" charset="0"/>
              </a:defRPr>
            </a:lvl4pPr>
            <a:lvl5pPr marL="2057400" indent="-228600">
              <a:defRPr>
                <a:solidFill>
                  <a:schemeClr val="tx1"/>
                </a:solidFill>
                <a:latin typeface="Frutiger"/>
                <a:cs typeface="Arial" panose="020B0604020202020204" pitchFamily="34" charset="0"/>
              </a:defRPr>
            </a:lvl5pPr>
            <a:lvl6pPr marL="2514600" indent="-228600" eaLnBrk="0" fontAlgn="base" hangingPunct="0">
              <a:spcBef>
                <a:spcPct val="0"/>
              </a:spcBef>
              <a:spcAft>
                <a:spcPct val="0"/>
              </a:spcAft>
              <a:defRPr>
                <a:solidFill>
                  <a:schemeClr val="tx1"/>
                </a:solidFill>
                <a:latin typeface="Frutiger"/>
                <a:cs typeface="Arial" panose="020B0604020202020204" pitchFamily="34" charset="0"/>
              </a:defRPr>
            </a:lvl6pPr>
            <a:lvl7pPr marL="2971800" indent="-228600" eaLnBrk="0" fontAlgn="base" hangingPunct="0">
              <a:spcBef>
                <a:spcPct val="0"/>
              </a:spcBef>
              <a:spcAft>
                <a:spcPct val="0"/>
              </a:spcAft>
              <a:defRPr>
                <a:solidFill>
                  <a:schemeClr val="tx1"/>
                </a:solidFill>
                <a:latin typeface="Frutiger"/>
                <a:cs typeface="Arial" panose="020B0604020202020204" pitchFamily="34" charset="0"/>
              </a:defRPr>
            </a:lvl7pPr>
            <a:lvl8pPr marL="3429000" indent="-228600" eaLnBrk="0" fontAlgn="base" hangingPunct="0">
              <a:spcBef>
                <a:spcPct val="0"/>
              </a:spcBef>
              <a:spcAft>
                <a:spcPct val="0"/>
              </a:spcAft>
              <a:defRPr>
                <a:solidFill>
                  <a:schemeClr val="tx1"/>
                </a:solidFill>
                <a:latin typeface="Frutiger"/>
                <a:cs typeface="Arial" panose="020B0604020202020204" pitchFamily="34" charset="0"/>
              </a:defRPr>
            </a:lvl8pPr>
            <a:lvl9pPr marL="3886200" indent="-228600" eaLnBrk="0" fontAlgn="base" hangingPunct="0">
              <a:spcBef>
                <a:spcPct val="0"/>
              </a:spcBef>
              <a:spcAft>
                <a:spcPct val="0"/>
              </a:spcAft>
              <a:defRPr>
                <a:solidFill>
                  <a:schemeClr val="tx1"/>
                </a:solidFill>
                <a:latin typeface="Frutiger"/>
                <a:cs typeface="Arial" panose="020B0604020202020204" pitchFamily="34" charset="0"/>
              </a:defRPr>
            </a:lvl9pPr>
          </a:lstStyle>
          <a:p>
            <a:fld id="{2400933B-1274-40ED-9CD0-4D10F87B7F03}" type="slidenum">
              <a:rPr lang="en-GB" altLang="es-ES">
                <a:solidFill>
                  <a:srgbClr val="1A647B"/>
                </a:solidFill>
                <a:latin typeface="Arial" panose="020B0604020202020204" pitchFamily="34" charset="0"/>
              </a:rPr>
              <a:pPr/>
              <a:t>5</a:t>
            </a:fld>
            <a:endParaRPr lang="en-GB" altLang="es-ES">
              <a:solidFill>
                <a:srgbClr val="1A647B"/>
              </a:solidFill>
              <a:latin typeface="Arial" panose="020B0604020202020204" pitchFamily="34" charset="0"/>
            </a:endParaRPr>
          </a:p>
        </p:txBody>
      </p:sp>
      <p:sp>
        <p:nvSpPr>
          <p:cNvPr id="26" name="Content Placeholder 8"/>
          <p:cNvSpPr>
            <a:spLocks noGrp="1"/>
          </p:cNvSpPr>
          <p:nvPr>
            <p:ph idx="4294967295"/>
          </p:nvPr>
        </p:nvSpPr>
        <p:spPr>
          <a:xfrm>
            <a:off x="681039" y="6183734"/>
            <a:ext cx="5554662" cy="233362"/>
          </a:xfrm>
          <a:prstGeom prst="rect">
            <a:avLst/>
          </a:prstGeom>
        </p:spPr>
        <p:txBody>
          <a:bodyPr vert="horz" wrap="square" lIns="0" tIns="45720" rIns="0" bIns="45720" numCol="1" anchor="ctr" anchorCtr="0" compatLnSpc="1">
            <a:prstTxWarp prst="textNoShape">
              <a:avLst/>
            </a:prstTxWarp>
          </a:bodyPr>
          <a:lstStyle/>
          <a:p>
            <a:pPr marL="0" indent="0" eaLnBrk="1" fontAlgn="auto" hangingPunct="1">
              <a:spcBef>
                <a:spcPct val="0"/>
              </a:spcBef>
              <a:spcAft>
                <a:spcPts val="0"/>
              </a:spcAft>
              <a:buNone/>
            </a:pPr>
            <a:r>
              <a:rPr lang="en-US" sz="800" dirty="0" smtClean="0">
                <a:solidFill>
                  <a:srgbClr val="1A647B"/>
                </a:solidFill>
                <a:latin typeface="Arial" panose="020B0604020202020204" pitchFamily="34" charset="0"/>
                <a:cs typeface="Arial" panose="020B0604020202020204" pitchFamily="34" charset="0"/>
              </a:rPr>
              <a:t>Fonte: Santander </a:t>
            </a:r>
            <a:r>
              <a:rPr lang="en-US" sz="800" dirty="0" err="1" smtClean="0">
                <a:solidFill>
                  <a:srgbClr val="1A647B"/>
                </a:solidFill>
                <a:latin typeface="Arial" panose="020B0604020202020204" pitchFamily="34" charset="0"/>
                <a:cs typeface="Arial" panose="020B0604020202020204" pitchFamily="34" charset="0"/>
              </a:rPr>
              <a:t>Brasil</a:t>
            </a:r>
            <a:r>
              <a:rPr lang="en-US" sz="800" dirty="0" smtClean="0">
                <a:solidFill>
                  <a:srgbClr val="1A647B"/>
                </a:solidFill>
                <a:latin typeface="Arial" panose="020B0604020202020204" pitchFamily="34" charset="0"/>
                <a:cs typeface="Arial" panose="020B0604020202020204" pitchFamily="34" charset="0"/>
              </a:rPr>
              <a:t> Asset Management e </a:t>
            </a:r>
            <a:r>
              <a:rPr lang="en-US" sz="800" dirty="0" err="1" smtClean="0">
                <a:solidFill>
                  <a:srgbClr val="1A647B"/>
                </a:solidFill>
                <a:latin typeface="Arial" panose="020B0604020202020204" pitchFamily="34" charset="0"/>
                <a:cs typeface="Arial" panose="020B0604020202020204" pitchFamily="34" charset="0"/>
              </a:rPr>
              <a:t>Pesquisa</a:t>
            </a:r>
            <a:r>
              <a:rPr lang="en-US" sz="800" dirty="0" smtClean="0">
                <a:solidFill>
                  <a:srgbClr val="1A647B"/>
                </a:solidFill>
                <a:latin typeface="Arial" panose="020B0604020202020204" pitchFamily="34" charset="0"/>
                <a:cs typeface="Arial" panose="020B0604020202020204" pitchFamily="34" charset="0"/>
              </a:rPr>
              <a:t> Bloomberg.</a:t>
            </a:r>
            <a:endParaRPr lang="en-US" sz="800" dirty="0">
              <a:solidFill>
                <a:srgbClr val="1A647B"/>
              </a:solidFill>
              <a:latin typeface="Arial" panose="020B0604020202020204" pitchFamily="34" charset="0"/>
              <a:cs typeface="Arial" panose="020B0604020202020204" pitchFamily="34" charset="0"/>
            </a:endParaRPr>
          </a:p>
        </p:txBody>
      </p:sp>
      <p:sp>
        <p:nvSpPr>
          <p:cNvPr id="4" name="TextBox 3"/>
          <p:cNvSpPr txBox="1"/>
          <p:nvPr/>
        </p:nvSpPr>
        <p:spPr>
          <a:xfrm>
            <a:off x="8534400" y="2769326"/>
            <a:ext cx="853440" cy="338554"/>
          </a:xfrm>
          <a:prstGeom prst="rect">
            <a:avLst/>
          </a:prstGeom>
          <a:noFill/>
        </p:spPr>
        <p:txBody>
          <a:bodyPr wrap="square" rtlCol="0">
            <a:spAutoFit/>
          </a:bodyPr>
          <a:lstStyle/>
          <a:p>
            <a:r>
              <a:rPr lang="en-US" sz="1600" dirty="0" smtClean="0">
                <a:solidFill>
                  <a:schemeClr val="accent2"/>
                </a:solidFill>
                <a:latin typeface="Arial" panose="020B0604020202020204" pitchFamily="34" charset="0"/>
                <a:ea typeface="+mj-ea"/>
              </a:rPr>
              <a:t>11,7x</a:t>
            </a:r>
            <a:endParaRPr lang="en-US" sz="1600" dirty="0">
              <a:solidFill>
                <a:schemeClr val="accent2"/>
              </a:solidFill>
              <a:latin typeface="Arial" panose="020B0604020202020204" pitchFamily="34" charset="0"/>
              <a:ea typeface="+mj-ea"/>
            </a:endParaRPr>
          </a:p>
        </p:txBody>
      </p:sp>
      <p:sp>
        <p:nvSpPr>
          <p:cNvPr id="7" name="Content Placeholder 4"/>
          <p:cNvSpPr>
            <a:spLocks noGrp="1"/>
          </p:cNvSpPr>
          <p:nvPr>
            <p:ph sz="quarter" idx="4294967295"/>
          </p:nvPr>
        </p:nvSpPr>
        <p:spPr>
          <a:xfrm>
            <a:off x="236538" y="368300"/>
            <a:ext cx="855662" cy="776288"/>
          </a:xfrm>
          <a:prstGeom prst="rect">
            <a:avLst/>
          </a:prstGeom>
        </p:spPr>
        <p:txBody>
          <a:bodyPr/>
          <a:lstStyle/>
          <a:p>
            <a:pPr marL="0" indent="0" algn="ctr" eaLnBrk="1" fontAlgn="auto" hangingPunct="1">
              <a:spcAft>
                <a:spcPts val="0"/>
              </a:spcAft>
              <a:buNone/>
              <a:defRPr/>
            </a:pPr>
            <a:r>
              <a:rPr lang="en-GB" sz="4800" dirty="0">
                <a:solidFill>
                  <a:schemeClr val="bg1"/>
                </a:solidFill>
                <a:latin typeface="+mj-lt"/>
              </a:rPr>
              <a:t>1</a:t>
            </a:r>
          </a:p>
        </p:txBody>
      </p:sp>
      <p:pic>
        <p:nvPicPr>
          <p:cNvPr id="3" name="Picture 2"/>
          <p:cNvPicPr>
            <a:picLocks noChangeAspect="1"/>
          </p:cNvPicPr>
          <p:nvPr/>
        </p:nvPicPr>
        <p:blipFill>
          <a:blip r:embed="rId2"/>
          <a:stretch>
            <a:fillRect/>
          </a:stretch>
        </p:blipFill>
        <p:spPr>
          <a:xfrm>
            <a:off x="1160959" y="1615283"/>
            <a:ext cx="7584081" cy="3627434"/>
          </a:xfrm>
          <a:prstGeom prst="rect">
            <a:avLst/>
          </a:prstGeom>
        </p:spPr>
      </p:pic>
    </p:spTree>
    <p:extLst>
      <p:ext uri="{BB962C8B-B14F-4D97-AF65-F5344CB8AC3E}">
        <p14:creationId xmlns:p14="http://schemas.microsoft.com/office/powerpoint/2010/main" val="3436992405"/>
      </p:ext>
    </p:extLst>
  </p:cSld>
  <p:clrMapOvr>
    <a:masterClrMapping/>
  </p:clrMapOvr>
  <p:transition spd="med">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Chart 14"/>
          <p:cNvGraphicFramePr>
            <a:graphicFrameLocks/>
          </p:cNvGraphicFramePr>
          <p:nvPr>
            <p:extLst>
              <p:ext uri="{D42A27DB-BD31-4B8C-83A1-F6EECF244321}">
                <p14:modId xmlns:p14="http://schemas.microsoft.com/office/powerpoint/2010/main" val="5380524"/>
              </p:ext>
            </p:extLst>
          </p:nvPr>
        </p:nvGraphicFramePr>
        <p:xfrm>
          <a:off x="1123949" y="1517182"/>
          <a:ext cx="7568925" cy="4541355"/>
        </p:xfrm>
        <a:graphic>
          <a:graphicData uri="http://schemas.openxmlformats.org/drawingml/2006/chart">
            <c:chart xmlns:c="http://schemas.openxmlformats.org/drawingml/2006/chart" xmlns:r="http://schemas.openxmlformats.org/officeDocument/2006/relationships" r:id="rId2"/>
          </a:graphicData>
        </a:graphic>
      </p:graphicFrame>
      <p:sp>
        <p:nvSpPr>
          <p:cNvPr id="36866" name="Title 1"/>
          <p:cNvSpPr>
            <a:spLocks noGrp="1"/>
          </p:cNvSpPr>
          <p:nvPr>
            <p:ph type="title"/>
          </p:nvPr>
        </p:nvSpPr>
        <p:spPr bwMode="auto">
          <a:xfrm>
            <a:off x="1590674" y="199808"/>
            <a:ext cx="8315326" cy="46281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0" compatLnSpc="1">
            <a:prstTxWarp prst="textNoShape">
              <a:avLst/>
            </a:prstTxWarp>
          </a:bodyPr>
          <a:lstStyle/>
          <a:p>
            <a:pPr eaLnBrk="1" hangingPunct="1"/>
            <a:r>
              <a:rPr lang="pt-BR" altLang="es-ES" sz="2000" b="1" dirty="0" smtClean="0"/>
              <a:t>Qual o potencial para o Ibovespa nesse cenário</a:t>
            </a:r>
            <a:r>
              <a:rPr lang="pt-BR" altLang="es-ES" sz="2000" dirty="0" smtClean="0"/>
              <a:t>?</a:t>
            </a:r>
            <a:endParaRPr lang="pt-BR" altLang="es-ES" sz="2000" dirty="0"/>
          </a:p>
        </p:txBody>
      </p:sp>
      <p:sp>
        <p:nvSpPr>
          <p:cNvPr id="36871" name="Slide Number Placeholder 9"/>
          <p:cNvSpPr>
            <a:spLocks noGrp="1"/>
          </p:cNvSpPr>
          <p:nvPr>
            <p:ph type="sldNum" sz="quarter" idx="17"/>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Frutiger"/>
                <a:cs typeface="Arial" panose="020B0604020202020204" pitchFamily="34" charset="0"/>
              </a:defRPr>
            </a:lvl1pPr>
            <a:lvl2pPr marL="742950" indent="-285750">
              <a:defRPr>
                <a:solidFill>
                  <a:schemeClr val="tx1"/>
                </a:solidFill>
                <a:latin typeface="Frutiger"/>
                <a:cs typeface="Arial" panose="020B0604020202020204" pitchFamily="34" charset="0"/>
              </a:defRPr>
            </a:lvl2pPr>
            <a:lvl3pPr marL="1143000" indent="-228600">
              <a:defRPr>
                <a:solidFill>
                  <a:schemeClr val="tx1"/>
                </a:solidFill>
                <a:latin typeface="Frutiger"/>
                <a:cs typeface="Arial" panose="020B0604020202020204" pitchFamily="34" charset="0"/>
              </a:defRPr>
            </a:lvl3pPr>
            <a:lvl4pPr marL="1600200" indent="-228600">
              <a:defRPr>
                <a:solidFill>
                  <a:schemeClr val="tx1"/>
                </a:solidFill>
                <a:latin typeface="Frutiger"/>
                <a:cs typeface="Arial" panose="020B0604020202020204" pitchFamily="34" charset="0"/>
              </a:defRPr>
            </a:lvl4pPr>
            <a:lvl5pPr marL="2057400" indent="-228600">
              <a:defRPr>
                <a:solidFill>
                  <a:schemeClr val="tx1"/>
                </a:solidFill>
                <a:latin typeface="Frutiger"/>
                <a:cs typeface="Arial" panose="020B0604020202020204" pitchFamily="34" charset="0"/>
              </a:defRPr>
            </a:lvl5pPr>
            <a:lvl6pPr marL="2514600" indent="-228600" eaLnBrk="0" fontAlgn="base" hangingPunct="0">
              <a:spcBef>
                <a:spcPct val="0"/>
              </a:spcBef>
              <a:spcAft>
                <a:spcPct val="0"/>
              </a:spcAft>
              <a:defRPr>
                <a:solidFill>
                  <a:schemeClr val="tx1"/>
                </a:solidFill>
                <a:latin typeface="Frutiger"/>
                <a:cs typeface="Arial" panose="020B0604020202020204" pitchFamily="34" charset="0"/>
              </a:defRPr>
            </a:lvl6pPr>
            <a:lvl7pPr marL="2971800" indent="-228600" eaLnBrk="0" fontAlgn="base" hangingPunct="0">
              <a:spcBef>
                <a:spcPct val="0"/>
              </a:spcBef>
              <a:spcAft>
                <a:spcPct val="0"/>
              </a:spcAft>
              <a:defRPr>
                <a:solidFill>
                  <a:schemeClr val="tx1"/>
                </a:solidFill>
                <a:latin typeface="Frutiger"/>
                <a:cs typeface="Arial" panose="020B0604020202020204" pitchFamily="34" charset="0"/>
              </a:defRPr>
            </a:lvl7pPr>
            <a:lvl8pPr marL="3429000" indent="-228600" eaLnBrk="0" fontAlgn="base" hangingPunct="0">
              <a:spcBef>
                <a:spcPct val="0"/>
              </a:spcBef>
              <a:spcAft>
                <a:spcPct val="0"/>
              </a:spcAft>
              <a:defRPr>
                <a:solidFill>
                  <a:schemeClr val="tx1"/>
                </a:solidFill>
                <a:latin typeface="Frutiger"/>
                <a:cs typeface="Arial" panose="020B0604020202020204" pitchFamily="34" charset="0"/>
              </a:defRPr>
            </a:lvl8pPr>
            <a:lvl9pPr marL="3886200" indent="-228600" eaLnBrk="0" fontAlgn="base" hangingPunct="0">
              <a:spcBef>
                <a:spcPct val="0"/>
              </a:spcBef>
              <a:spcAft>
                <a:spcPct val="0"/>
              </a:spcAft>
              <a:defRPr>
                <a:solidFill>
                  <a:schemeClr val="tx1"/>
                </a:solidFill>
                <a:latin typeface="Frutiger"/>
                <a:cs typeface="Arial" panose="020B0604020202020204" pitchFamily="34" charset="0"/>
              </a:defRPr>
            </a:lvl9pPr>
          </a:lstStyle>
          <a:p>
            <a:fld id="{2400933B-1274-40ED-9CD0-4D10F87B7F03}" type="slidenum">
              <a:rPr lang="en-GB" altLang="es-ES">
                <a:solidFill>
                  <a:srgbClr val="1A647B"/>
                </a:solidFill>
                <a:latin typeface="Arial" panose="020B0604020202020204" pitchFamily="34" charset="0"/>
              </a:rPr>
              <a:pPr/>
              <a:t>6</a:t>
            </a:fld>
            <a:endParaRPr lang="en-GB" altLang="es-ES">
              <a:solidFill>
                <a:srgbClr val="1A647B"/>
              </a:solidFill>
              <a:latin typeface="Arial" panose="020B0604020202020204" pitchFamily="34" charset="0"/>
            </a:endParaRPr>
          </a:p>
        </p:txBody>
      </p:sp>
      <p:sp>
        <p:nvSpPr>
          <p:cNvPr id="26" name="Content Placeholder 8"/>
          <p:cNvSpPr>
            <a:spLocks noGrp="1"/>
          </p:cNvSpPr>
          <p:nvPr>
            <p:ph idx="4294967295"/>
          </p:nvPr>
        </p:nvSpPr>
        <p:spPr>
          <a:xfrm>
            <a:off x="681039" y="6183734"/>
            <a:ext cx="5554662" cy="233362"/>
          </a:xfrm>
          <a:prstGeom prst="rect">
            <a:avLst/>
          </a:prstGeom>
        </p:spPr>
        <p:txBody>
          <a:bodyPr vert="horz" wrap="square" lIns="0" tIns="45720" rIns="0" bIns="45720" numCol="1" anchor="ctr" anchorCtr="0" compatLnSpc="1">
            <a:prstTxWarp prst="textNoShape">
              <a:avLst/>
            </a:prstTxWarp>
          </a:bodyPr>
          <a:lstStyle/>
          <a:p>
            <a:pPr marL="0" indent="0" eaLnBrk="1" fontAlgn="auto" hangingPunct="1">
              <a:spcBef>
                <a:spcPct val="0"/>
              </a:spcBef>
              <a:spcAft>
                <a:spcPts val="0"/>
              </a:spcAft>
              <a:buNone/>
            </a:pPr>
            <a:r>
              <a:rPr lang="pt-BR" sz="800" dirty="0" smtClean="0">
                <a:solidFill>
                  <a:srgbClr val="1A647B"/>
                </a:solidFill>
                <a:latin typeface="Arial" panose="020B0604020202020204" pitchFamily="34" charset="0"/>
                <a:cs typeface="Arial" panose="020B0604020202020204" pitchFamily="34" charset="0"/>
              </a:rPr>
              <a:t>Fonte: </a:t>
            </a:r>
            <a:r>
              <a:rPr lang="pt-BR" sz="800" dirty="0" smtClean="0">
                <a:solidFill>
                  <a:srgbClr val="1A647B"/>
                </a:solidFill>
                <a:latin typeface="Arial" panose="020B0604020202020204" pitchFamily="34" charset="0"/>
                <a:cs typeface="Arial" panose="020B0604020202020204" pitchFamily="34" charset="0"/>
              </a:rPr>
              <a:t>Santander </a:t>
            </a:r>
            <a:r>
              <a:rPr lang="pt-BR" sz="800" dirty="0" smtClean="0">
                <a:solidFill>
                  <a:srgbClr val="1A647B"/>
                </a:solidFill>
                <a:latin typeface="Arial" panose="020B0604020202020204" pitchFamily="34" charset="0"/>
                <a:cs typeface="Arial" panose="020B0604020202020204" pitchFamily="34" charset="0"/>
              </a:rPr>
              <a:t>Brasil Asset Management e Pesquisa </a:t>
            </a:r>
            <a:r>
              <a:rPr lang="pt-BR" sz="800" dirty="0" err="1" smtClean="0">
                <a:solidFill>
                  <a:srgbClr val="1A647B"/>
                </a:solidFill>
                <a:latin typeface="Arial" panose="020B0604020202020204" pitchFamily="34" charset="0"/>
                <a:cs typeface="Arial" panose="020B0604020202020204" pitchFamily="34" charset="0"/>
              </a:rPr>
              <a:t>Bloomberg</a:t>
            </a:r>
            <a:r>
              <a:rPr lang="pt-BR" sz="800" dirty="0" smtClean="0">
                <a:solidFill>
                  <a:srgbClr val="1A647B"/>
                </a:solidFill>
                <a:latin typeface="Arial" panose="020B0604020202020204" pitchFamily="34" charset="0"/>
                <a:cs typeface="Arial" panose="020B0604020202020204" pitchFamily="34" charset="0"/>
              </a:rPr>
              <a:t>. </a:t>
            </a:r>
            <a:endParaRPr lang="pt-BR" sz="800" dirty="0">
              <a:solidFill>
                <a:srgbClr val="1A647B"/>
              </a:solidFill>
              <a:latin typeface="Arial" panose="020B0604020202020204" pitchFamily="34" charset="0"/>
              <a:cs typeface="Arial" panose="020B0604020202020204" pitchFamily="34" charset="0"/>
            </a:endParaRPr>
          </a:p>
        </p:txBody>
      </p:sp>
      <p:sp>
        <p:nvSpPr>
          <p:cNvPr id="13" name="Rectangle 12"/>
          <p:cNvSpPr/>
          <p:nvPr/>
        </p:nvSpPr>
        <p:spPr>
          <a:xfrm>
            <a:off x="2682797" y="1323413"/>
            <a:ext cx="4451228" cy="307777"/>
          </a:xfrm>
          <a:prstGeom prst="rect">
            <a:avLst/>
          </a:prstGeom>
        </p:spPr>
        <p:txBody>
          <a:bodyPr wrap="square">
            <a:spAutoFit/>
          </a:bodyPr>
          <a:lstStyle/>
          <a:p>
            <a:pPr algn="ctr"/>
            <a:r>
              <a:rPr lang="pt-BR" sz="1400" dirty="0" smtClean="0">
                <a:solidFill>
                  <a:srgbClr val="575756"/>
                </a:solidFill>
                <a:latin typeface="Arial" panose="020B0604020202020204" pitchFamily="34" charset="0"/>
                <a:ea typeface="+mj-ea"/>
              </a:rPr>
              <a:t>IBOVESPA </a:t>
            </a:r>
            <a:r>
              <a:rPr lang="pt-BR" sz="1400" b="1" dirty="0" smtClean="0">
                <a:solidFill>
                  <a:srgbClr val="9C1915"/>
                </a:solidFill>
                <a:latin typeface="Arial" panose="020B0604020202020204" pitchFamily="34" charset="0"/>
                <a:ea typeface="+mj-ea"/>
              </a:rPr>
              <a:t>potencial  </a:t>
            </a:r>
          </a:p>
        </p:txBody>
      </p:sp>
      <p:sp>
        <p:nvSpPr>
          <p:cNvPr id="21" name="Rectangle 20"/>
          <p:cNvSpPr/>
          <p:nvPr/>
        </p:nvSpPr>
        <p:spPr>
          <a:xfrm>
            <a:off x="8431895" y="1416832"/>
            <a:ext cx="830676" cy="307777"/>
          </a:xfrm>
          <a:prstGeom prst="rect">
            <a:avLst/>
          </a:prstGeom>
          <a:noFill/>
        </p:spPr>
        <p:txBody>
          <a:bodyPr wrap="none" lIns="91440" tIns="45720" rIns="91440" bIns="45720">
            <a:spAutoFit/>
          </a:bodyPr>
          <a:lstStyle/>
          <a:p>
            <a:pPr algn="ctr"/>
            <a:r>
              <a:rPr lang="en-US" sz="1400" dirty="0" smtClean="0">
                <a:solidFill>
                  <a:srgbClr val="575756"/>
                </a:solidFill>
                <a:latin typeface="Arial" panose="020B0604020202020204" pitchFamily="34" charset="0"/>
                <a:ea typeface="+mj-ea"/>
              </a:rPr>
              <a:t>120.000</a:t>
            </a:r>
            <a:endParaRPr lang="en-US" sz="1400" dirty="0">
              <a:solidFill>
                <a:srgbClr val="575756"/>
              </a:solidFill>
              <a:latin typeface="Arial" panose="020B0604020202020204" pitchFamily="34" charset="0"/>
              <a:ea typeface="+mj-ea"/>
            </a:endParaRPr>
          </a:p>
        </p:txBody>
      </p:sp>
      <p:sp>
        <p:nvSpPr>
          <p:cNvPr id="10" name="Content Placeholder 4"/>
          <p:cNvSpPr>
            <a:spLocks noGrp="1"/>
          </p:cNvSpPr>
          <p:nvPr>
            <p:ph sz="quarter" idx="4294967295"/>
          </p:nvPr>
        </p:nvSpPr>
        <p:spPr>
          <a:xfrm>
            <a:off x="236538" y="368300"/>
            <a:ext cx="855662" cy="776288"/>
          </a:xfrm>
          <a:prstGeom prst="rect">
            <a:avLst/>
          </a:prstGeom>
        </p:spPr>
        <p:txBody>
          <a:bodyPr/>
          <a:lstStyle/>
          <a:p>
            <a:pPr marL="0" indent="0" algn="ctr" eaLnBrk="1" fontAlgn="auto" hangingPunct="1">
              <a:spcAft>
                <a:spcPts val="0"/>
              </a:spcAft>
              <a:buNone/>
              <a:defRPr/>
            </a:pPr>
            <a:r>
              <a:rPr lang="en-GB" sz="4800" dirty="0">
                <a:solidFill>
                  <a:schemeClr val="bg1"/>
                </a:solidFill>
                <a:latin typeface="+mj-lt"/>
              </a:rPr>
              <a:t>1</a:t>
            </a:r>
          </a:p>
        </p:txBody>
      </p:sp>
      <p:sp>
        <p:nvSpPr>
          <p:cNvPr id="16" name="Rectangle 15"/>
          <p:cNvSpPr/>
          <p:nvPr/>
        </p:nvSpPr>
        <p:spPr>
          <a:xfrm>
            <a:off x="8481588" y="2775768"/>
            <a:ext cx="731290" cy="307777"/>
          </a:xfrm>
          <a:prstGeom prst="rect">
            <a:avLst/>
          </a:prstGeom>
          <a:noFill/>
        </p:spPr>
        <p:txBody>
          <a:bodyPr wrap="none" lIns="91440" tIns="45720" rIns="91440" bIns="45720">
            <a:spAutoFit/>
          </a:bodyPr>
          <a:lstStyle/>
          <a:p>
            <a:pPr algn="ctr"/>
            <a:r>
              <a:rPr lang="en-US" sz="1400" dirty="0" smtClean="0">
                <a:solidFill>
                  <a:srgbClr val="575756"/>
                </a:solidFill>
                <a:latin typeface="Arial" panose="020B0604020202020204" pitchFamily="34" charset="0"/>
                <a:ea typeface="+mj-ea"/>
              </a:rPr>
              <a:t>90.000</a:t>
            </a:r>
          </a:p>
        </p:txBody>
      </p:sp>
    </p:spTree>
    <p:extLst>
      <p:ext uri="{BB962C8B-B14F-4D97-AF65-F5344CB8AC3E}">
        <p14:creationId xmlns:p14="http://schemas.microsoft.com/office/powerpoint/2010/main" val="221958362"/>
      </p:ext>
    </p:extLst>
  </p:cSld>
  <p:clrMapOvr>
    <a:masterClrMapping/>
  </p:clrMapOvr>
  <p:transition spd="med">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Title 1"/>
          <p:cNvSpPr>
            <a:spLocks noGrp="1"/>
          </p:cNvSpPr>
          <p:nvPr>
            <p:ph type="title"/>
          </p:nvPr>
        </p:nvSpPr>
        <p:spPr bwMode="auto">
          <a:xfrm>
            <a:off x="1590674" y="192151"/>
            <a:ext cx="8315326" cy="5881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0" compatLnSpc="1">
            <a:prstTxWarp prst="textNoShape">
              <a:avLst/>
            </a:prstTxWarp>
          </a:bodyPr>
          <a:lstStyle/>
          <a:p>
            <a:pPr eaLnBrk="1" hangingPunct="1"/>
            <a:r>
              <a:rPr lang="pt-BR" altLang="es-ES" sz="2000" b="1" dirty="0" smtClean="0"/>
              <a:t>A normalização da </a:t>
            </a:r>
            <a:r>
              <a:rPr lang="pt-BR" altLang="es-ES" sz="2000" b="1" dirty="0" smtClean="0"/>
              <a:t>exposição </a:t>
            </a:r>
            <a:r>
              <a:rPr lang="pt-BR" altLang="es-ES" sz="2000" dirty="0" smtClean="0"/>
              <a:t>de investidores </a:t>
            </a:r>
            <a:r>
              <a:rPr lang="pt-BR" altLang="es-ES" sz="2000" dirty="0" smtClean="0"/>
              <a:t>a ações brasileiras</a:t>
            </a:r>
            <a:r>
              <a:rPr lang="pt-BR" altLang="es-ES" sz="2000" b="1" dirty="0" smtClean="0"/>
              <a:t> </a:t>
            </a:r>
            <a:r>
              <a:rPr lang="pt-BR" altLang="es-ES" sz="2000" dirty="0" smtClean="0"/>
              <a:t>pode trazer </a:t>
            </a:r>
            <a:r>
              <a:rPr lang="pt-BR" altLang="es-ES" sz="2000" b="1" dirty="0" smtClean="0"/>
              <a:t>fluxo superior a R$ 100 bilhões</a:t>
            </a:r>
            <a:r>
              <a:rPr lang="pt-BR" altLang="es-ES" sz="2000" dirty="0" smtClean="0"/>
              <a:t>.</a:t>
            </a:r>
            <a:endParaRPr lang="pt-BR" altLang="es-ES" sz="2000" dirty="0"/>
          </a:p>
        </p:txBody>
      </p:sp>
      <p:sp>
        <p:nvSpPr>
          <p:cNvPr id="36871" name="Slide Number Placeholder 9"/>
          <p:cNvSpPr>
            <a:spLocks noGrp="1"/>
          </p:cNvSpPr>
          <p:nvPr>
            <p:ph type="sldNum" sz="quarter" idx="17"/>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Frutiger"/>
                <a:cs typeface="Arial" panose="020B0604020202020204" pitchFamily="34" charset="0"/>
              </a:defRPr>
            </a:lvl1pPr>
            <a:lvl2pPr marL="742950" indent="-285750">
              <a:defRPr>
                <a:solidFill>
                  <a:schemeClr val="tx1"/>
                </a:solidFill>
                <a:latin typeface="Frutiger"/>
                <a:cs typeface="Arial" panose="020B0604020202020204" pitchFamily="34" charset="0"/>
              </a:defRPr>
            </a:lvl2pPr>
            <a:lvl3pPr marL="1143000" indent="-228600">
              <a:defRPr>
                <a:solidFill>
                  <a:schemeClr val="tx1"/>
                </a:solidFill>
                <a:latin typeface="Frutiger"/>
                <a:cs typeface="Arial" panose="020B0604020202020204" pitchFamily="34" charset="0"/>
              </a:defRPr>
            </a:lvl3pPr>
            <a:lvl4pPr marL="1600200" indent="-228600">
              <a:defRPr>
                <a:solidFill>
                  <a:schemeClr val="tx1"/>
                </a:solidFill>
                <a:latin typeface="Frutiger"/>
                <a:cs typeface="Arial" panose="020B0604020202020204" pitchFamily="34" charset="0"/>
              </a:defRPr>
            </a:lvl4pPr>
            <a:lvl5pPr marL="2057400" indent="-228600">
              <a:defRPr>
                <a:solidFill>
                  <a:schemeClr val="tx1"/>
                </a:solidFill>
                <a:latin typeface="Frutiger"/>
                <a:cs typeface="Arial" panose="020B0604020202020204" pitchFamily="34" charset="0"/>
              </a:defRPr>
            </a:lvl5pPr>
            <a:lvl6pPr marL="2514600" indent="-228600" eaLnBrk="0" fontAlgn="base" hangingPunct="0">
              <a:spcBef>
                <a:spcPct val="0"/>
              </a:spcBef>
              <a:spcAft>
                <a:spcPct val="0"/>
              </a:spcAft>
              <a:defRPr>
                <a:solidFill>
                  <a:schemeClr val="tx1"/>
                </a:solidFill>
                <a:latin typeface="Frutiger"/>
                <a:cs typeface="Arial" panose="020B0604020202020204" pitchFamily="34" charset="0"/>
              </a:defRPr>
            </a:lvl6pPr>
            <a:lvl7pPr marL="2971800" indent="-228600" eaLnBrk="0" fontAlgn="base" hangingPunct="0">
              <a:spcBef>
                <a:spcPct val="0"/>
              </a:spcBef>
              <a:spcAft>
                <a:spcPct val="0"/>
              </a:spcAft>
              <a:defRPr>
                <a:solidFill>
                  <a:schemeClr val="tx1"/>
                </a:solidFill>
                <a:latin typeface="Frutiger"/>
                <a:cs typeface="Arial" panose="020B0604020202020204" pitchFamily="34" charset="0"/>
              </a:defRPr>
            </a:lvl7pPr>
            <a:lvl8pPr marL="3429000" indent="-228600" eaLnBrk="0" fontAlgn="base" hangingPunct="0">
              <a:spcBef>
                <a:spcPct val="0"/>
              </a:spcBef>
              <a:spcAft>
                <a:spcPct val="0"/>
              </a:spcAft>
              <a:defRPr>
                <a:solidFill>
                  <a:schemeClr val="tx1"/>
                </a:solidFill>
                <a:latin typeface="Frutiger"/>
                <a:cs typeface="Arial" panose="020B0604020202020204" pitchFamily="34" charset="0"/>
              </a:defRPr>
            </a:lvl8pPr>
            <a:lvl9pPr marL="3886200" indent="-228600" eaLnBrk="0" fontAlgn="base" hangingPunct="0">
              <a:spcBef>
                <a:spcPct val="0"/>
              </a:spcBef>
              <a:spcAft>
                <a:spcPct val="0"/>
              </a:spcAft>
              <a:defRPr>
                <a:solidFill>
                  <a:schemeClr val="tx1"/>
                </a:solidFill>
                <a:latin typeface="Frutiger"/>
                <a:cs typeface="Arial" panose="020B0604020202020204" pitchFamily="34" charset="0"/>
              </a:defRPr>
            </a:lvl9pPr>
          </a:lstStyle>
          <a:p>
            <a:fld id="{2400933B-1274-40ED-9CD0-4D10F87B7F03}" type="slidenum">
              <a:rPr lang="en-GB" altLang="es-ES">
                <a:solidFill>
                  <a:srgbClr val="1A647B"/>
                </a:solidFill>
                <a:latin typeface="Arial" panose="020B0604020202020204" pitchFamily="34" charset="0"/>
              </a:rPr>
              <a:pPr/>
              <a:t>7</a:t>
            </a:fld>
            <a:endParaRPr lang="en-GB" altLang="es-ES">
              <a:solidFill>
                <a:srgbClr val="1A647B"/>
              </a:solidFill>
              <a:latin typeface="Arial" panose="020B0604020202020204" pitchFamily="34" charset="0"/>
            </a:endParaRPr>
          </a:p>
        </p:txBody>
      </p:sp>
      <p:sp>
        <p:nvSpPr>
          <p:cNvPr id="26" name="Content Placeholder 8"/>
          <p:cNvSpPr>
            <a:spLocks noGrp="1"/>
          </p:cNvSpPr>
          <p:nvPr>
            <p:ph idx="4294967295"/>
          </p:nvPr>
        </p:nvSpPr>
        <p:spPr>
          <a:xfrm>
            <a:off x="681039" y="6183734"/>
            <a:ext cx="5554662" cy="233362"/>
          </a:xfrm>
          <a:prstGeom prst="rect">
            <a:avLst/>
          </a:prstGeom>
        </p:spPr>
        <p:txBody>
          <a:bodyPr vert="horz" wrap="square" lIns="0" tIns="45720" rIns="0" bIns="45720" numCol="1" anchor="ctr" anchorCtr="0" compatLnSpc="1">
            <a:prstTxWarp prst="textNoShape">
              <a:avLst/>
            </a:prstTxWarp>
          </a:bodyPr>
          <a:lstStyle/>
          <a:p>
            <a:pPr marL="0" indent="0" eaLnBrk="1" fontAlgn="auto" hangingPunct="1">
              <a:spcBef>
                <a:spcPct val="0"/>
              </a:spcBef>
              <a:spcAft>
                <a:spcPts val="0"/>
              </a:spcAft>
              <a:buNone/>
            </a:pPr>
            <a:r>
              <a:rPr lang="en-US" sz="800" dirty="0" smtClean="0">
                <a:solidFill>
                  <a:srgbClr val="1A647B"/>
                </a:solidFill>
                <a:latin typeface="Arial" panose="020B0604020202020204" pitchFamily="34" charset="0"/>
                <a:cs typeface="Arial" panose="020B0604020202020204" pitchFamily="34" charset="0"/>
              </a:rPr>
              <a:t>Fonte: ABRAPP, </a:t>
            </a:r>
            <a:r>
              <a:rPr lang="en-US" sz="800" dirty="0">
                <a:solidFill>
                  <a:srgbClr val="1A647B"/>
                </a:solidFill>
                <a:latin typeface="Arial" panose="020B0604020202020204" pitchFamily="34" charset="0"/>
                <a:cs typeface="Arial" panose="020B0604020202020204" pitchFamily="34" charset="0"/>
              </a:rPr>
              <a:t>Santander Brasil Asset Management </a:t>
            </a:r>
            <a:r>
              <a:rPr lang="en-US" sz="800" dirty="0" smtClean="0">
                <a:solidFill>
                  <a:srgbClr val="1A647B"/>
                </a:solidFill>
                <a:latin typeface="Arial" panose="020B0604020202020204" pitchFamily="34" charset="0"/>
                <a:cs typeface="Arial" panose="020B0604020202020204" pitchFamily="34" charset="0"/>
              </a:rPr>
              <a:t>e EPFR Global. </a:t>
            </a:r>
            <a:endParaRPr lang="en-US" sz="800" dirty="0">
              <a:solidFill>
                <a:srgbClr val="1A647B"/>
              </a:solidFill>
              <a:latin typeface="Arial" panose="020B0604020202020204" pitchFamily="34" charset="0"/>
              <a:cs typeface="Arial" panose="020B0604020202020204" pitchFamily="34" charset="0"/>
            </a:endParaRPr>
          </a:p>
        </p:txBody>
      </p:sp>
      <p:sp>
        <p:nvSpPr>
          <p:cNvPr id="11" name="Rectangle 10"/>
          <p:cNvSpPr/>
          <p:nvPr/>
        </p:nvSpPr>
        <p:spPr>
          <a:xfrm>
            <a:off x="429196" y="1991899"/>
            <a:ext cx="4451228" cy="523220"/>
          </a:xfrm>
          <a:prstGeom prst="rect">
            <a:avLst/>
          </a:prstGeom>
        </p:spPr>
        <p:txBody>
          <a:bodyPr wrap="square">
            <a:spAutoFit/>
          </a:bodyPr>
          <a:lstStyle/>
          <a:p>
            <a:pPr algn="ctr"/>
            <a:r>
              <a:rPr lang="pt-BR" sz="1400" b="1" dirty="0">
                <a:solidFill>
                  <a:srgbClr val="9C1915"/>
                </a:solidFill>
                <a:latin typeface="Arial" panose="020B0604020202020204" pitchFamily="34" charset="0"/>
                <a:ea typeface="+mj-ea"/>
              </a:rPr>
              <a:t>Alocação dos fundos de pensão a renda variável nos menores patamares históricos</a:t>
            </a:r>
          </a:p>
        </p:txBody>
      </p:sp>
      <p:sp>
        <p:nvSpPr>
          <p:cNvPr id="13" name="Rectangle 12"/>
          <p:cNvSpPr/>
          <p:nvPr/>
        </p:nvSpPr>
        <p:spPr>
          <a:xfrm>
            <a:off x="4970770" y="1991899"/>
            <a:ext cx="4451228" cy="523220"/>
          </a:xfrm>
          <a:prstGeom prst="rect">
            <a:avLst/>
          </a:prstGeom>
        </p:spPr>
        <p:txBody>
          <a:bodyPr wrap="square">
            <a:spAutoFit/>
          </a:bodyPr>
          <a:lstStyle/>
          <a:p>
            <a:pPr algn="ctr"/>
            <a:r>
              <a:rPr lang="pt-BR" sz="1400" b="1" dirty="0" smtClean="0">
                <a:solidFill>
                  <a:srgbClr val="9C1915"/>
                </a:solidFill>
                <a:latin typeface="Arial" panose="020B0604020202020204" pitchFamily="34" charset="0"/>
                <a:ea typeface="+mj-ea"/>
              </a:rPr>
              <a:t>Estrangeiros ainda podem aumentar a Exposição a Brasil de forma significativa</a:t>
            </a:r>
            <a:endParaRPr lang="pt-BR" sz="1400" b="1" dirty="0">
              <a:solidFill>
                <a:srgbClr val="9C1915"/>
              </a:solidFill>
              <a:latin typeface="Arial" panose="020B0604020202020204" pitchFamily="34" charset="0"/>
              <a:ea typeface="+mj-ea"/>
            </a:endParaRPr>
          </a:p>
        </p:txBody>
      </p:sp>
      <p:grpSp>
        <p:nvGrpSpPr>
          <p:cNvPr id="4" name="Group 3"/>
          <p:cNvGrpSpPr/>
          <p:nvPr/>
        </p:nvGrpSpPr>
        <p:grpSpPr>
          <a:xfrm>
            <a:off x="429195" y="2638523"/>
            <a:ext cx="4471285" cy="2676798"/>
            <a:chOff x="429195" y="2638523"/>
            <a:chExt cx="4471285" cy="2676798"/>
          </a:xfrm>
        </p:grpSpPr>
        <p:pic>
          <p:nvPicPr>
            <p:cNvPr id="12" name="Picture 11"/>
            <p:cNvPicPr>
              <a:picLocks noChangeAspect="1"/>
            </p:cNvPicPr>
            <p:nvPr/>
          </p:nvPicPr>
          <p:blipFill>
            <a:blip r:embed="rId2"/>
            <a:stretch>
              <a:fillRect/>
            </a:stretch>
          </p:blipFill>
          <p:spPr>
            <a:xfrm>
              <a:off x="429195" y="2638523"/>
              <a:ext cx="4471285" cy="2676798"/>
            </a:xfrm>
            <a:prstGeom prst="rect">
              <a:avLst/>
            </a:prstGeom>
          </p:spPr>
        </p:pic>
        <p:sp>
          <p:nvSpPr>
            <p:cNvPr id="3" name="TextBox 2"/>
            <p:cNvSpPr txBox="1"/>
            <p:nvPr/>
          </p:nvSpPr>
          <p:spPr>
            <a:xfrm>
              <a:off x="1053753" y="5000730"/>
              <a:ext cx="1567527" cy="230832"/>
            </a:xfrm>
            <a:prstGeom prst="rect">
              <a:avLst/>
            </a:prstGeom>
            <a:solidFill>
              <a:schemeClr val="bg1"/>
            </a:solidFill>
          </p:spPr>
          <p:txBody>
            <a:bodyPr wrap="square" rtlCol="0">
              <a:spAutoFit/>
            </a:bodyPr>
            <a:lstStyle/>
            <a:p>
              <a:r>
                <a:rPr lang="en-US" sz="900" dirty="0" err="1" smtClean="0">
                  <a:latin typeface="Arial" panose="020B0604020202020204" pitchFamily="34" charset="0"/>
                </a:rPr>
                <a:t>Ativos</a:t>
              </a:r>
              <a:r>
                <a:rPr lang="en-US" sz="900" dirty="0" smtClean="0">
                  <a:latin typeface="Arial" panose="020B0604020202020204" pitchFamily="34" charset="0"/>
                </a:rPr>
                <a:t> </a:t>
              </a:r>
              <a:r>
                <a:rPr lang="en-US" sz="900" dirty="0" err="1" smtClean="0">
                  <a:latin typeface="Arial" panose="020B0604020202020204" pitchFamily="34" charset="0"/>
                </a:rPr>
                <a:t>Totais</a:t>
              </a:r>
              <a:endParaRPr lang="en-US" sz="900" dirty="0">
                <a:latin typeface="Arial" panose="020B0604020202020204" pitchFamily="34" charset="0"/>
              </a:endParaRPr>
            </a:p>
          </p:txBody>
        </p:sp>
        <p:sp>
          <p:nvSpPr>
            <p:cNvPr id="15" name="TextBox 14"/>
            <p:cNvSpPr txBox="1"/>
            <p:nvPr/>
          </p:nvSpPr>
          <p:spPr>
            <a:xfrm>
              <a:off x="2959698" y="5000730"/>
              <a:ext cx="1567527" cy="230832"/>
            </a:xfrm>
            <a:prstGeom prst="rect">
              <a:avLst/>
            </a:prstGeom>
            <a:solidFill>
              <a:schemeClr val="bg1"/>
            </a:solidFill>
          </p:spPr>
          <p:txBody>
            <a:bodyPr wrap="square" rtlCol="0">
              <a:spAutoFit/>
            </a:bodyPr>
            <a:lstStyle/>
            <a:p>
              <a:r>
                <a:rPr lang="en-US" sz="900" dirty="0" err="1" smtClean="0">
                  <a:latin typeface="Arial" panose="020B0604020202020204" pitchFamily="34" charset="0"/>
                </a:rPr>
                <a:t>Exposição</a:t>
              </a:r>
              <a:r>
                <a:rPr lang="en-US" sz="900" dirty="0" smtClean="0">
                  <a:latin typeface="Arial" panose="020B0604020202020204" pitchFamily="34" charset="0"/>
                </a:rPr>
                <a:t> a </a:t>
              </a:r>
              <a:r>
                <a:rPr lang="en-US" sz="900" dirty="0" err="1" smtClean="0">
                  <a:latin typeface="Arial" panose="020B0604020202020204" pitchFamily="34" charset="0"/>
                </a:rPr>
                <a:t>Ações</a:t>
              </a:r>
              <a:endParaRPr lang="en-US" sz="900" dirty="0">
                <a:latin typeface="Arial" panose="020B0604020202020204" pitchFamily="34" charset="0"/>
              </a:endParaRPr>
            </a:p>
          </p:txBody>
        </p:sp>
      </p:grpSp>
      <p:pic>
        <p:nvPicPr>
          <p:cNvPr id="16" name="Picture 15"/>
          <p:cNvPicPr>
            <a:picLocks noChangeAspect="1"/>
          </p:cNvPicPr>
          <p:nvPr/>
        </p:nvPicPr>
        <p:blipFill>
          <a:blip r:embed="rId3"/>
          <a:stretch>
            <a:fillRect/>
          </a:stretch>
        </p:blipFill>
        <p:spPr>
          <a:xfrm>
            <a:off x="5137937" y="2583376"/>
            <a:ext cx="4392769" cy="2631833"/>
          </a:xfrm>
          <a:prstGeom prst="rect">
            <a:avLst/>
          </a:prstGeom>
        </p:spPr>
      </p:pic>
      <p:sp>
        <p:nvSpPr>
          <p:cNvPr id="14" name="Content Placeholder 4"/>
          <p:cNvSpPr>
            <a:spLocks noGrp="1"/>
          </p:cNvSpPr>
          <p:nvPr>
            <p:ph sz="quarter" idx="4294967295"/>
          </p:nvPr>
        </p:nvSpPr>
        <p:spPr>
          <a:xfrm>
            <a:off x="236538" y="368300"/>
            <a:ext cx="855662" cy="776288"/>
          </a:xfrm>
          <a:prstGeom prst="rect">
            <a:avLst/>
          </a:prstGeom>
        </p:spPr>
        <p:txBody>
          <a:bodyPr/>
          <a:lstStyle/>
          <a:p>
            <a:pPr marL="0" indent="0" algn="ctr" eaLnBrk="1" fontAlgn="auto" hangingPunct="1">
              <a:spcAft>
                <a:spcPts val="0"/>
              </a:spcAft>
              <a:buNone/>
              <a:defRPr/>
            </a:pPr>
            <a:r>
              <a:rPr lang="en-GB" sz="4800" dirty="0">
                <a:solidFill>
                  <a:schemeClr val="bg1"/>
                </a:solidFill>
                <a:latin typeface="+mj-lt"/>
              </a:rPr>
              <a:t>1</a:t>
            </a:r>
          </a:p>
        </p:txBody>
      </p:sp>
    </p:spTree>
    <p:extLst>
      <p:ext uri="{BB962C8B-B14F-4D97-AF65-F5344CB8AC3E}">
        <p14:creationId xmlns:p14="http://schemas.microsoft.com/office/powerpoint/2010/main" val="1172848966"/>
      </p:ext>
    </p:extLst>
  </p:cSld>
  <p:clrMapOvr>
    <a:masterClrMapping/>
  </p:clrMapOvr>
  <p:transition spd="med">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0"/>
          </p:nvPr>
        </p:nvSpPr>
        <p:spPr>
          <a:xfrm>
            <a:off x="2273299" y="2317750"/>
            <a:ext cx="6922952" cy="3887788"/>
          </a:xfrm>
        </p:spPr>
        <p:txBody>
          <a:bodyPr/>
          <a:lstStyle/>
          <a:p>
            <a:pPr eaLnBrk="1" fontAlgn="auto" hangingPunct="1">
              <a:defRPr/>
            </a:pPr>
            <a:r>
              <a:rPr lang="pt-BR" dirty="0" smtClean="0"/>
              <a:t>Por que </a:t>
            </a:r>
            <a:r>
              <a:rPr lang="pt-BR" dirty="0" smtClean="0"/>
              <a:t>investir em ações agora?</a:t>
            </a:r>
            <a:endParaRPr lang="pt-BR" sz="1400" dirty="0" smtClean="0"/>
          </a:p>
          <a:p>
            <a:pPr eaLnBrk="1" fontAlgn="auto" hangingPunct="1">
              <a:defRPr/>
            </a:pPr>
            <a:r>
              <a:rPr lang="pt-BR" b="1" dirty="0" smtClean="0">
                <a:solidFill>
                  <a:schemeClr val="accent1"/>
                </a:solidFill>
              </a:rPr>
              <a:t>Oportunidades </a:t>
            </a:r>
            <a:r>
              <a:rPr lang="pt-BR" b="1" dirty="0">
                <a:solidFill>
                  <a:schemeClr val="accent1"/>
                </a:solidFill>
              </a:rPr>
              <a:t>em </a:t>
            </a:r>
            <a:r>
              <a:rPr lang="pt-BR" b="1" dirty="0" smtClean="0">
                <a:solidFill>
                  <a:schemeClr val="accent1"/>
                </a:solidFill>
              </a:rPr>
              <a:t>temas </a:t>
            </a:r>
            <a:r>
              <a:rPr lang="pt-BR" b="1" dirty="0" smtClean="0">
                <a:solidFill>
                  <a:schemeClr val="accent1"/>
                </a:solidFill>
              </a:rPr>
              <a:t>domésticos</a:t>
            </a:r>
            <a:endParaRPr lang="pt-BR" sz="1400" b="1" dirty="0" smtClean="0">
              <a:solidFill>
                <a:schemeClr val="accent1"/>
              </a:solidFill>
            </a:endParaRPr>
          </a:p>
          <a:p>
            <a:pPr eaLnBrk="1" fontAlgn="auto" hangingPunct="1">
              <a:defRPr/>
            </a:pPr>
            <a:r>
              <a:rPr lang="pt-BR" dirty="0" smtClean="0"/>
              <a:t>Fundo Seleção: Pessoas e Performance</a:t>
            </a:r>
            <a:endParaRPr lang="en-GB" dirty="0"/>
          </a:p>
        </p:txBody>
      </p:sp>
    </p:spTree>
    <p:extLst>
      <p:ext uri="{BB962C8B-B14F-4D97-AF65-F5344CB8AC3E}">
        <p14:creationId xmlns:p14="http://schemas.microsoft.com/office/powerpoint/2010/main" val="3339608877"/>
      </p:ext>
    </p:extLst>
  </p:cSld>
  <p:clrMapOvr>
    <a:masterClrMapping/>
  </p:clrMapOvr>
  <p:transition spd="med">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Title 1"/>
          <p:cNvSpPr>
            <a:spLocks noGrp="1"/>
          </p:cNvSpPr>
          <p:nvPr>
            <p:ph type="title"/>
          </p:nvPr>
        </p:nvSpPr>
        <p:spPr bwMode="auto">
          <a:xfrm>
            <a:off x="1623925" y="332892"/>
            <a:ext cx="8459413" cy="2571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0" compatLnSpc="1">
            <a:prstTxWarp prst="textNoShape">
              <a:avLst/>
            </a:prstTxWarp>
          </a:bodyPr>
          <a:lstStyle/>
          <a:p>
            <a:pPr eaLnBrk="1" hangingPunct="1"/>
            <a:r>
              <a:rPr lang="en-US" altLang="es-ES" sz="2000" b="1" dirty="0" err="1" smtClean="0"/>
              <a:t>Retomada</a:t>
            </a:r>
            <a:r>
              <a:rPr lang="en-US" altLang="es-ES" sz="2000" b="1" dirty="0" smtClean="0"/>
              <a:t> do </a:t>
            </a:r>
            <a:r>
              <a:rPr lang="en-US" altLang="es-ES" sz="2000" b="1" dirty="0" err="1" smtClean="0"/>
              <a:t>Consumo</a:t>
            </a:r>
            <a:r>
              <a:rPr lang="en-US" altLang="es-ES" sz="2000" b="1" dirty="0" smtClean="0"/>
              <a:t> </a:t>
            </a:r>
            <a:r>
              <a:rPr lang="en-US" altLang="es-ES" sz="2000" b="1" dirty="0" smtClean="0"/>
              <a:t>e </a:t>
            </a:r>
            <a:r>
              <a:rPr lang="en-US" altLang="es-ES" sz="2000" b="1" dirty="0" err="1" smtClean="0"/>
              <a:t>Investimentos</a:t>
            </a:r>
            <a:r>
              <a:rPr lang="en-US" altLang="es-ES" sz="2000" b="1" dirty="0" smtClean="0"/>
              <a:t> </a:t>
            </a:r>
            <a:r>
              <a:rPr lang="en-US" altLang="es-ES" sz="2000" dirty="0" err="1" smtClean="0"/>
              <a:t>tirou</a:t>
            </a:r>
            <a:r>
              <a:rPr lang="en-US" altLang="es-ES" sz="2000" dirty="0" smtClean="0"/>
              <a:t> o </a:t>
            </a:r>
            <a:r>
              <a:rPr lang="en-US" altLang="es-ES" sz="2000" dirty="0" err="1" smtClean="0"/>
              <a:t>país</a:t>
            </a:r>
            <a:r>
              <a:rPr lang="en-US" altLang="es-ES" sz="2000" dirty="0" smtClean="0"/>
              <a:t> da </a:t>
            </a:r>
            <a:r>
              <a:rPr lang="en-US" altLang="es-ES" sz="2000" dirty="0" err="1" smtClean="0"/>
              <a:t>recessão</a:t>
            </a:r>
            <a:r>
              <a:rPr lang="en-US" altLang="es-ES" sz="2000" dirty="0" smtClean="0"/>
              <a:t> e </a:t>
            </a:r>
            <a:r>
              <a:rPr lang="en-US" altLang="es-ES" sz="2000" dirty="0" err="1" smtClean="0"/>
              <a:t>esperamos</a:t>
            </a:r>
            <a:r>
              <a:rPr lang="en-US" altLang="es-ES" sz="2000" dirty="0" smtClean="0"/>
              <a:t> </a:t>
            </a:r>
            <a:r>
              <a:rPr lang="en-US" altLang="es-ES" sz="2000" dirty="0" smtClean="0"/>
              <a:t>que </a:t>
            </a:r>
            <a:r>
              <a:rPr lang="en-US" altLang="es-ES" sz="2000" dirty="0" smtClean="0"/>
              <a:t>continue </a:t>
            </a:r>
            <a:r>
              <a:rPr lang="en-US" altLang="es-ES" sz="2000" dirty="0" err="1" smtClean="0"/>
              <a:t>impulsionando</a:t>
            </a:r>
            <a:r>
              <a:rPr lang="en-US" altLang="es-ES" sz="2000" dirty="0" smtClean="0"/>
              <a:t> o </a:t>
            </a:r>
            <a:r>
              <a:rPr lang="en-US" altLang="es-ES" sz="2000" dirty="0" err="1" smtClean="0"/>
              <a:t>crescimento</a:t>
            </a:r>
            <a:r>
              <a:rPr lang="en-US" altLang="es-ES" sz="2000" dirty="0" smtClean="0"/>
              <a:t> do PIB.</a:t>
            </a:r>
            <a:endParaRPr lang="en-US" altLang="es-ES" sz="2000" dirty="0"/>
          </a:p>
        </p:txBody>
      </p:sp>
      <p:sp>
        <p:nvSpPr>
          <p:cNvPr id="36871" name="Slide Number Placeholder 9"/>
          <p:cNvSpPr>
            <a:spLocks noGrp="1"/>
          </p:cNvSpPr>
          <p:nvPr>
            <p:ph type="sldNum" sz="quarter" idx="17"/>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Frutiger"/>
                <a:cs typeface="Arial" panose="020B0604020202020204" pitchFamily="34" charset="0"/>
              </a:defRPr>
            </a:lvl1pPr>
            <a:lvl2pPr marL="742950" indent="-285750">
              <a:defRPr>
                <a:solidFill>
                  <a:schemeClr val="tx1"/>
                </a:solidFill>
                <a:latin typeface="Frutiger"/>
                <a:cs typeface="Arial" panose="020B0604020202020204" pitchFamily="34" charset="0"/>
              </a:defRPr>
            </a:lvl2pPr>
            <a:lvl3pPr marL="1143000" indent="-228600">
              <a:defRPr>
                <a:solidFill>
                  <a:schemeClr val="tx1"/>
                </a:solidFill>
                <a:latin typeface="Frutiger"/>
                <a:cs typeface="Arial" panose="020B0604020202020204" pitchFamily="34" charset="0"/>
              </a:defRPr>
            </a:lvl3pPr>
            <a:lvl4pPr marL="1600200" indent="-228600">
              <a:defRPr>
                <a:solidFill>
                  <a:schemeClr val="tx1"/>
                </a:solidFill>
                <a:latin typeface="Frutiger"/>
                <a:cs typeface="Arial" panose="020B0604020202020204" pitchFamily="34" charset="0"/>
              </a:defRPr>
            </a:lvl4pPr>
            <a:lvl5pPr marL="2057400" indent="-228600">
              <a:defRPr>
                <a:solidFill>
                  <a:schemeClr val="tx1"/>
                </a:solidFill>
                <a:latin typeface="Frutiger"/>
                <a:cs typeface="Arial" panose="020B0604020202020204" pitchFamily="34" charset="0"/>
              </a:defRPr>
            </a:lvl5pPr>
            <a:lvl6pPr marL="2514600" indent="-228600" eaLnBrk="0" fontAlgn="base" hangingPunct="0">
              <a:spcBef>
                <a:spcPct val="0"/>
              </a:spcBef>
              <a:spcAft>
                <a:spcPct val="0"/>
              </a:spcAft>
              <a:defRPr>
                <a:solidFill>
                  <a:schemeClr val="tx1"/>
                </a:solidFill>
                <a:latin typeface="Frutiger"/>
                <a:cs typeface="Arial" panose="020B0604020202020204" pitchFamily="34" charset="0"/>
              </a:defRPr>
            </a:lvl6pPr>
            <a:lvl7pPr marL="2971800" indent="-228600" eaLnBrk="0" fontAlgn="base" hangingPunct="0">
              <a:spcBef>
                <a:spcPct val="0"/>
              </a:spcBef>
              <a:spcAft>
                <a:spcPct val="0"/>
              </a:spcAft>
              <a:defRPr>
                <a:solidFill>
                  <a:schemeClr val="tx1"/>
                </a:solidFill>
                <a:latin typeface="Frutiger"/>
                <a:cs typeface="Arial" panose="020B0604020202020204" pitchFamily="34" charset="0"/>
              </a:defRPr>
            </a:lvl7pPr>
            <a:lvl8pPr marL="3429000" indent="-228600" eaLnBrk="0" fontAlgn="base" hangingPunct="0">
              <a:spcBef>
                <a:spcPct val="0"/>
              </a:spcBef>
              <a:spcAft>
                <a:spcPct val="0"/>
              </a:spcAft>
              <a:defRPr>
                <a:solidFill>
                  <a:schemeClr val="tx1"/>
                </a:solidFill>
                <a:latin typeface="Frutiger"/>
                <a:cs typeface="Arial" panose="020B0604020202020204" pitchFamily="34" charset="0"/>
              </a:defRPr>
            </a:lvl8pPr>
            <a:lvl9pPr marL="3886200" indent="-228600" eaLnBrk="0" fontAlgn="base" hangingPunct="0">
              <a:spcBef>
                <a:spcPct val="0"/>
              </a:spcBef>
              <a:spcAft>
                <a:spcPct val="0"/>
              </a:spcAft>
              <a:defRPr>
                <a:solidFill>
                  <a:schemeClr val="tx1"/>
                </a:solidFill>
                <a:latin typeface="Frutiger"/>
                <a:cs typeface="Arial" panose="020B0604020202020204" pitchFamily="34" charset="0"/>
              </a:defRPr>
            </a:lvl9pPr>
          </a:lstStyle>
          <a:p>
            <a:fld id="{2400933B-1274-40ED-9CD0-4D10F87B7F03}" type="slidenum">
              <a:rPr lang="en-GB" altLang="es-ES">
                <a:solidFill>
                  <a:srgbClr val="1A647B"/>
                </a:solidFill>
                <a:latin typeface="Arial" panose="020B0604020202020204" pitchFamily="34" charset="0"/>
              </a:rPr>
              <a:pPr/>
              <a:t>9</a:t>
            </a:fld>
            <a:endParaRPr lang="en-GB" altLang="es-ES">
              <a:solidFill>
                <a:srgbClr val="1A647B"/>
              </a:solidFill>
              <a:latin typeface="Arial" panose="020B0604020202020204" pitchFamily="34" charset="0"/>
            </a:endParaRPr>
          </a:p>
        </p:txBody>
      </p:sp>
      <p:sp>
        <p:nvSpPr>
          <p:cNvPr id="35" name="Content Placeholder 4"/>
          <p:cNvSpPr>
            <a:spLocks noGrp="1"/>
          </p:cNvSpPr>
          <p:nvPr>
            <p:ph sz="quarter" idx="4294967295"/>
          </p:nvPr>
        </p:nvSpPr>
        <p:spPr>
          <a:xfrm>
            <a:off x="236538" y="368300"/>
            <a:ext cx="855662" cy="776288"/>
          </a:xfrm>
          <a:prstGeom prst="rect">
            <a:avLst/>
          </a:prstGeom>
        </p:spPr>
        <p:txBody>
          <a:bodyPr/>
          <a:lstStyle/>
          <a:p>
            <a:pPr marL="0" indent="0" algn="ctr" eaLnBrk="1" fontAlgn="auto" hangingPunct="1">
              <a:spcAft>
                <a:spcPts val="0"/>
              </a:spcAft>
              <a:buNone/>
              <a:defRPr/>
            </a:pPr>
            <a:r>
              <a:rPr lang="en-GB" sz="4800" dirty="0" smtClean="0">
                <a:solidFill>
                  <a:schemeClr val="bg1"/>
                </a:solidFill>
                <a:latin typeface="+mj-lt"/>
              </a:rPr>
              <a:t>2</a:t>
            </a:r>
          </a:p>
        </p:txBody>
      </p:sp>
      <p:sp>
        <p:nvSpPr>
          <p:cNvPr id="14" name="Content Placeholder 8"/>
          <p:cNvSpPr>
            <a:spLocks noGrp="1"/>
          </p:cNvSpPr>
          <p:nvPr>
            <p:ph idx="4294967295"/>
          </p:nvPr>
        </p:nvSpPr>
        <p:spPr>
          <a:xfrm>
            <a:off x="681687" y="6201890"/>
            <a:ext cx="5554662" cy="233362"/>
          </a:xfrm>
          <a:prstGeom prst="rect">
            <a:avLst/>
          </a:prstGeom>
        </p:spPr>
        <p:txBody>
          <a:bodyPr vert="horz" wrap="square" lIns="0" tIns="45720" rIns="0" bIns="45720" numCol="1" anchor="ctr" anchorCtr="0" compatLnSpc="1">
            <a:prstTxWarp prst="textNoShape">
              <a:avLst/>
            </a:prstTxWarp>
          </a:bodyPr>
          <a:lstStyle/>
          <a:p>
            <a:pPr marL="0" indent="0" eaLnBrk="1" fontAlgn="auto" hangingPunct="1">
              <a:spcBef>
                <a:spcPct val="0"/>
              </a:spcBef>
              <a:spcAft>
                <a:spcPts val="0"/>
              </a:spcAft>
              <a:buNone/>
            </a:pPr>
            <a:r>
              <a:rPr lang="en-US" sz="800" dirty="0" smtClean="0">
                <a:solidFill>
                  <a:srgbClr val="1A647B"/>
                </a:solidFill>
                <a:latin typeface="Arial" panose="020B0604020202020204" pitchFamily="34" charset="0"/>
                <a:cs typeface="Arial" panose="020B0604020202020204" pitchFamily="34" charset="0"/>
              </a:rPr>
              <a:t>Fonte: IBGE, Santander </a:t>
            </a:r>
            <a:r>
              <a:rPr lang="en-US" sz="800" dirty="0">
                <a:solidFill>
                  <a:srgbClr val="1A647B"/>
                </a:solidFill>
                <a:latin typeface="Arial" panose="020B0604020202020204" pitchFamily="34" charset="0"/>
                <a:cs typeface="Arial" panose="020B0604020202020204" pitchFamily="34" charset="0"/>
              </a:rPr>
              <a:t>Brasil Asset </a:t>
            </a:r>
            <a:r>
              <a:rPr lang="en-US" sz="800" dirty="0" smtClean="0">
                <a:solidFill>
                  <a:srgbClr val="1A647B"/>
                </a:solidFill>
                <a:latin typeface="Arial" panose="020B0604020202020204" pitchFamily="34" charset="0"/>
                <a:cs typeface="Arial" panose="020B0604020202020204" pitchFamily="34" charset="0"/>
              </a:rPr>
              <a:t>Management. </a:t>
            </a:r>
            <a:endParaRPr lang="en-US" sz="800" dirty="0">
              <a:solidFill>
                <a:srgbClr val="1A647B"/>
              </a:solidFill>
              <a:latin typeface="Arial" panose="020B0604020202020204" pitchFamily="34" charset="0"/>
              <a:cs typeface="Arial" panose="020B0604020202020204" pitchFamily="34" charset="0"/>
            </a:endParaRPr>
          </a:p>
        </p:txBody>
      </p:sp>
      <p:sp>
        <p:nvSpPr>
          <p:cNvPr id="10" name="Rectangle 8"/>
          <p:cNvSpPr/>
          <p:nvPr/>
        </p:nvSpPr>
        <p:spPr>
          <a:xfrm>
            <a:off x="2588764" y="1014960"/>
            <a:ext cx="441147" cy="276999"/>
          </a:xfrm>
          <a:prstGeom prst="rect">
            <a:avLst/>
          </a:prstGeom>
        </p:spPr>
        <p:txBody>
          <a:bodyPr wrap="none">
            <a:spAutoFit/>
          </a:bodyPr>
          <a:lstStyle/>
          <a:p>
            <a:pPr marL="0" lvl="1" indent="-285750" algn="ctr">
              <a:buClr>
                <a:srgbClr val="C00000"/>
              </a:buClr>
              <a:defRPr/>
            </a:pPr>
            <a:r>
              <a:rPr lang="en-US" sz="1200" b="1" kern="0" dirty="0" smtClean="0">
                <a:solidFill>
                  <a:srgbClr val="C00000"/>
                </a:solidFill>
                <a:latin typeface="Arial" panose="020B0604020202020204" pitchFamily="34" charset="0"/>
              </a:rPr>
              <a:t>PIB</a:t>
            </a:r>
            <a:endParaRPr lang="en-US" sz="1200" b="1" kern="0" dirty="0">
              <a:solidFill>
                <a:srgbClr val="C00000"/>
              </a:solidFill>
              <a:latin typeface="Arial" panose="020B0604020202020204" pitchFamily="34" charset="0"/>
            </a:endParaRPr>
          </a:p>
        </p:txBody>
      </p:sp>
      <p:sp>
        <p:nvSpPr>
          <p:cNvPr id="12" name="Rectangle 8"/>
          <p:cNvSpPr/>
          <p:nvPr/>
        </p:nvSpPr>
        <p:spPr>
          <a:xfrm>
            <a:off x="6578227" y="1011017"/>
            <a:ext cx="1117614" cy="276999"/>
          </a:xfrm>
          <a:prstGeom prst="rect">
            <a:avLst/>
          </a:prstGeom>
        </p:spPr>
        <p:txBody>
          <a:bodyPr wrap="none">
            <a:spAutoFit/>
          </a:bodyPr>
          <a:lstStyle/>
          <a:p>
            <a:pPr marL="0" lvl="1" indent="-285750" algn="ctr">
              <a:buClr>
                <a:srgbClr val="C00000"/>
              </a:buClr>
              <a:defRPr/>
            </a:pPr>
            <a:r>
              <a:rPr lang="en-US" sz="1200" b="1" kern="0" dirty="0" smtClean="0">
                <a:solidFill>
                  <a:srgbClr val="C00000"/>
                </a:solidFill>
                <a:latin typeface="Arial" panose="020B0604020202020204" pitchFamily="34" charset="0"/>
              </a:rPr>
              <a:t>PIB </a:t>
            </a:r>
            <a:r>
              <a:rPr lang="en-US" sz="1200" b="1" kern="0" dirty="0" err="1" smtClean="0">
                <a:solidFill>
                  <a:srgbClr val="C00000"/>
                </a:solidFill>
                <a:latin typeface="Arial" panose="020B0604020202020204" pitchFamily="34" charset="0"/>
              </a:rPr>
              <a:t>Governo</a:t>
            </a:r>
            <a:endParaRPr lang="en-US" sz="1200" b="1" kern="0" dirty="0">
              <a:solidFill>
                <a:srgbClr val="C00000"/>
              </a:solidFill>
              <a:latin typeface="Arial" panose="020B0604020202020204" pitchFamily="34" charset="0"/>
            </a:endParaRPr>
          </a:p>
        </p:txBody>
      </p:sp>
      <p:sp>
        <p:nvSpPr>
          <p:cNvPr id="15" name="Rectangle 8"/>
          <p:cNvSpPr/>
          <p:nvPr/>
        </p:nvSpPr>
        <p:spPr>
          <a:xfrm>
            <a:off x="2213177" y="3716152"/>
            <a:ext cx="1194558" cy="276999"/>
          </a:xfrm>
          <a:prstGeom prst="rect">
            <a:avLst/>
          </a:prstGeom>
        </p:spPr>
        <p:txBody>
          <a:bodyPr wrap="none">
            <a:spAutoFit/>
          </a:bodyPr>
          <a:lstStyle/>
          <a:p>
            <a:pPr marL="0" lvl="1" indent="-285750" algn="ctr">
              <a:buClr>
                <a:srgbClr val="C00000"/>
              </a:buClr>
              <a:defRPr/>
            </a:pPr>
            <a:r>
              <a:rPr lang="en-US" sz="1200" b="1" kern="0" dirty="0" smtClean="0">
                <a:solidFill>
                  <a:srgbClr val="C00000"/>
                </a:solidFill>
                <a:latin typeface="Arial" panose="020B0604020202020204" pitchFamily="34" charset="0"/>
              </a:rPr>
              <a:t>PIB </a:t>
            </a:r>
            <a:r>
              <a:rPr lang="en-US" sz="1200" b="1" kern="0" dirty="0" err="1" smtClean="0">
                <a:solidFill>
                  <a:srgbClr val="C00000"/>
                </a:solidFill>
                <a:latin typeface="Arial" panose="020B0604020202020204" pitchFamily="34" charset="0"/>
              </a:rPr>
              <a:t>Consumo</a:t>
            </a:r>
            <a:endParaRPr lang="en-US" sz="1200" b="1" kern="0" dirty="0">
              <a:solidFill>
                <a:srgbClr val="C00000"/>
              </a:solidFill>
              <a:latin typeface="Arial" panose="020B0604020202020204" pitchFamily="34" charset="0"/>
            </a:endParaRPr>
          </a:p>
        </p:txBody>
      </p:sp>
      <p:sp>
        <p:nvSpPr>
          <p:cNvPr id="17" name="Rectangle 8"/>
          <p:cNvSpPr/>
          <p:nvPr/>
        </p:nvSpPr>
        <p:spPr>
          <a:xfrm>
            <a:off x="6071543" y="3720501"/>
            <a:ext cx="2066592" cy="276999"/>
          </a:xfrm>
          <a:prstGeom prst="rect">
            <a:avLst/>
          </a:prstGeom>
        </p:spPr>
        <p:txBody>
          <a:bodyPr wrap="none">
            <a:spAutoFit/>
          </a:bodyPr>
          <a:lstStyle/>
          <a:p>
            <a:pPr marL="0" lvl="1" indent="-285750" algn="ctr">
              <a:buClr>
                <a:srgbClr val="C00000"/>
              </a:buClr>
              <a:defRPr/>
            </a:pPr>
            <a:r>
              <a:rPr lang="en-US" sz="1200" b="1" kern="0" dirty="0" smtClean="0">
                <a:solidFill>
                  <a:srgbClr val="C00000"/>
                </a:solidFill>
                <a:latin typeface="Arial" panose="020B0604020202020204" pitchFamily="34" charset="0"/>
              </a:rPr>
              <a:t>PIB FBCF - </a:t>
            </a:r>
            <a:r>
              <a:rPr lang="en-US" sz="1200" b="1" kern="0" dirty="0" err="1" smtClean="0">
                <a:solidFill>
                  <a:srgbClr val="C00000"/>
                </a:solidFill>
                <a:latin typeface="Arial" panose="020B0604020202020204" pitchFamily="34" charset="0"/>
              </a:rPr>
              <a:t>Investimentos</a:t>
            </a:r>
            <a:endParaRPr lang="en-US" sz="1200" b="1" kern="0" dirty="0">
              <a:solidFill>
                <a:srgbClr val="C00000"/>
              </a:solidFill>
              <a:latin typeface="Arial" panose="020B0604020202020204" pitchFamily="34" charset="0"/>
            </a:endParaRPr>
          </a:p>
        </p:txBody>
      </p:sp>
      <p:pic>
        <p:nvPicPr>
          <p:cNvPr id="3" name="Picture 2"/>
          <p:cNvPicPr>
            <a:picLocks noChangeAspect="1"/>
          </p:cNvPicPr>
          <p:nvPr/>
        </p:nvPicPr>
        <p:blipFill rotWithShape="1">
          <a:blip r:embed="rId2"/>
          <a:srcRect t="7916"/>
          <a:stretch/>
        </p:blipFill>
        <p:spPr>
          <a:xfrm>
            <a:off x="883194" y="1310825"/>
            <a:ext cx="3862977" cy="2344744"/>
          </a:xfrm>
          <a:prstGeom prst="rect">
            <a:avLst/>
          </a:prstGeom>
        </p:spPr>
      </p:pic>
      <p:pic>
        <p:nvPicPr>
          <p:cNvPr id="7" name="Picture 6"/>
          <p:cNvPicPr>
            <a:picLocks noChangeAspect="1"/>
          </p:cNvPicPr>
          <p:nvPr/>
        </p:nvPicPr>
        <p:blipFill rotWithShape="1">
          <a:blip r:embed="rId3"/>
          <a:srcRect t="9002"/>
          <a:stretch/>
        </p:blipFill>
        <p:spPr>
          <a:xfrm>
            <a:off x="5261734" y="1306882"/>
            <a:ext cx="3750599" cy="2348687"/>
          </a:xfrm>
          <a:prstGeom prst="rect">
            <a:avLst/>
          </a:prstGeom>
        </p:spPr>
      </p:pic>
      <p:pic>
        <p:nvPicPr>
          <p:cNvPr id="8" name="Picture 7"/>
          <p:cNvPicPr>
            <a:picLocks noChangeAspect="1"/>
          </p:cNvPicPr>
          <p:nvPr/>
        </p:nvPicPr>
        <p:blipFill rotWithShape="1">
          <a:blip r:embed="rId4"/>
          <a:srcRect t="9838"/>
          <a:stretch/>
        </p:blipFill>
        <p:spPr>
          <a:xfrm>
            <a:off x="883194" y="3978092"/>
            <a:ext cx="3862977" cy="2393121"/>
          </a:xfrm>
          <a:prstGeom prst="rect">
            <a:avLst/>
          </a:prstGeom>
        </p:spPr>
      </p:pic>
      <p:pic>
        <p:nvPicPr>
          <p:cNvPr id="9" name="Picture 8"/>
          <p:cNvPicPr>
            <a:picLocks noChangeAspect="1"/>
          </p:cNvPicPr>
          <p:nvPr/>
        </p:nvPicPr>
        <p:blipFill rotWithShape="1">
          <a:blip r:embed="rId5"/>
          <a:srcRect t="10073"/>
          <a:stretch/>
        </p:blipFill>
        <p:spPr>
          <a:xfrm>
            <a:off x="5201715" y="3978093"/>
            <a:ext cx="3870636" cy="2397848"/>
          </a:xfrm>
          <a:prstGeom prst="rect">
            <a:avLst/>
          </a:prstGeom>
        </p:spPr>
      </p:pic>
    </p:spTree>
    <p:extLst>
      <p:ext uri="{BB962C8B-B14F-4D97-AF65-F5344CB8AC3E}">
        <p14:creationId xmlns:p14="http://schemas.microsoft.com/office/powerpoint/2010/main" val="3362258309"/>
      </p:ext>
    </p:extLst>
  </p:cSld>
  <p:clrMapOvr>
    <a:masterClrMapping/>
  </p:clrMapOvr>
  <p:transition spd="med">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owerPoint_Template">
  <a:themeElements>
    <a:clrScheme name="SAM">
      <a:dk1>
        <a:sysClr val="windowText" lastClr="000000"/>
      </a:dk1>
      <a:lt1>
        <a:sysClr val="window" lastClr="FFFFFF"/>
      </a:lt1>
      <a:dk2>
        <a:srgbClr val="575756"/>
      </a:dk2>
      <a:lt2>
        <a:srgbClr val="9D9D9C"/>
      </a:lt2>
      <a:accent1>
        <a:srgbClr val="9C1915"/>
      </a:accent1>
      <a:accent2>
        <a:srgbClr val="575756"/>
      </a:accent2>
      <a:accent3>
        <a:srgbClr val="9D9D9C"/>
      </a:accent3>
      <a:accent4>
        <a:srgbClr val="1A647B"/>
      </a:accent4>
      <a:accent5>
        <a:srgbClr val="FEE39A"/>
      </a:accent5>
      <a:accent6>
        <a:srgbClr val="3D3D3C"/>
      </a:accent6>
      <a:hlink>
        <a:srgbClr val="9C1915"/>
      </a:hlink>
      <a:folHlink>
        <a:srgbClr val="19637A"/>
      </a:folHlink>
    </a:clrScheme>
    <a:fontScheme name="SANDANDER">
      <a:majorFont>
        <a:latin typeface="Frutiger 45 Light"/>
        <a:ea typeface=""/>
        <a:cs typeface=""/>
      </a:majorFont>
      <a:minorFont>
        <a:latin typeface="Frutiger"/>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owerPoint_Template</Template>
  <TotalTime>9186</TotalTime>
  <Words>1461</Words>
  <Application>Microsoft Office PowerPoint</Application>
  <PresentationFormat>A4 Paper (210x297 mm)</PresentationFormat>
  <Paragraphs>144</Paragraphs>
  <Slides>20</Slides>
  <Notes>1</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6" baseType="lpstr">
      <vt:lpstr>Arial</vt:lpstr>
      <vt:lpstr>Calibri</vt:lpstr>
      <vt:lpstr>Frutiger</vt:lpstr>
      <vt:lpstr>Frutiger 45 Light</vt:lpstr>
      <vt:lpstr>PowerPoint_Template</vt:lpstr>
      <vt:lpstr>think-cell Slide</vt:lpstr>
      <vt:lpstr>Por que investir em ações agora?  Lucas Stella – Analista de Ações – Fundo Seleção      Junho 2019           </vt:lpstr>
      <vt:lpstr>PowerPoint Presentation</vt:lpstr>
      <vt:lpstr>PowerPoint Presentation</vt:lpstr>
      <vt:lpstr>Juros baixos e reformas estruturais estimularão crescimento da economia e dos lucros das empresas, impulsionando o Ibovespa.</vt:lpstr>
      <vt:lpstr>O Índice IBOVESPA não está caro pois sua alta foi acompanhada pelo crescimento dos lucros das empresas.</vt:lpstr>
      <vt:lpstr>Qual o potencial para o Ibovespa nesse cenário?</vt:lpstr>
      <vt:lpstr>A normalização da exposição de investidores a ações brasileiras pode trazer fluxo superior a R$ 100 bilhões.</vt:lpstr>
      <vt:lpstr>PowerPoint Presentation</vt:lpstr>
      <vt:lpstr>Retomada do Consumo e Investimentos tirou o país da recessão e esperamos que continue impulsionando o crescimento do PIB.</vt:lpstr>
      <vt:lpstr>Buscamos empresas expostas à aceleração do consumo e potenciais beneficiadas pela redução da participação do Estado na economia.</vt:lpstr>
      <vt:lpstr>Redução do financiamento público abrindo espaço para bancos privados e mercado de capitais no financiamento de longo prazo</vt:lpstr>
      <vt:lpstr>Agenda de Concessões pode gerar &gt;R$ 140 bilhões em investimentos de infraestrutura.</vt:lpstr>
      <vt:lpstr>PowerPoint Presentation</vt:lpstr>
      <vt:lpstr>Alto desemprego e ociosidade na economia limitarão inflação de custos e despesas durante retomada da economia. Bom para margens!</vt:lpstr>
      <vt:lpstr>Crescimento de vendas, melhoria de margens e juros baixos continuarão impulsionando lucros do setor varejista.</vt:lpstr>
      <vt:lpstr>PowerPoint Presentation</vt:lpstr>
      <vt:lpstr>Fundo Seleção: Processos e Pessoas são nossos maiores ativos</vt:lpstr>
      <vt:lpstr>Fundo Seleção – Performance</vt:lpstr>
      <vt:lpstr>PowerPoint Presentation</vt:lpstr>
      <vt:lpstr>PowerPoint Presentation</vt:lpstr>
    </vt:vector>
  </TitlesOfParts>
  <Company>Santander</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Version to project</dc:title>
  <dc:creator>AC</dc:creator>
  <cp:lastModifiedBy>Lucas Gragnani Stella</cp:lastModifiedBy>
  <cp:revision>263</cp:revision>
  <cp:lastPrinted>2015-05-14T16:19:25Z</cp:lastPrinted>
  <dcterms:created xsi:type="dcterms:W3CDTF">2016-01-27T16:00:19Z</dcterms:created>
  <dcterms:modified xsi:type="dcterms:W3CDTF">2019-06-26T18:59:01Z</dcterms:modified>
</cp:coreProperties>
</file>